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notesSlides/notesSlide2.xml" ContentType="application/vnd.openxmlformats-officedocument.presentationml.notesSlide+xml"/>
  <Override PartName="/ppt/tags/tag8.xml" ContentType="application/vnd.openxmlformats-officedocument.presentationml.tags+xml"/>
  <Override PartName="/ppt/notesSlides/notesSlide3.xml" ContentType="application/vnd.openxmlformats-officedocument.presentationml.notesSlide+xml"/>
  <Override PartName="/ppt/tags/tag9.xml" ContentType="application/vnd.openxmlformats-officedocument.presentationml.tags+xml"/>
  <Override PartName="/ppt/notesSlides/notesSlide4.xml" ContentType="application/vnd.openxmlformats-officedocument.presentationml.notesSlide+xml"/>
  <Override PartName="/ppt/tags/tag10.xml" ContentType="application/vnd.openxmlformats-officedocument.presentationml.tags+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1.xml" ContentType="application/vnd.openxmlformats-officedocument.presentationml.tags+xml"/>
  <Override PartName="/ppt/notesSlides/notesSlide6.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omments/modernComment_7FF64A36_96E1B73F.xml" ContentType="application/vnd.ms-powerpoint.comments+xml"/>
  <Override PartName="/ppt/notesSlides/notesSlide11.xml" ContentType="application/vnd.openxmlformats-officedocument.presentationml.notesSlide+xml"/>
  <Override PartName="/ppt/comments/modernComment_7FF64A37_B3491921.xml" ContentType="application/vnd.ms-powerpoint.comment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omments/modernComment_140_93F0FAAF.xml" ContentType="application/vnd.ms-powerpoint.comment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omments/modernComment_7F3E8BBA_243A0F12.xml" ContentType="application/vnd.ms-powerpoint.comments+xml"/>
  <Override PartName="/ppt/notesSlides/notesSlide18.xml" ContentType="application/vnd.openxmlformats-officedocument.presentationml.notesSlide+xml"/>
  <Override PartName="/ppt/comments/modernComment_7F3E8BBC_CFACF16.xml" ContentType="application/vnd.ms-powerpoint.comments+xml"/>
  <Override PartName="/ppt/notesSlides/notesSlide19.xml" ContentType="application/vnd.openxmlformats-officedocument.presentationml.notesSlide+xml"/>
  <Override PartName="/ppt/comments/modernComment_145_EFBCA1EB.xml" ContentType="application/vnd.ms-powerpoint.comments+xml"/>
  <Override PartName="/ppt/notesSlides/notesSlide20.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50" r:id="rId4"/>
    <p:sldMasterId id="2147483749" r:id="rId5"/>
  </p:sldMasterIdLst>
  <p:notesMasterIdLst>
    <p:notesMasterId r:id="rId40"/>
  </p:notesMasterIdLst>
  <p:handoutMasterIdLst>
    <p:handoutMasterId r:id="rId41"/>
  </p:handoutMasterIdLst>
  <p:sldIdLst>
    <p:sldId id="331" r:id="rId6"/>
    <p:sldId id="2134805316" r:id="rId7"/>
    <p:sldId id="2134805317" r:id="rId8"/>
    <p:sldId id="400" r:id="rId9"/>
    <p:sldId id="363" r:id="rId10"/>
    <p:sldId id="383" r:id="rId11"/>
    <p:sldId id="395" r:id="rId12"/>
    <p:sldId id="2134805319" r:id="rId13"/>
    <p:sldId id="2134805354" r:id="rId14"/>
    <p:sldId id="2134805318" r:id="rId15"/>
    <p:sldId id="2134805351" r:id="rId16"/>
    <p:sldId id="2134805353" r:id="rId17"/>
    <p:sldId id="2134805355" r:id="rId18"/>
    <p:sldId id="2134805473" r:id="rId19"/>
    <p:sldId id="2134805435" r:id="rId20"/>
    <p:sldId id="2146847288" r:id="rId21"/>
    <p:sldId id="2146847286" r:id="rId22"/>
    <p:sldId id="2146847287" r:id="rId23"/>
    <p:sldId id="2146847284" r:id="rId24"/>
    <p:sldId id="2146846853" r:id="rId25"/>
    <p:sldId id="320" r:id="rId26"/>
    <p:sldId id="2146847266" r:id="rId27"/>
    <p:sldId id="2134805441" r:id="rId28"/>
    <p:sldId id="2146847285" r:id="rId29"/>
    <p:sldId id="2134805434" r:id="rId30"/>
    <p:sldId id="2134805436" r:id="rId31"/>
    <p:sldId id="325" r:id="rId32"/>
    <p:sldId id="2134805439" r:id="rId33"/>
    <p:sldId id="2982" r:id="rId34"/>
    <p:sldId id="2146847289" r:id="rId35"/>
    <p:sldId id="2146847290" r:id="rId36"/>
    <p:sldId id="2134805307" r:id="rId37"/>
    <p:sldId id="2146847291" r:id="rId38"/>
    <p:sldId id="378" r:id="rId39"/>
  </p:sldIdLst>
  <p:sldSz cx="12192000" cy="6858000"/>
  <p:notesSz cx="7104063" cy="10234613"/>
  <p:custDataLst>
    <p:tags r:id="rId42"/>
  </p:custDataLst>
  <p:defaultTextStyle>
    <a:defPPr>
      <a:defRPr lang="it-IT"/>
    </a:defPPr>
    <a:lvl1pPr algn="l" rtl="0" eaLnBrk="0" fontAlgn="base" hangingPunct="0">
      <a:spcBef>
        <a:spcPct val="0"/>
      </a:spcBef>
      <a:spcAft>
        <a:spcPct val="0"/>
      </a:spcAft>
      <a:defRPr kern="1200">
        <a:solidFill>
          <a:schemeClr val="tx1"/>
        </a:solidFill>
        <a:latin typeface="Montserrat" pitchFamily="2" charset="77"/>
        <a:ea typeface="+mn-ea"/>
        <a:cs typeface="+mn-cs"/>
      </a:defRPr>
    </a:lvl1pPr>
    <a:lvl2pPr marL="457200" algn="l" rtl="0" eaLnBrk="0" fontAlgn="base" hangingPunct="0">
      <a:spcBef>
        <a:spcPct val="0"/>
      </a:spcBef>
      <a:spcAft>
        <a:spcPct val="0"/>
      </a:spcAft>
      <a:defRPr kern="1200">
        <a:solidFill>
          <a:schemeClr val="tx1"/>
        </a:solidFill>
        <a:latin typeface="Montserrat" pitchFamily="2" charset="77"/>
        <a:ea typeface="+mn-ea"/>
        <a:cs typeface="+mn-cs"/>
      </a:defRPr>
    </a:lvl2pPr>
    <a:lvl3pPr marL="914400" algn="l" rtl="0" eaLnBrk="0" fontAlgn="base" hangingPunct="0">
      <a:spcBef>
        <a:spcPct val="0"/>
      </a:spcBef>
      <a:spcAft>
        <a:spcPct val="0"/>
      </a:spcAft>
      <a:defRPr kern="1200">
        <a:solidFill>
          <a:schemeClr val="tx1"/>
        </a:solidFill>
        <a:latin typeface="Montserrat" pitchFamily="2" charset="77"/>
        <a:ea typeface="+mn-ea"/>
        <a:cs typeface="+mn-cs"/>
      </a:defRPr>
    </a:lvl3pPr>
    <a:lvl4pPr marL="1371600" algn="l" rtl="0" eaLnBrk="0" fontAlgn="base" hangingPunct="0">
      <a:spcBef>
        <a:spcPct val="0"/>
      </a:spcBef>
      <a:spcAft>
        <a:spcPct val="0"/>
      </a:spcAft>
      <a:defRPr kern="1200">
        <a:solidFill>
          <a:schemeClr val="tx1"/>
        </a:solidFill>
        <a:latin typeface="Montserrat" pitchFamily="2" charset="77"/>
        <a:ea typeface="+mn-ea"/>
        <a:cs typeface="+mn-cs"/>
      </a:defRPr>
    </a:lvl4pPr>
    <a:lvl5pPr marL="1828800" algn="l" rtl="0" eaLnBrk="0" fontAlgn="base" hangingPunct="0">
      <a:spcBef>
        <a:spcPct val="0"/>
      </a:spcBef>
      <a:spcAft>
        <a:spcPct val="0"/>
      </a:spcAft>
      <a:defRPr kern="1200">
        <a:solidFill>
          <a:schemeClr val="tx1"/>
        </a:solidFill>
        <a:latin typeface="Montserrat" pitchFamily="2" charset="77"/>
        <a:ea typeface="+mn-ea"/>
        <a:cs typeface="+mn-cs"/>
      </a:defRPr>
    </a:lvl5pPr>
    <a:lvl6pPr marL="2286000" algn="l" defTabSz="914400" rtl="0" eaLnBrk="1" latinLnBrk="0" hangingPunct="1">
      <a:defRPr kern="1200">
        <a:solidFill>
          <a:schemeClr val="tx1"/>
        </a:solidFill>
        <a:latin typeface="Montserrat" pitchFamily="2" charset="77"/>
        <a:ea typeface="+mn-ea"/>
        <a:cs typeface="+mn-cs"/>
      </a:defRPr>
    </a:lvl6pPr>
    <a:lvl7pPr marL="2743200" algn="l" defTabSz="914400" rtl="0" eaLnBrk="1" latinLnBrk="0" hangingPunct="1">
      <a:defRPr kern="1200">
        <a:solidFill>
          <a:schemeClr val="tx1"/>
        </a:solidFill>
        <a:latin typeface="Montserrat" pitchFamily="2" charset="77"/>
        <a:ea typeface="+mn-ea"/>
        <a:cs typeface="+mn-cs"/>
      </a:defRPr>
    </a:lvl7pPr>
    <a:lvl8pPr marL="3200400" algn="l" defTabSz="914400" rtl="0" eaLnBrk="1" latinLnBrk="0" hangingPunct="1">
      <a:defRPr kern="1200">
        <a:solidFill>
          <a:schemeClr val="tx1"/>
        </a:solidFill>
        <a:latin typeface="Montserrat" pitchFamily="2" charset="77"/>
        <a:ea typeface="+mn-ea"/>
        <a:cs typeface="+mn-cs"/>
      </a:defRPr>
    </a:lvl8pPr>
    <a:lvl9pPr marL="3657600" algn="l" defTabSz="914400" rtl="0" eaLnBrk="1" latinLnBrk="0" hangingPunct="1">
      <a:defRPr kern="1200">
        <a:solidFill>
          <a:schemeClr val="tx1"/>
        </a:solidFill>
        <a:latin typeface="Montserrat" pitchFamily="2" charset="77"/>
        <a:ea typeface="+mn-ea"/>
        <a:cs typeface="+mn-cs"/>
      </a:defRPr>
    </a:lvl9pPr>
  </p:defaultTextStyle>
  <p:extLst>
    <p:ext uri="{521415D9-36F7-43E2-AB2F-B90AF26B5E84}">
      <p14:sectionLst xmlns:p14="http://schemas.microsoft.com/office/powerpoint/2010/main">
        <p14:section name="Default Section" id="{375B2007-B252-4CD0-B04C-F4865586C615}">
          <p14:sldIdLst>
            <p14:sldId id="331"/>
            <p14:sldId id="2134805316"/>
            <p14:sldId id="2134805317"/>
            <p14:sldId id="400"/>
            <p14:sldId id="363"/>
            <p14:sldId id="383"/>
            <p14:sldId id="395"/>
            <p14:sldId id="2134805319"/>
            <p14:sldId id="2134805354"/>
            <p14:sldId id="2134805318"/>
            <p14:sldId id="2134805351"/>
            <p14:sldId id="2134805353"/>
            <p14:sldId id="2134805355"/>
            <p14:sldId id="2134805473"/>
            <p14:sldId id="2134805435"/>
            <p14:sldId id="2146847288"/>
            <p14:sldId id="2146847286"/>
            <p14:sldId id="2146847287"/>
            <p14:sldId id="2146847284"/>
            <p14:sldId id="2146846853"/>
            <p14:sldId id="320"/>
            <p14:sldId id="2146847266"/>
            <p14:sldId id="2134805441"/>
            <p14:sldId id="2146847285"/>
            <p14:sldId id="2134805434"/>
            <p14:sldId id="2134805436"/>
            <p14:sldId id="325"/>
            <p14:sldId id="2134805439"/>
            <p14:sldId id="2982"/>
            <p14:sldId id="2146847289"/>
            <p14:sldId id="2146847290"/>
            <p14:sldId id="2134805307"/>
            <p14:sldId id="2146847291"/>
          </p14:sldIdLst>
        </p14:section>
        <p14:section name="Untitled Section" id="{AE5D5A81-2A83-4F12-ADD2-7AD8F00B1685}">
          <p14:sldIdLst>
            <p14:sldId id="378"/>
          </p14:sldIdLst>
        </p14:section>
      </p14:sectionLst>
    </p:ext>
    <p:ext uri="{EFAFB233-063F-42B5-8137-9DF3F51BA10A}">
      <p15:sldGuideLst xmlns:p15="http://schemas.microsoft.com/office/powerpoint/2012/main">
        <p15:guide id="1" orient="horz" pos="4315" userDrawn="1">
          <p15:clr>
            <a:srgbClr val="A4A3A4"/>
          </p15:clr>
        </p15:guide>
        <p15:guide id="2" pos="143" userDrawn="1">
          <p15:clr>
            <a:srgbClr val="A4A3A4"/>
          </p15:clr>
        </p15:guide>
        <p15:guide id="3" orient="horz" pos="2319" userDrawn="1">
          <p15:clr>
            <a:srgbClr val="A4A3A4"/>
          </p15:clr>
        </p15:guide>
        <p15:guide id="4" orient="horz" pos="3158" userDrawn="1">
          <p15:clr>
            <a:srgbClr val="A4A3A4"/>
          </p15:clr>
        </p15:guide>
        <p15:guide id="5" pos="3727" userDrawn="1">
          <p15:clr>
            <a:srgbClr val="A4A3A4"/>
          </p15:clr>
        </p15:guide>
        <p15:guide id="6" orient="horz" pos="3362" userDrawn="1">
          <p15:clr>
            <a:srgbClr val="A4A3A4"/>
          </p15:clr>
        </p15:guide>
        <p15:guide id="7" orient="horz" pos="184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2696427-4555-D1DF-F004-A439C4F13651}" name="Johan Hendrickx" initials="JH" userId="S::johan.hendrickx@dedalus.eu::425b8377-596c-41c6-a511-53a03aeb20e2" providerId="AD"/>
  <p188:author id="{E2685956-6AC8-C98F-B518-0BEFE88B0BB6}" name="Michaela Schreiter" initials="MS" userId="S::michaela.schreiter@dedalus.eu::c2374c2d-af79-468a-8cbd-f68b2a85acb2" providerId="AD"/>
  <p188:author id="{F77B1D7E-AE5E-63E4-BE2E-E89484E1E214}" name="Oliver Paul" initials="OP" userId="S::oliver.paul@dedalus.eu::19846d01-cbe8-400b-a181-d324e7b1b792"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Smart, Will (HCS)" initials="SW(" lastIdx="67" clrIdx="0">
    <p:extLst>
      <p:ext uri="{19B8F6BF-5375-455C-9EA6-DF929625EA0E}">
        <p15:presenceInfo xmlns:p15="http://schemas.microsoft.com/office/powerpoint/2012/main" userId="S::wsmart4@dxc.com::70a7031b-a503-4ad8-966a-ae6df1d7af5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44F91"/>
    <a:srgbClr val="83C969"/>
    <a:srgbClr val="3896B4"/>
    <a:srgbClr val="BEC7C3"/>
    <a:srgbClr val="287488"/>
    <a:srgbClr val="C2E76B"/>
    <a:srgbClr val="626362"/>
    <a:srgbClr val="7AA0C2"/>
    <a:srgbClr val="BDC6C3"/>
    <a:srgbClr val="28748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ile medio 2 - Color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21" d="100"/>
          <a:sy n="121" d="100"/>
        </p:scale>
        <p:origin x="108" y="90"/>
      </p:cViewPr>
      <p:guideLst>
        <p:guide orient="horz" pos="4315"/>
        <p:guide pos="143"/>
        <p:guide orient="horz" pos="2319"/>
        <p:guide orient="horz" pos="3158"/>
        <p:guide pos="3727"/>
        <p:guide orient="horz" pos="3362"/>
        <p:guide orient="horz" pos="1842"/>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tags" Target="tags/tag1.xml"/><Relationship Id="rId47" Type="http://schemas.openxmlformats.org/officeDocument/2006/relationships/tableStyles" Target="tableStyle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notesMaster" Target="notesMasters/notesMaster1.xml"/><Relationship Id="rId45"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commentAuthors" Target="commentAuthors.xml"/><Relationship Id="rId48" Type="http://schemas.microsoft.com/office/2018/10/relationships/authors" Target="authors.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theme" Target="theme/theme1.xml"/><Relationship Id="rId20" Type="http://schemas.openxmlformats.org/officeDocument/2006/relationships/slide" Target="slides/slide15.xml"/><Relationship Id="rId41" Type="http://schemas.openxmlformats.org/officeDocument/2006/relationships/handoutMaster" Target="handoutMasters/handoutMaster1.xml"/></Relationships>
</file>

<file path=ppt/comments/modernComment_140_93F0FAAF.xml><?xml version="1.0" encoding="utf-8"?>
<p188:cmLst xmlns:a="http://schemas.openxmlformats.org/drawingml/2006/main" xmlns:r="http://schemas.openxmlformats.org/officeDocument/2006/relationships" xmlns:p188="http://schemas.microsoft.com/office/powerpoint/2018/8/main">
  <p188:cm id="{9C1A9EA9-8142-4EC3-8246-E3ADAD93D01D}" authorId="{F77B1D7E-AE5E-63E4-BE2E-E89484E1E214}" status="resolved" created="2022-06-08T16:30:34.874">
    <pc:sldMkLst xmlns:pc="http://schemas.microsoft.com/office/powerpoint/2013/main/command">
      <pc:docMk/>
      <pc:sldMk cId="2482043567" sldId="320"/>
    </pc:sldMkLst>
    <p188:replyLst>
      <p188:reply id="{1F45B4C0-1DE4-40AC-A561-6EB14857F002}" authorId="{E2696427-4555-D1DF-F004-A439C4F13651}" created="2022-06-09T07:03:48.171">
        <p188:txBody>
          <a:bodyPr/>
          <a:lstStyle/>
          <a:p>
            <a:r>
              <a:rPr lang="en-US"/>
              <a:t>[@Oliver Paul] , Ok let's discuss in the meeting today</a:t>
            </a:r>
          </a:p>
        </p188:txBody>
      </p188:reply>
    </p188:replyLst>
    <p188:txBody>
      <a:bodyPr/>
      <a:lstStyle/>
      <a:p>
        <a:r>
          <a:rPr lang="en-US"/>
          <a:t>Here we have to display more interfaces with HR, ERP, Materials and other administrative applications - we need to show the crossover functionality</a:t>
        </a:r>
      </a:p>
    </p188:txBody>
  </p188:cm>
  <p188:cm id="{77776D33-58BF-9D4D-A064-E7AB2591E513}" authorId="{E2685956-6AC8-C98F-B518-0BEFE88B0BB6}" status="resolved" created="2022-06-08T18:33:24.456">
    <pc:sldMkLst xmlns:pc="http://schemas.microsoft.com/office/powerpoint/2013/main/command">
      <pc:docMk/>
      <pc:sldMk cId="2482043567" sldId="320"/>
    </pc:sldMkLst>
    <p188:replyLst>
      <p188:reply id="{0BEDA3AA-51D1-4767-A95B-1937F31F2032}" authorId="{E2696427-4555-D1DF-F004-A439C4F13651}" created="2022-06-09T06:52:21.211">
        <p188:txBody>
          <a:bodyPr/>
          <a:lstStyle/>
          <a:p>
            <a:r>
              <a:rPr lang="en-US"/>
              <a:t>[@Michaela Schreiter] Agree, Marketing and a bit of a stretch -&gt; When I included it I was thinking of DU Capture - the app running on iOS/Android. Do we have it on the roadmap to allow Viewing on mobile devices (preferably with an app)?</a:t>
            </a:r>
          </a:p>
        </p188:txBody>
      </p188:reply>
      <p188:reply id="{02944425-2F3E-4928-9191-21A6A1952B25}" authorId="{E2696427-4555-D1DF-F004-A439C4F13651}" created="2022-06-09T07:28:18.186">
        <p188:txBody>
          <a:bodyPr/>
          <a:lstStyle/>
          <a:p>
            <a:r>
              <a:rPr lang="en-BE"/>
              <a:t>@Michaele Schreiter, we can also consider the POW patient portal access here</a:t>
            </a:r>
          </a:p>
        </p188:txBody>
      </p188:reply>
      <p188:reply id="{0BE8C67B-6708-7548-AC47-B7BBC0182E65}" authorId="{E2685956-6AC8-C98F-B518-0BEFE88B0BB6}" created="2022-06-09T07:29:34.535">
        <p188:txBody>
          <a:bodyPr/>
          <a:lstStyle/>
          <a:p>
            <a:r>
              <a:rPr lang="de-DE"/>
              <a:t>[@Johan Hendrickx] we are currently in contact with an external company to develop a DICOM Viewing app. At this point in time there are some negotiations on the prize going on, so we do not know the exact timeline yet. </a:t>
            </a:r>
          </a:p>
        </p188:txBody>
      </p188:reply>
      <p188:reply id="{10D3B97A-530A-4A06-A172-E01302446559}" authorId="{E2696427-4555-D1DF-F004-A439C4F13651}" created="2022-06-09T07:43:31.636">
        <p188:txBody>
          <a:bodyPr/>
          <a:lstStyle/>
          <a:p>
            <a:r>
              <a:rPr lang="en-US"/>
              <a:t>[@Michaela Schreiter] thanks for the update</a:t>
            </a:r>
          </a:p>
        </p188:txBody>
      </p188:reply>
    </p188:replyLst>
    <p188:txBody>
      <a:bodyPr/>
      <a:lstStyle/>
      <a:p>
        <a:r>
          <a:rPr lang="de-DE"/>
          <a:t>Currently we do not have iOS/Android apps for the access within the DU portfolio or is there anything available on HYDMedia side, that I am not aware of? Only app within DU is Capture - and that I would not see as „unified access“.</a:t>
        </a:r>
      </a:p>
    </p188:txBody>
  </p188:cm>
  <p188:cm id="{E6065D2E-7B49-4283-8C70-5EC9E68A9488}" authorId="{E2696427-4555-D1DF-F004-A439C4F13651}" status="resolved" created="2022-06-17T08:32:54.404">
    <pc:sldMkLst xmlns:pc="http://schemas.microsoft.com/office/powerpoint/2013/main/command">
      <pc:docMk/>
      <pc:sldMk cId="2482043567" sldId="320"/>
    </pc:sldMkLst>
    <p188:txBody>
      <a:bodyPr/>
      <a:lstStyle/>
      <a:p>
        <a:r>
          <a:rPr lang="en-GB"/>
          <a:t>Change the colour coding (avoid too much grey)</a:t>
        </a:r>
      </a:p>
    </p188:txBody>
  </p188:cm>
</p188:cmLst>
</file>

<file path=ppt/comments/modernComment_145_EFBCA1EB.xml><?xml version="1.0" encoding="utf-8"?>
<p188:cmLst xmlns:a="http://schemas.openxmlformats.org/drawingml/2006/main" xmlns:r="http://schemas.openxmlformats.org/officeDocument/2006/relationships" xmlns:p188="http://schemas.microsoft.com/office/powerpoint/2018/8/main">
  <p188:cm id="{E6F6A26F-921B-4E6F-9678-7E8278ED8FCD}" authorId="{F77B1D7E-AE5E-63E4-BE2E-E89484E1E214}" status="resolved" created="2022-06-08T16:38:04.966">
    <pc:sldMkLst xmlns:pc="http://schemas.microsoft.com/office/powerpoint/2013/main/command">
      <pc:docMk/>
      <pc:sldMk cId="4022116843" sldId="325"/>
    </pc:sldMkLst>
    <p188:replyLst>
      <p188:reply id="{F82BCA61-0801-4F99-A831-A85B06D6F5CF}" authorId="{E2696427-4555-D1DF-F004-A439C4F13651}" created="2022-06-09T07:05:14.642">
        <p188:txBody>
          <a:bodyPr/>
          <a:lstStyle/>
          <a:p>
            <a:r>
              <a:rPr lang="en-US"/>
              <a:t>[@Oliver Paul], ok will include</a:t>
            </a:r>
          </a:p>
        </p188:txBody>
      </p188:reply>
    </p188:replyLst>
    <p188:txBody>
      <a:bodyPr/>
      <a:lstStyle/>
      <a:p>
        <a:r>
          <a:rPr lang="en-US"/>
          <a:t>ISO 14641-1 required</a:t>
        </a:r>
      </a:p>
    </p188:txBody>
  </p188:cm>
</p188:cmLst>
</file>

<file path=ppt/comments/modernComment_7F3E8BBA_243A0F12.xml><?xml version="1.0" encoding="utf-8"?>
<p188:cmLst xmlns:a="http://schemas.openxmlformats.org/drawingml/2006/main" xmlns:r="http://schemas.openxmlformats.org/officeDocument/2006/relationships" xmlns:p188="http://schemas.microsoft.com/office/powerpoint/2018/8/main">
  <p188:cm id="{BEBDF090-0494-48BF-85D9-D702949FB298}" authorId="{E2696427-4555-D1DF-F004-A439C4F13651}" status="resolved" created="2022-06-17T08:21:37.074">
    <pc:sldMkLst xmlns:pc="http://schemas.microsoft.com/office/powerpoint/2013/main/command">
      <pc:docMk/>
      <pc:sldMk cId="607784722" sldId="2134805434"/>
    </pc:sldMkLst>
    <p188:txBody>
      <a:bodyPr/>
      <a:lstStyle/>
      <a:p>
        <a:r>
          <a:rPr lang="en-GB"/>
          <a:t>Legally secure archiving - Proof of evidence
(is LTANS a standard? -- Yes it is
</a:t>
        </a:r>
      </a:p>
    </p188:txBody>
  </p188:cm>
</p188:cmLst>
</file>

<file path=ppt/comments/modernComment_7F3E8BBC_CFACF16.xml><?xml version="1.0" encoding="utf-8"?>
<p188:cmLst xmlns:a="http://schemas.openxmlformats.org/drawingml/2006/main" xmlns:r="http://schemas.openxmlformats.org/officeDocument/2006/relationships" xmlns:p188="http://schemas.microsoft.com/office/powerpoint/2018/8/main">
  <p188:cm id="{4B5F2B52-4417-4FBD-A367-3C70FC80A9DA}" authorId="{F77B1D7E-AE5E-63E4-BE2E-E89484E1E214}" status="resolved" created="2022-06-08T16:37:09.261">
    <pc:sldMkLst xmlns:pc="http://schemas.microsoft.com/office/powerpoint/2013/main/command">
      <pc:docMk/>
      <pc:sldMk cId="217763606" sldId="2134805436"/>
    </pc:sldMkLst>
    <p188:txBody>
      <a:bodyPr/>
      <a:lstStyle/>
      <a:p>
        <a:r>
          <a:rPr lang="en-US"/>
          <a:t>Think we need a new diagram, Billing, process improvement.....</a:t>
        </a:r>
      </a:p>
    </p188:txBody>
  </p188:cm>
</p188:cmLst>
</file>

<file path=ppt/comments/modernComment_7FF64A36_96E1B73F.xml><?xml version="1.0" encoding="utf-8"?>
<p188:cmLst xmlns:a="http://schemas.openxmlformats.org/drawingml/2006/main" xmlns:r="http://schemas.openxmlformats.org/officeDocument/2006/relationships" xmlns:p188="http://schemas.microsoft.com/office/powerpoint/2018/8/main">
  <p188:cm id="{5865949C-7886-44F0-A1C5-4BF1FCE6A918}" authorId="{E2685956-6AC8-C98F-B518-0BEFE88B0BB6}" status="resolved" created="2022-06-09T11:57:20.339">
    <pc:sldMkLst xmlns:pc="http://schemas.microsoft.com/office/powerpoint/2013/main/command">
      <pc:docMk/>
      <pc:sldMk cId="2187728920" sldId="2134805440"/>
    </pc:sldMkLst>
    <p188:replyLst>
      <p188:reply id="{E8D94CE0-86E7-4B25-8762-16D236BE7DD7}" authorId="{E2696427-4555-D1DF-F004-A439C4F13651}" created="2022-06-09T12:10:35.502">
        <p188:txBody>
          <a:bodyPr/>
          <a:lstStyle/>
          <a:p>
            <a:r>
              <a:rPr lang="en-GB"/>
              <a:t>True, I'll modify</a:t>
            </a:r>
          </a:p>
        </p188:txBody>
      </p188:reply>
      <p188:reply id="{AD390604-A81D-47E9-A695-6A5EF8F2EA7C}" authorId="{E2696427-4555-D1DF-F004-A439C4F13651}" created="2022-06-09T12:13:43.882">
        <p188:txBody>
          <a:bodyPr/>
          <a:lstStyle/>
          <a:p>
            <a:r>
              <a:rPr lang="en-GB"/>
              <a:t>We should also address the NON-DICOM image archiving here</a:t>
            </a:r>
          </a:p>
        </p188:txBody>
      </p188:reply>
      <p188:reply id="{AF417CA6-BCC4-534F-9287-7DB76E502531}" authorId="{E2685956-6AC8-C98F-B518-0BEFE88B0BB6}" created="2022-06-09T12:44:57.887">
        <p188:txBody>
          <a:bodyPr/>
          <a:lstStyle/>
          <a:p>
            <a:r>
              <a:rPr lang="de-DE"/>
              <a:t>Yes, that’s even better.</a:t>
            </a:r>
          </a:p>
        </p188:txBody>
      </p188:reply>
    </p188:replyLst>
    <p188:txBody>
      <a:bodyPr/>
      <a:lstStyle/>
      <a:p>
        <a:r>
          <a:rPr lang="de-DE"/>
          <a:t>Actually this slide just shows the „Imaging archiving variants“, so documents are not part of them here. Do we want to adapt the title to be more specific or is it because of marketing aspects on purpose?</a:t>
        </a:r>
      </a:p>
    </p188:txBody>
  </p188:cm>
</p188:cmLst>
</file>

<file path=ppt/comments/modernComment_7FF64A37_B3491921.xml><?xml version="1.0" encoding="utf-8"?>
<p188:cmLst xmlns:a="http://schemas.openxmlformats.org/drawingml/2006/main" xmlns:r="http://schemas.openxmlformats.org/officeDocument/2006/relationships" xmlns:p188="http://schemas.microsoft.com/office/powerpoint/2018/8/main">
  <p188:cm id="{AC974D86-4455-4EEC-B41F-0337E176506E}" authorId="{E2685956-6AC8-C98F-B518-0BEFE88B0BB6}" status="resolved" created="2022-06-09T11:57:20.339">
    <pc:sldMkLst xmlns:pc="http://schemas.microsoft.com/office/powerpoint/2013/main/command">
      <pc:docMk/>
      <pc:sldMk cId="2187728920" sldId="2134805440"/>
    </pc:sldMkLst>
    <p188:replyLst>
      <p188:reply id="{E8D94CE0-86E7-4B25-8762-16D236BE7DD7}" authorId="{E2696427-4555-D1DF-F004-A439C4F13651}" created="2022-06-09T12:10:35.502">
        <p188:txBody>
          <a:bodyPr/>
          <a:lstStyle/>
          <a:p>
            <a:r>
              <a:rPr lang="en-GB"/>
              <a:t>True, I'll modify</a:t>
            </a:r>
          </a:p>
        </p188:txBody>
      </p188:reply>
      <p188:reply id="{AD390604-A81D-47E9-A695-6A5EF8F2EA7C}" authorId="{E2696427-4555-D1DF-F004-A439C4F13651}" created="2022-06-09T12:13:43.882">
        <p188:txBody>
          <a:bodyPr/>
          <a:lstStyle/>
          <a:p>
            <a:r>
              <a:rPr lang="en-GB"/>
              <a:t>We should also address the NON-DICOM image archiving here</a:t>
            </a:r>
          </a:p>
        </p188:txBody>
      </p188:reply>
      <p188:reply id="{AF417CA6-BCC4-534F-9287-7DB76E502531}" authorId="{E2685956-6AC8-C98F-B518-0BEFE88B0BB6}" created="2022-06-09T12:44:57.887">
        <p188:txBody>
          <a:bodyPr/>
          <a:lstStyle/>
          <a:p>
            <a:r>
              <a:rPr lang="de-DE"/>
              <a:t>Yes, that’s even better.</a:t>
            </a:r>
          </a:p>
        </p188:txBody>
      </p188:reply>
    </p188:replyLst>
    <p188:txBody>
      <a:bodyPr/>
      <a:lstStyle/>
      <a:p>
        <a:r>
          <a:rPr lang="de-DE"/>
          <a:t>Actually this slide just shows the „Imaging archiving variants“, so documents are not part of them here. Do we want to adapt the title to be more specific or is it because of marketing aspects on purpose?</a:t>
        </a:r>
      </a:p>
    </p188:txBody>
  </p188:cm>
</p188:cmLst>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C91FB40-7057-4594-B8EB-531334B3697A}" type="doc">
      <dgm:prSet loTypeId="urn:microsoft.com/office/officeart/2005/8/layout/process1" loCatId="process" qsTypeId="urn:microsoft.com/office/officeart/2005/8/quickstyle/simple1" qsCatId="simple" csTypeId="urn:microsoft.com/office/officeart/2005/8/colors/accent1_2" csCatId="accent1" phldr="1"/>
      <dgm:spPr/>
    </dgm:pt>
    <dgm:pt modelId="{126CB24B-C4C6-49B1-91D5-03F050E753DD}">
      <dgm:prSet phldrT="[Text]"/>
      <dgm:spPr/>
      <dgm:t>
        <a:bodyPr/>
        <a:lstStyle/>
        <a:p>
          <a:r>
            <a:rPr lang="de-DE" dirty="0"/>
            <a:t>1990</a:t>
          </a:r>
        </a:p>
        <a:p>
          <a:r>
            <a:rPr lang="de-DE" dirty="0"/>
            <a:t>Mainframe = Stammdaten + </a:t>
          </a:r>
          <a:r>
            <a:rPr lang="de-DE" dirty="0" err="1"/>
            <a:t>Rechnugen</a:t>
          </a:r>
          <a:endParaRPr lang="de-DE" dirty="0"/>
        </a:p>
        <a:p>
          <a:r>
            <a:rPr lang="de-DE" dirty="0"/>
            <a:t>Papierakte und Mikrofilme (CAR Verfahren oder Mikrofiche(</a:t>
          </a:r>
          <a:r>
            <a:rPr lang="de-DE" dirty="0" err="1"/>
            <a:t>Jacket</a:t>
          </a:r>
          <a:r>
            <a:rPr lang="de-DE" dirty="0"/>
            <a:t>))</a:t>
          </a:r>
        </a:p>
      </dgm:t>
    </dgm:pt>
    <dgm:pt modelId="{6D85703D-14A7-4C35-B93B-D463BB175B8A}" type="parTrans" cxnId="{6B5FAA86-32B7-4EEF-8565-E64667421F5A}">
      <dgm:prSet/>
      <dgm:spPr/>
      <dgm:t>
        <a:bodyPr/>
        <a:lstStyle/>
        <a:p>
          <a:endParaRPr lang="de-DE"/>
        </a:p>
      </dgm:t>
    </dgm:pt>
    <dgm:pt modelId="{5428A86A-3585-421E-B21D-E7B01311B3C0}" type="sibTrans" cxnId="{6B5FAA86-32B7-4EEF-8565-E64667421F5A}">
      <dgm:prSet/>
      <dgm:spPr/>
      <dgm:t>
        <a:bodyPr/>
        <a:lstStyle/>
        <a:p>
          <a:endParaRPr lang="de-DE"/>
        </a:p>
      </dgm:t>
    </dgm:pt>
    <dgm:pt modelId="{891B4767-2F9A-4FEC-991A-8C5FAE466E4A}">
      <dgm:prSet phldrT="[Text]"/>
      <dgm:spPr/>
      <dgm:t>
        <a:bodyPr/>
        <a:lstStyle/>
        <a:p>
          <a:r>
            <a:rPr lang="de-DE" dirty="0"/>
            <a:t>1994</a:t>
          </a:r>
        </a:p>
        <a:p>
          <a:r>
            <a:rPr lang="de-DE" dirty="0"/>
            <a:t>Mainframe und Novell / Windows NT Netze mit ersten Desktop Anwendungen</a:t>
          </a:r>
        </a:p>
        <a:p>
          <a:r>
            <a:rPr lang="de-DE" dirty="0"/>
            <a:t>+ Papierakte und Mikrofilme – Scannen vom Mikrofilm </a:t>
          </a:r>
        </a:p>
      </dgm:t>
    </dgm:pt>
    <dgm:pt modelId="{9A6BE414-22A1-4E47-A322-EFAB404058E8}" type="parTrans" cxnId="{B1E8DD00-2966-49A8-961B-C0B9F604E25F}">
      <dgm:prSet/>
      <dgm:spPr/>
      <dgm:t>
        <a:bodyPr/>
        <a:lstStyle/>
        <a:p>
          <a:endParaRPr lang="de-DE"/>
        </a:p>
      </dgm:t>
    </dgm:pt>
    <dgm:pt modelId="{2D0BB4B6-1A94-4BED-A29E-12CBAC54DD00}" type="sibTrans" cxnId="{B1E8DD00-2966-49A8-961B-C0B9F604E25F}">
      <dgm:prSet/>
      <dgm:spPr/>
      <dgm:t>
        <a:bodyPr/>
        <a:lstStyle/>
        <a:p>
          <a:endParaRPr lang="de-DE"/>
        </a:p>
      </dgm:t>
    </dgm:pt>
    <dgm:pt modelId="{14AD95BA-845C-4888-B4DC-E4EE73E34D9D}">
      <dgm:prSet phldrT="[Text]"/>
      <dgm:spPr/>
      <dgm:t>
        <a:bodyPr/>
        <a:lstStyle/>
        <a:p>
          <a:r>
            <a:rPr lang="de-DE" dirty="0"/>
            <a:t>1998</a:t>
          </a:r>
        </a:p>
        <a:p>
          <a:r>
            <a:rPr lang="de-DE" dirty="0"/>
            <a:t>Windows Anwendungen mit lokalen Netzen setzen sich langsam durch – HL7 Kommunikationsserver verbreiten sich</a:t>
          </a:r>
        </a:p>
        <a:p>
          <a:r>
            <a:rPr lang="de-DE" dirty="0"/>
            <a:t>+ Papierakte und Mikrofilme sowie hybrides Scannen in s/w</a:t>
          </a:r>
        </a:p>
      </dgm:t>
    </dgm:pt>
    <dgm:pt modelId="{3658DDB7-15C5-4A1C-A203-5E0AA3CA54D7}" type="parTrans" cxnId="{04AA264A-FC7D-40D1-8A10-23994C0CFE29}">
      <dgm:prSet/>
      <dgm:spPr/>
      <dgm:t>
        <a:bodyPr/>
        <a:lstStyle/>
        <a:p>
          <a:endParaRPr lang="de-DE"/>
        </a:p>
      </dgm:t>
    </dgm:pt>
    <dgm:pt modelId="{656CA35A-FBCB-4DAC-B294-50ABD7DF3F37}" type="sibTrans" cxnId="{04AA264A-FC7D-40D1-8A10-23994C0CFE29}">
      <dgm:prSet/>
      <dgm:spPr/>
      <dgm:t>
        <a:bodyPr/>
        <a:lstStyle/>
        <a:p>
          <a:endParaRPr lang="de-DE"/>
        </a:p>
      </dgm:t>
    </dgm:pt>
    <dgm:pt modelId="{1B30BDC1-FAE5-4131-B2E1-DB09E5EE2D04}">
      <dgm:prSet phldrT="[Text]"/>
      <dgm:spPr/>
      <dgm:t>
        <a:bodyPr/>
        <a:lstStyle/>
        <a:p>
          <a:r>
            <a:rPr lang="de-DE" dirty="0"/>
            <a:t>2002 </a:t>
          </a:r>
          <a:br>
            <a:rPr lang="de-DE" dirty="0"/>
          </a:br>
          <a:r>
            <a:rPr lang="de-DE" dirty="0"/>
            <a:t>Die Abrechnungssysteme stellen erste digitale Dokumente (WORD, PMD, Drucklisten…) bereit. + hybrides Scannen setzt sich durch aber viele </a:t>
          </a:r>
          <a:r>
            <a:rPr lang="de-DE" dirty="0" err="1"/>
            <a:t>KH´s</a:t>
          </a:r>
          <a:r>
            <a:rPr lang="de-DE" dirty="0"/>
            <a:t> archivieren auf Papier.</a:t>
          </a:r>
        </a:p>
      </dgm:t>
    </dgm:pt>
    <dgm:pt modelId="{1D8D6426-0B4F-433F-9BBC-81CC230B69BC}" type="parTrans" cxnId="{45ACC747-5B18-4CE9-8462-C02298706A7E}">
      <dgm:prSet/>
      <dgm:spPr/>
      <dgm:t>
        <a:bodyPr/>
        <a:lstStyle/>
        <a:p>
          <a:endParaRPr lang="de-DE"/>
        </a:p>
      </dgm:t>
    </dgm:pt>
    <dgm:pt modelId="{8F1FB91F-82BC-4150-AB41-ED2C6C31789E}" type="sibTrans" cxnId="{45ACC747-5B18-4CE9-8462-C02298706A7E}">
      <dgm:prSet/>
      <dgm:spPr/>
      <dgm:t>
        <a:bodyPr/>
        <a:lstStyle/>
        <a:p>
          <a:endParaRPr lang="de-DE"/>
        </a:p>
      </dgm:t>
    </dgm:pt>
    <dgm:pt modelId="{DBAF5E04-5956-403A-896F-524A5BFF2BDC}">
      <dgm:prSet phldrT="[Text]"/>
      <dgm:spPr/>
      <dgm:t>
        <a:bodyPr/>
        <a:lstStyle/>
        <a:p>
          <a:r>
            <a:rPr lang="de-DE" dirty="0"/>
            <a:t>2005 </a:t>
          </a:r>
          <a:br>
            <a:rPr lang="de-DE" dirty="0"/>
          </a:br>
          <a:r>
            <a:rPr lang="de-DE" dirty="0"/>
            <a:t>erste Klinische Systeme übermitteln auch Dokumente über HL7 und proprietäre Schnittstellen </a:t>
          </a:r>
          <a:br>
            <a:rPr lang="de-DE" dirty="0"/>
          </a:br>
          <a:r>
            <a:rPr lang="de-DE" dirty="0"/>
            <a:t>+ erste Krankenhäuser archivieren digital und nur noch die Papierakten hybrid – erste Experimente mit digitalen Signaturen</a:t>
          </a:r>
        </a:p>
      </dgm:t>
    </dgm:pt>
    <dgm:pt modelId="{2A7AAD86-49E7-477A-9D47-627D921B6DE9}" type="parTrans" cxnId="{063083A7-0725-42B5-BD92-7FCCF6C3BCE2}">
      <dgm:prSet/>
      <dgm:spPr/>
      <dgm:t>
        <a:bodyPr/>
        <a:lstStyle/>
        <a:p>
          <a:endParaRPr lang="de-DE"/>
        </a:p>
      </dgm:t>
    </dgm:pt>
    <dgm:pt modelId="{5F9F3521-ECB9-4487-BB7A-786560F6337F}" type="sibTrans" cxnId="{063083A7-0725-42B5-BD92-7FCCF6C3BCE2}">
      <dgm:prSet/>
      <dgm:spPr/>
      <dgm:t>
        <a:bodyPr/>
        <a:lstStyle/>
        <a:p>
          <a:endParaRPr lang="de-DE"/>
        </a:p>
      </dgm:t>
    </dgm:pt>
    <dgm:pt modelId="{36E7066A-E933-4373-8DA9-A870F91A3093}">
      <dgm:prSet phldrT="[Text]"/>
      <dgm:spPr/>
      <dgm:t>
        <a:bodyPr/>
        <a:lstStyle/>
        <a:p>
          <a:r>
            <a:rPr lang="de-DE" dirty="0"/>
            <a:t>2007</a:t>
          </a:r>
          <a:br>
            <a:rPr lang="de-DE" dirty="0"/>
          </a:br>
          <a:r>
            <a:rPr lang="de-DE" dirty="0"/>
            <a:t>enge Einbindung der ECM Systeme in die KIS Systeme – mehr und mehr digitale Datenübernahmen als Dokumente + Die Speichersysteme werden Revisionssicher (WORM etc. Problem ILM)</a:t>
          </a:r>
        </a:p>
      </dgm:t>
    </dgm:pt>
    <dgm:pt modelId="{94BB3B94-C846-4101-ACB0-5C657A4E3E68}" type="parTrans" cxnId="{01E90467-C954-4246-956F-09C9A29C4715}">
      <dgm:prSet/>
      <dgm:spPr/>
      <dgm:t>
        <a:bodyPr/>
        <a:lstStyle/>
        <a:p>
          <a:endParaRPr lang="de-DE"/>
        </a:p>
      </dgm:t>
    </dgm:pt>
    <dgm:pt modelId="{172761CB-5030-43EE-94A3-0757B161B192}" type="sibTrans" cxnId="{01E90467-C954-4246-956F-09C9A29C4715}">
      <dgm:prSet/>
      <dgm:spPr/>
      <dgm:t>
        <a:bodyPr/>
        <a:lstStyle/>
        <a:p>
          <a:endParaRPr lang="de-DE"/>
        </a:p>
      </dgm:t>
    </dgm:pt>
    <dgm:pt modelId="{16005208-100A-4053-AFF5-1D54369B28DC}" type="pres">
      <dgm:prSet presAssocID="{8C91FB40-7057-4594-B8EB-531334B3697A}" presName="Name0" presStyleCnt="0">
        <dgm:presLayoutVars>
          <dgm:dir/>
          <dgm:resizeHandles val="exact"/>
        </dgm:presLayoutVars>
      </dgm:prSet>
      <dgm:spPr/>
    </dgm:pt>
    <dgm:pt modelId="{7A738A9B-8489-474C-A676-3E620FB0984B}" type="pres">
      <dgm:prSet presAssocID="{126CB24B-C4C6-49B1-91D5-03F050E753DD}" presName="node" presStyleLbl="node1" presStyleIdx="0" presStyleCnt="6">
        <dgm:presLayoutVars>
          <dgm:bulletEnabled val="1"/>
        </dgm:presLayoutVars>
      </dgm:prSet>
      <dgm:spPr/>
    </dgm:pt>
    <dgm:pt modelId="{56BAE95D-D01B-45D0-ACEE-E08FFE94FA9D}" type="pres">
      <dgm:prSet presAssocID="{5428A86A-3585-421E-B21D-E7B01311B3C0}" presName="sibTrans" presStyleLbl="sibTrans2D1" presStyleIdx="0" presStyleCnt="5"/>
      <dgm:spPr/>
    </dgm:pt>
    <dgm:pt modelId="{E9361B3C-DB4C-47ED-A3F2-D7DAAF2FDF32}" type="pres">
      <dgm:prSet presAssocID="{5428A86A-3585-421E-B21D-E7B01311B3C0}" presName="connectorText" presStyleLbl="sibTrans2D1" presStyleIdx="0" presStyleCnt="5"/>
      <dgm:spPr/>
    </dgm:pt>
    <dgm:pt modelId="{DF2FB6A3-0A25-4BA9-80BB-C03BC8B2CD4A}" type="pres">
      <dgm:prSet presAssocID="{891B4767-2F9A-4FEC-991A-8C5FAE466E4A}" presName="node" presStyleLbl="node1" presStyleIdx="1" presStyleCnt="6">
        <dgm:presLayoutVars>
          <dgm:bulletEnabled val="1"/>
        </dgm:presLayoutVars>
      </dgm:prSet>
      <dgm:spPr/>
    </dgm:pt>
    <dgm:pt modelId="{8B597212-8A54-43D2-A625-DB42727FD1A9}" type="pres">
      <dgm:prSet presAssocID="{2D0BB4B6-1A94-4BED-A29E-12CBAC54DD00}" presName="sibTrans" presStyleLbl="sibTrans2D1" presStyleIdx="1" presStyleCnt="5"/>
      <dgm:spPr/>
    </dgm:pt>
    <dgm:pt modelId="{1B1CE63B-E193-4FDC-BB06-62E8F8F161DD}" type="pres">
      <dgm:prSet presAssocID="{2D0BB4B6-1A94-4BED-A29E-12CBAC54DD00}" presName="connectorText" presStyleLbl="sibTrans2D1" presStyleIdx="1" presStyleCnt="5"/>
      <dgm:spPr/>
    </dgm:pt>
    <dgm:pt modelId="{54694F69-5934-46F5-A899-46BC95EC114F}" type="pres">
      <dgm:prSet presAssocID="{14AD95BA-845C-4888-B4DC-E4EE73E34D9D}" presName="node" presStyleLbl="node1" presStyleIdx="2" presStyleCnt="6">
        <dgm:presLayoutVars>
          <dgm:bulletEnabled val="1"/>
        </dgm:presLayoutVars>
      </dgm:prSet>
      <dgm:spPr/>
    </dgm:pt>
    <dgm:pt modelId="{87208AC3-2C39-414C-957A-34F513AD372F}" type="pres">
      <dgm:prSet presAssocID="{656CA35A-FBCB-4DAC-B294-50ABD7DF3F37}" presName="sibTrans" presStyleLbl="sibTrans2D1" presStyleIdx="2" presStyleCnt="5"/>
      <dgm:spPr/>
    </dgm:pt>
    <dgm:pt modelId="{7671A016-9E90-45B9-A7FF-498BA70772E3}" type="pres">
      <dgm:prSet presAssocID="{656CA35A-FBCB-4DAC-B294-50ABD7DF3F37}" presName="connectorText" presStyleLbl="sibTrans2D1" presStyleIdx="2" presStyleCnt="5"/>
      <dgm:spPr/>
    </dgm:pt>
    <dgm:pt modelId="{678005FF-560E-4EB3-A3F3-590C809EFF73}" type="pres">
      <dgm:prSet presAssocID="{1B30BDC1-FAE5-4131-B2E1-DB09E5EE2D04}" presName="node" presStyleLbl="node1" presStyleIdx="3" presStyleCnt="6">
        <dgm:presLayoutVars>
          <dgm:bulletEnabled val="1"/>
        </dgm:presLayoutVars>
      </dgm:prSet>
      <dgm:spPr/>
    </dgm:pt>
    <dgm:pt modelId="{E0AE5542-8EFD-4FDC-90CA-CA346FC7029B}" type="pres">
      <dgm:prSet presAssocID="{8F1FB91F-82BC-4150-AB41-ED2C6C31789E}" presName="sibTrans" presStyleLbl="sibTrans2D1" presStyleIdx="3" presStyleCnt="5"/>
      <dgm:spPr/>
    </dgm:pt>
    <dgm:pt modelId="{9DC2DA01-E1A9-4794-B3D8-D37DF3300D30}" type="pres">
      <dgm:prSet presAssocID="{8F1FB91F-82BC-4150-AB41-ED2C6C31789E}" presName="connectorText" presStyleLbl="sibTrans2D1" presStyleIdx="3" presStyleCnt="5"/>
      <dgm:spPr/>
    </dgm:pt>
    <dgm:pt modelId="{D6CEF1A2-02B5-40CD-AE5A-D0DB9B2E3B4E}" type="pres">
      <dgm:prSet presAssocID="{DBAF5E04-5956-403A-896F-524A5BFF2BDC}" presName="node" presStyleLbl="node1" presStyleIdx="4" presStyleCnt="6">
        <dgm:presLayoutVars>
          <dgm:bulletEnabled val="1"/>
        </dgm:presLayoutVars>
      </dgm:prSet>
      <dgm:spPr/>
    </dgm:pt>
    <dgm:pt modelId="{70075D7F-379C-48C4-85E8-279D085B9C4C}" type="pres">
      <dgm:prSet presAssocID="{5F9F3521-ECB9-4487-BB7A-786560F6337F}" presName="sibTrans" presStyleLbl="sibTrans2D1" presStyleIdx="4" presStyleCnt="5"/>
      <dgm:spPr/>
    </dgm:pt>
    <dgm:pt modelId="{C4668381-912C-4C62-A485-2E4AE99684DE}" type="pres">
      <dgm:prSet presAssocID="{5F9F3521-ECB9-4487-BB7A-786560F6337F}" presName="connectorText" presStyleLbl="sibTrans2D1" presStyleIdx="4" presStyleCnt="5"/>
      <dgm:spPr/>
    </dgm:pt>
    <dgm:pt modelId="{CC3FEF77-715B-4CD9-9C3D-54671135BE7D}" type="pres">
      <dgm:prSet presAssocID="{36E7066A-E933-4373-8DA9-A870F91A3093}" presName="node" presStyleLbl="node1" presStyleIdx="5" presStyleCnt="6">
        <dgm:presLayoutVars>
          <dgm:bulletEnabled val="1"/>
        </dgm:presLayoutVars>
      </dgm:prSet>
      <dgm:spPr/>
    </dgm:pt>
  </dgm:ptLst>
  <dgm:cxnLst>
    <dgm:cxn modelId="{B1E8DD00-2966-49A8-961B-C0B9F604E25F}" srcId="{8C91FB40-7057-4594-B8EB-531334B3697A}" destId="{891B4767-2F9A-4FEC-991A-8C5FAE466E4A}" srcOrd="1" destOrd="0" parTransId="{9A6BE414-22A1-4E47-A322-EFAB404058E8}" sibTransId="{2D0BB4B6-1A94-4BED-A29E-12CBAC54DD00}"/>
    <dgm:cxn modelId="{8900AC0B-A861-498B-A491-DFF3C14E53F6}" type="presOf" srcId="{5F9F3521-ECB9-4487-BB7A-786560F6337F}" destId="{C4668381-912C-4C62-A485-2E4AE99684DE}" srcOrd="1" destOrd="0" presId="urn:microsoft.com/office/officeart/2005/8/layout/process1"/>
    <dgm:cxn modelId="{328F795E-2DEF-4FCC-BA71-4CAD8ABFDB36}" type="presOf" srcId="{1B30BDC1-FAE5-4131-B2E1-DB09E5EE2D04}" destId="{678005FF-560E-4EB3-A3F3-590C809EFF73}" srcOrd="0" destOrd="0" presId="urn:microsoft.com/office/officeart/2005/8/layout/process1"/>
    <dgm:cxn modelId="{5B40F942-EE61-4AD7-9A10-904955083FB9}" type="presOf" srcId="{5428A86A-3585-421E-B21D-E7B01311B3C0}" destId="{56BAE95D-D01B-45D0-ACEE-E08FFE94FA9D}" srcOrd="0" destOrd="0" presId="urn:microsoft.com/office/officeart/2005/8/layout/process1"/>
    <dgm:cxn modelId="{01E90467-C954-4246-956F-09C9A29C4715}" srcId="{8C91FB40-7057-4594-B8EB-531334B3697A}" destId="{36E7066A-E933-4373-8DA9-A870F91A3093}" srcOrd="5" destOrd="0" parTransId="{94BB3B94-C846-4101-ACB0-5C657A4E3E68}" sibTransId="{172761CB-5030-43EE-94A3-0757B161B192}"/>
    <dgm:cxn modelId="{45ACC747-5B18-4CE9-8462-C02298706A7E}" srcId="{8C91FB40-7057-4594-B8EB-531334B3697A}" destId="{1B30BDC1-FAE5-4131-B2E1-DB09E5EE2D04}" srcOrd="3" destOrd="0" parTransId="{1D8D6426-0B4F-433F-9BBC-81CC230B69BC}" sibTransId="{8F1FB91F-82BC-4150-AB41-ED2C6C31789E}"/>
    <dgm:cxn modelId="{04AA264A-FC7D-40D1-8A10-23994C0CFE29}" srcId="{8C91FB40-7057-4594-B8EB-531334B3697A}" destId="{14AD95BA-845C-4888-B4DC-E4EE73E34D9D}" srcOrd="2" destOrd="0" parTransId="{3658DDB7-15C5-4A1C-A203-5E0AA3CA54D7}" sibTransId="{656CA35A-FBCB-4DAC-B294-50ABD7DF3F37}"/>
    <dgm:cxn modelId="{E81E5671-20EC-482B-8443-A36ABB395A9D}" type="presOf" srcId="{656CA35A-FBCB-4DAC-B294-50ABD7DF3F37}" destId="{7671A016-9E90-45B9-A7FF-498BA70772E3}" srcOrd="1" destOrd="0" presId="urn:microsoft.com/office/officeart/2005/8/layout/process1"/>
    <dgm:cxn modelId="{C30E4C53-6D5E-472A-B1D8-E5F272767D95}" type="presOf" srcId="{8F1FB91F-82BC-4150-AB41-ED2C6C31789E}" destId="{9DC2DA01-E1A9-4794-B3D8-D37DF3300D30}" srcOrd="1" destOrd="0" presId="urn:microsoft.com/office/officeart/2005/8/layout/process1"/>
    <dgm:cxn modelId="{A9997D74-1902-435C-BA27-EF47397026B9}" type="presOf" srcId="{14AD95BA-845C-4888-B4DC-E4EE73E34D9D}" destId="{54694F69-5934-46F5-A899-46BC95EC114F}" srcOrd="0" destOrd="0" presId="urn:microsoft.com/office/officeart/2005/8/layout/process1"/>
    <dgm:cxn modelId="{D024667B-6932-440B-807F-BC023B7BB6F6}" type="presOf" srcId="{8C91FB40-7057-4594-B8EB-531334B3697A}" destId="{16005208-100A-4053-AFF5-1D54369B28DC}" srcOrd="0" destOrd="0" presId="urn:microsoft.com/office/officeart/2005/8/layout/process1"/>
    <dgm:cxn modelId="{6B5FAA86-32B7-4EEF-8565-E64667421F5A}" srcId="{8C91FB40-7057-4594-B8EB-531334B3697A}" destId="{126CB24B-C4C6-49B1-91D5-03F050E753DD}" srcOrd="0" destOrd="0" parTransId="{6D85703D-14A7-4C35-B93B-D463BB175B8A}" sibTransId="{5428A86A-3585-421E-B21D-E7B01311B3C0}"/>
    <dgm:cxn modelId="{2628B689-AC5A-4FE8-8A57-DA10F3741ABC}" type="presOf" srcId="{2D0BB4B6-1A94-4BED-A29E-12CBAC54DD00}" destId="{8B597212-8A54-43D2-A625-DB42727FD1A9}" srcOrd="0" destOrd="0" presId="urn:microsoft.com/office/officeart/2005/8/layout/process1"/>
    <dgm:cxn modelId="{B3D63F9B-0D07-4264-A969-0BED0D36C615}" type="presOf" srcId="{5F9F3521-ECB9-4487-BB7A-786560F6337F}" destId="{70075D7F-379C-48C4-85E8-279D085B9C4C}" srcOrd="0" destOrd="0" presId="urn:microsoft.com/office/officeart/2005/8/layout/process1"/>
    <dgm:cxn modelId="{063083A7-0725-42B5-BD92-7FCCF6C3BCE2}" srcId="{8C91FB40-7057-4594-B8EB-531334B3697A}" destId="{DBAF5E04-5956-403A-896F-524A5BFF2BDC}" srcOrd="4" destOrd="0" parTransId="{2A7AAD86-49E7-477A-9D47-627D921B6DE9}" sibTransId="{5F9F3521-ECB9-4487-BB7A-786560F6337F}"/>
    <dgm:cxn modelId="{21FF04BC-297E-4E89-B0B3-FF0DDD6AAEBE}" type="presOf" srcId="{126CB24B-C4C6-49B1-91D5-03F050E753DD}" destId="{7A738A9B-8489-474C-A676-3E620FB0984B}" srcOrd="0" destOrd="0" presId="urn:microsoft.com/office/officeart/2005/8/layout/process1"/>
    <dgm:cxn modelId="{680F76C1-A8F4-42A0-8DE6-DE5BB73045C5}" type="presOf" srcId="{DBAF5E04-5956-403A-896F-524A5BFF2BDC}" destId="{D6CEF1A2-02B5-40CD-AE5A-D0DB9B2E3B4E}" srcOrd="0" destOrd="0" presId="urn:microsoft.com/office/officeart/2005/8/layout/process1"/>
    <dgm:cxn modelId="{F1ACD3C2-9FE1-4969-B5BB-6A805F5E5344}" type="presOf" srcId="{2D0BB4B6-1A94-4BED-A29E-12CBAC54DD00}" destId="{1B1CE63B-E193-4FDC-BB06-62E8F8F161DD}" srcOrd="1" destOrd="0" presId="urn:microsoft.com/office/officeart/2005/8/layout/process1"/>
    <dgm:cxn modelId="{FD2697C8-F34E-406F-AD2E-0B8A7EF96727}" type="presOf" srcId="{656CA35A-FBCB-4DAC-B294-50ABD7DF3F37}" destId="{87208AC3-2C39-414C-957A-34F513AD372F}" srcOrd="0" destOrd="0" presId="urn:microsoft.com/office/officeart/2005/8/layout/process1"/>
    <dgm:cxn modelId="{349AACDA-C30C-47A1-9557-D009D7B4610D}" type="presOf" srcId="{891B4767-2F9A-4FEC-991A-8C5FAE466E4A}" destId="{DF2FB6A3-0A25-4BA9-80BB-C03BC8B2CD4A}" srcOrd="0" destOrd="0" presId="urn:microsoft.com/office/officeart/2005/8/layout/process1"/>
    <dgm:cxn modelId="{D5127FE8-EBCB-4D44-AE5D-A66A854C75A7}" type="presOf" srcId="{8F1FB91F-82BC-4150-AB41-ED2C6C31789E}" destId="{E0AE5542-8EFD-4FDC-90CA-CA346FC7029B}" srcOrd="0" destOrd="0" presId="urn:microsoft.com/office/officeart/2005/8/layout/process1"/>
    <dgm:cxn modelId="{23ED3BFC-867E-434F-BA3E-A5FA28DDD366}" type="presOf" srcId="{36E7066A-E933-4373-8DA9-A870F91A3093}" destId="{CC3FEF77-715B-4CD9-9C3D-54671135BE7D}" srcOrd="0" destOrd="0" presId="urn:microsoft.com/office/officeart/2005/8/layout/process1"/>
    <dgm:cxn modelId="{3A3E59FE-CDE1-43D1-BFB6-14BA5788A6C7}" type="presOf" srcId="{5428A86A-3585-421E-B21D-E7B01311B3C0}" destId="{E9361B3C-DB4C-47ED-A3F2-D7DAAF2FDF32}" srcOrd="1" destOrd="0" presId="urn:microsoft.com/office/officeart/2005/8/layout/process1"/>
    <dgm:cxn modelId="{85B06ED6-7CF0-482B-BDF2-5A7B2AA303E9}" type="presParOf" srcId="{16005208-100A-4053-AFF5-1D54369B28DC}" destId="{7A738A9B-8489-474C-A676-3E620FB0984B}" srcOrd="0" destOrd="0" presId="urn:microsoft.com/office/officeart/2005/8/layout/process1"/>
    <dgm:cxn modelId="{E5AC4C98-BAE3-4AB8-9FEC-E0BBF34BE39C}" type="presParOf" srcId="{16005208-100A-4053-AFF5-1D54369B28DC}" destId="{56BAE95D-D01B-45D0-ACEE-E08FFE94FA9D}" srcOrd="1" destOrd="0" presId="urn:microsoft.com/office/officeart/2005/8/layout/process1"/>
    <dgm:cxn modelId="{A62CDEAA-4A6A-41D3-989A-4AA5EAD65D76}" type="presParOf" srcId="{56BAE95D-D01B-45D0-ACEE-E08FFE94FA9D}" destId="{E9361B3C-DB4C-47ED-A3F2-D7DAAF2FDF32}" srcOrd="0" destOrd="0" presId="urn:microsoft.com/office/officeart/2005/8/layout/process1"/>
    <dgm:cxn modelId="{BAF1D19E-E335-4F48-B563-DAFBC0B814FB}" type="presParOf" srcId="{16005208-100A-4053-AFF5-1D54369B28DC}" destId="{DF2FB6A3-0A25-4BA9-80BB-C03BC8B2CD4A}" srcOrd="2" destOrd="0" presId="urn:microsoft.com/office/officeart/2005/8/layout/process1"/>
    <dgm:cxn modelId="{956B5A71-10EE-40A4-9809-A0AB8A0E1D3A}" type="presParOf" srcId="{16005208-100A-4053-AFF5-1D54369B28DC}" destId="{8B597212-8A54-43D2-A625-DB42727FD1A9}" srcOrd="3" destOrd="0" presId="urn:microsoft.com/office/officeart/2005/8/layout/process1"/>
    <dgm:cxn modelId="{6045FB06-9189-483E-881F-7EB92F98AE3D}" type="presParOf" srcId="{8B597212-8A54-43D2-A625-DB42727FD1A9}" destId="{1B1CE63B-E193-4FDC-BB06-62E8F8F161DD}" srcOrd="0" destOrd="0" presId="urn:microsoft.com/office/officeart/2005/8/layout/process1"/>
    <dgm:cxn modelId="{7FAA234F-023B-481D-B4E6-C6BEDB207695}" type="presParOf" srcId="{16005208-100A-4053-AFF5-1D54369B28DC}" destId="{54694F69-5934-46F5-A899-46BC95EC114F}" srcOrd="4" destOrd="0" presId="urn:microsoft.com/office/officeart/2005/8/layout/process1"/>
    <dgm:cxn modelId="{270D1799-6DFF-4759-BB09-228F45F0F9FD}" type="presParOf" srcId="{16005208-100A-4053-AFF5-1D54369B28DC}" destId="{87208AC3-2C39-414C-957A-34F513AD372F}" srcOrd="5" destOrd="0" presId="urn:microsoft.com/office/officeart/2005/8/layout/process1"/>
    <dgm:cxn modelId="{6391EFE1-4F2D-4F4F-ACBB-AAE30CEAA32D}" type="presParOf" srcId="{87208AC3-2C39-414C-957A-34F513AD372F}" destId="{7671A016-9E90-45B9-A7FF-498BA70772E3}" srcOrd="0" destOrd="0" presId="urn:microsoft.com/office/officeart/2005/8/layout/process1"/>
    <dgm:cxn modelId="{5B493AF6-8612-4FD6-879D-6B9FC755C727}" type="presParOf" srcId="{16005208-100A-4053-AFF5-1D54369B28DC}" destId="{678005FF-560E-4EB3-A3F3-590C809EFF73}" srcOrd="6" destOrd="0" presId="urn:microsoft.com/office/officeart/2005/8/layout/process1"/>
    <dgm:cxn modelId="{758A7899-BEFE-47CB-99B9-BC007033D249}" type="presParOf" srcId="{16005208-100A-4053-AFF5-1D54369B28DC}" destId="{E0AE5542-8EFD-4FDC-90CA-CA346FC7029B}" srcOrd="7" destOrd="0" presId="urn:microsoft.com/office/officeart/2005/8/layout/process1"/>
    <dgm:cxn modelId="{7E841C33-58C5-451D-9D04-64993361F137}" type="presParOf" srcId="{E0AE5542-8EFD-4FDC-90CA-CA346FC7029B}" destId="{9DC2DA01-E1A9-4794-B3D8-D37DF3300D30}" srcOrd="0" destOrd="0" presId="urn:microsoft.com/office/officeart/2005/8/layout/process1"/>
    <dgm:cxn modelId="{80FA65E3-3A48-4F6A-A0F7-79AF6F0730C6}" type="presParOf" srcId="{16005208-100A-4053-AFF5-1D54369B28DC}" destId="{D6CEF1A2-02B5-40CD-AE5A-D0DB9B2E3B4E}" srcOrd="8" destOrd="0" presId="urn:microsoft.com/office/officeart/2005/8/layout/process1"/>
    <dgm:cxn modelId="{1C242AE7-22DB-41A0-995A-BDB90F1B5D73}" type="presParOf" srcId="{16005208-100A-4053-AFF5-1D54369B28DC}" destId="{70075D7F-379C-48C4-85E8-279D085B9C4C}" srcOrd="9" destOrd="0" presId="urn:microsoft.com/office/officeart/2005/8/layout/process1"/>
    <dgm:cxn modelId="{2D0FBCA8-C893-4150-AAD2-3D54021FE5F0}" type="presParOf" srcId="{70075D7F-379C-48C4-85E8-279D085B9C4C}" destId="{C4668381-912C-4C62-A485-2E4AE99684DE}" srcOrd="0" destOrd="0" presId="urn:microsoft.com/office/officeart/2005/8/layout/process1"/>
    <dgm:cxn modelId="{62B26E2E-2002-4C13-B0E0-E28C6CC3973F}" type="presParOf" srcId="{16005208-100A-4053-AFF5-1D54369B28DC}" destId="{CC3FEF77-715B-4CD9-9C3D-54671135BE7D}" srcOrd="10" destOrd="0" presId="urn:microsoft.com/office/officeart/2005/8/layout/process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C91FB40-7057-4594-B8EB-531334B3697A}" type="doc">
      <dgm:prSet loTypeId="urn:microsoft.com/office/officeart/2005/8/layout/process1" loCatId="process" qsTypeId="urn:microsoft.com/office/officeart/2005/8/quickstyle/simple1" qsCatId="simple" csTypeId="urn:microsoft.com/office/officeart/2005/8/colors/accent1_2" csCatId="accent1" phldr="1"/>
      <dgm:spPr/>
    </dgm:pt>
    <dgm:pt modelId="{126CB24B-C4C6-49B1-91D5-03F050E753DD}">
      <dgm:prSet phldrT="[Text]"/>
      <dgm:spPr/>
      <dgm:t>
        <a:bodyPr/>
        <a:lstStyle/>
        <a:p>
          <a:r>
            <a:rPr lang="de-DE" dirty="0"/>
            <a:t>2013</a:t>
          </a:r>
          <a:br>
            <a:rPr lang="de-DE" dirty="0"/>
          </a:br>
          <a:r>
            <a:rPr lang="de-DE" dirty="0"/>
            <a:t>Kontrolle der digitalen Datenübernahmen setzt sich immer mehr durch + Mittlerweile reine Scanlösungen ohne Mikrofilme, wenn ja dann nur noch als Backup. Zeitstempel werden eingesetzt – LTANS </a:t>
          </a:r>
          <a:br>
            <a:rPr lang="de-DE" dirty="0"/>
          </a:br>
          <a:r>
            <a:rPr lang="de-DE" dirty="0"/>
            <a:t>+</a:t>
          </a:r>
          <a:br>
            <a:rPr lang="de-DE" dirty="0"/>
          </a:br>
          <a:r>
            <a:rPr lang="de-DE" dirty="0"/>
            <a:t>IHE gewinnt mehr an Bedeutung</a:t>
          </a:r>
        </a:p>
      </dgm:t>
    </dgm:pt>
    <dgm:pt modelId="{6D85703D-14A7-4C35-B93B-D463BB175B8A}" type="parTrans" cxnId="{6B5FAA86-32B7-4EEF-8565-E64667421F5A}">
      <dgm:prSet/>
      <dgm:spPr/>
      <dgm:t>
        <a:bodyPr/>
        <a:lstStyle/>
        <a:p>
          <a:endParaRPr lang="de-DE"/>
        </a:p>
      </dgm:t>
    </dgm:pt>
    <dgm:pt modelId="{5428A86A-3585-421E-B21D-E7B01311B3C0}" type="sibTrans" cxnId="{6B5FAA86-32B7-4EEF-8565-E64667421F5A}">
      <dgm:prSet/>
      <dgm:spPr/>
      <dgm:t>
        <a:bodyPr/>
        <a:lstStyle/>
        <a:p>
          <a:endParaRPr lang="de-DE"/>
        </a:p>
      </dgm:t>
    </dgm:pt>
    <dgm:pt modelId="{891B4767-2F9A-4FEC-991A-8C5FAE466E4A}">
      <dgm:prSet phldrT="[Text]"/>
      <dgm:spPr/>
      <dgm:t>
        <a:bodyPr/>
        <a:lstStyle/>
        <a:p>
          <a:r>
            <a:rPr lang="de-DE" dirty="0"/>
            <a:t>2015</a:t>
          </a:r>
          <a:br>
            <a:rPr lang="de-DE" dirty="0"/>
          </a:br>
          <a:r>
            <a:rPr lang="de-DE" dirty="0"/>
            <a:t>Mit der zunehmenden Restrukturierung des Gesundheitswesens werden immer mehr Migrationspfade notwendig – Dokumente werden zunehmend digital gedacht und Information Lifecycle Management wird aufgrund der Löschanforderungen wichtig. </a:t>
          </a:r>
          <a:r>
            <a:rPr lang="de-DE" dirty="0" err="1"/>
            <a:t>Kubernetes</a:t>
          </a:r>
          <a:r>
            <a:rPr lang="de-DE" dirty="0"/>
            <a:t> wird erfunden.</a:t>
          </a:r>
        </a:p>
      </dgm:t>
    </dgm:pt>
    <dgm:pt modelId="{9A6BE414-22A1-4E47-A322-EFAB404058E8}" type="parTrans" cxnId="{B1E8DD00-2966-49A8-961B-C0B9F604E25F}">
      <dgm:prSet/>
      <dgm:spPr/>
      <dgm:t>
        <a:bodyPr/>
        <a:lstStyle/>
        <a:p>
          <a:endParaRPr lang="de-DE"/>
        </a:p>
      </dgm:t>
    </dgm:pt>
    <dgm:pt modelId="{2D0BB4B6-1A94-4BED-A29E-12CBAC54DD00}" type="sibTrans" cxnId="{B1E8DD00-2966-49A8-961B-C0B9F604E25F}">
      <dgm:prSet/>
      <dgm:spPr/>
      <dgm:t>
        <a:bodyPr/>
        <a:lstStyle/>
        <a:p>
          <a:endParaRPr lang="de-DE"/>
        </a:p>
      </dgm:t>
    </dgm:pt>
    <dgm:pt modelId="{14AD95BA-845C-4888-B4DC-E4EE73E34D9D}">
      <dgm:prSet phldrT="[Text]"/>
      <dgm:spPr/>
      <dgm:t>
        <a:bodyPr/>
        <a:lstStyle/>
        <a:p>
          <a:r>
            <a:rPr lang="de-DE" dirty="0"/>
            <a:t>2018</a:t>
          </a:r>
        </a:p>
        <a:p>
          <a:r>
            <a:rPr lang="de-DE" dirty="0"/>
            <a:t>DSGVO tritt in Kraft. Betriebssysteme haben sich bei Serverapplikationen entscheidend geändert – Linux tritt als </a:t>
          </a:r>
          <a:r>
            <a:rPr lang="de-DE" dirty="0" err="1"/>
            <a:t>OpenSource</a:t>
          </a:r>
          <a:r>
            <a:rPr lang="de-DE" dirty="0"/>
            <a:t> Lösung immer mehr in den Vordergrund -  Die Plattformgedanken entstehen weil immer mehr Daten rein digital archiviert werden. Webanwendungen treten in den Vordergrund.</a:t>
          </a:r>
        </a:p>
      </dgm:t>
    </dgm:pt>
    <dgm:pt modelId="{3658DDB7-15C5-4A1C-A203-5E0AA3CA54D7}" type="parTrans" cxnId="{04AA264A-FC7D-40D1-8A10-23994C0CFE29}">
      <dgm:prSet/>
      <dgm:spPr/>
      <dgm:t>
        <a:bodyPr/>
        <a:lstStyle/>
        <a:p>
          <a:endParaRPr lang="de-DE"/>
        </a:p>
      </dgm:t>
    </dgm:pt>
    <dgm:pt modelId="{656CA35A-FBCB-4DAC-B294-50ABD7DF3F37}" type="sibTrans" cxnId="{04AA264A-FC7D-40D1-8A10-23994C0CFE29}">
      <dgm:prSet/>
      <dgm:spPr/>
      <dgm:t>
        <a:bodyPr/>
        <a:lstStyle/>
        <a:p>
          <a:endParaRPr lang="de-DE"/>
        </a:p>
      </dgm:t>
    </dgm:pt>
    <dgm:pt modelId="{1B30BDC1-FAE5-4131-B2E1-DB09E5EE2D04}">
      <dgm:prSet phldrT="[Text]"/>
      <dgm:spPr/>
      <dgm:t>
        <a:bodyPr/>
        <a:lstStyle/>
        <a:p>
          <a:r>
            <a:rPr lang="de-DE" dirty="0"/>
            <a:t>2020</a:t>
          </a:r>
          <a:br>
            <a:rPr lang="de-DE" dirty="0"/>
          </a:br>
          <a:r>
            <a:rPr lang="de-DE" dirty="0"/>
            <a:t>Fast alle KIS Anbieter stellen von Microsoft oder JAVA Client Server Anwendungen um auf Webtechnologie. Viele Klinische Dokumente  (z.B. Kurven) entstehen nur noch auf XML basierten Objekten. </a:t>
          </a:r>
          <a:br>
            <a:rPr lang="de-DE" dirty="0"/>
          </a:br>
          <a:r>
            <a:rPr lang="de-DE" dirty="0"/>
            <a:t>+</a:t>
          </a:r>
        </a:p>
        <a:p>
          <a:r>
            <a:rPr lang="de-DE" dirty="0"/>
            <a:t>Rein digitale Archivierung gewinnt die Oberhand</a:t>
          </a:r>
        </a:p>
      </dgm:t>
    </dgm:pt>
    <dgm:pt modelId="{1D8D6426-0B4F-433F-9BBC-81CC230B69BC}" type="parTrans" cxnId="{45ACC747-5B18-4CE9-8462-C02298706A7E}">
      <dgm:prSet/>
      <dgm:spPr/>
      <dgm:t>
        <a:bodyPr/>
        <a:lstStyle/>
        <a:p>
          <a:endParaRPr lang="de-DE"/>
        </a:p>
      </dgm:t>
    </dgm:pt>
    <dgm:pt modelId="{8F1FB91F-82BC-4150-AB41-ED2C6C31789E}" type="sibTrans" cxnId="{45ACC747-5B18-4CE9-8462-C02298706A7E}">
      <dgm:prSet/>
      <dgm:spPr/>
      <dgm:t>
        <a:bodyPr/>
        <a:lstStyle/>
        <a:p>
          <a:endParaRPr lang="de-DE"/>
        </a:p>
      </dgm:t>
    </dgm:pt>
    <dgm:pt modelId="{DBAF5E04-5956-403A-896F-524A5BFF2BDC}">
      <dgm:prSet phldrT="[Text]"/>
      <dgm:spPr/>
      <dgm:t>
        <a:bodyPr/>
        <a:lstStyle/>
        <a:p>
          <a:r>
            <a:rPr lang="de-DE" dirty="0"/>
            <a:t>2022</a:t>
          </a:r>
          <a:br>
            <a:rPr lang="de-DE" dirty="0"/>
          </a:br>
          <a:r>
            <a:rPr lang="de-DE" dirty="0"/>
            <a:t>Die digitalen Informationen werden zunehmend in Container gepackt und über IHE Strukturen oder die </a:t>
          </a:r>
          <a:r>
            <a:rPr lang="de-DE" dirty="0" err="1"/>
            <a:t>ePA</a:t>
          </a:r>
          <a:r>
            <a:rPr lang="de-DE" dirty="0"/>
            <a:t> verteilt</a:t>
          </a:r>
          <a:br>
            <a:rPr lang="de-DE" dirty="0"/>
          </a:br>
          <a:r>
            <a:rPr lang="de-DE" dirty="0"/>
            <a:t>+</a:t>
          </a:r>
          <a:br>
            <a:rPr lang="de-DE" dirty="0"/>
          </a:br>
          <a:r>
            <a:rPr lang="de-DE" dirty="0"/>
            <a:t>die digitalen Datenobjekte müssen dem Recht des Augenscheins entsprechen.</a:t>
          </a:r>
        </a:p>
        <a:p>
          <a:r>
            <a:rPr lang="de-DE" dirty="0"/>
            <a:t>FHIR als neuen Kommunikation erlaubt Direktanbindungen.</a:t>
          </a:r>
        </a:p>
      </dgm:t>
    </dgm:pt>
    <dgm:pt modelId="{2A7AAD86-49E7-477A-9D47-627D921B6DE9}" type="parTrans" cxnId="{063083A7-0725-42B5-BD92-7FCCF6C3BCE2}">
      <dgm:prSet/>
      <dgm:spPr/>
      <dgm:t>
        <a:bodyPr/>
        <a:lstStyle/>
        <a:p>
          <a:endParaRPr lang="de-DE"/>
        </a:p>
      </dgm:t>
    </dgm:pt>
    <dgm:pt modelId="{5F9F3521-ECB9-4487-BB7A-786560F6337F}" type="sibTrans" cxnId="{063083A7-0725-42B5-BD92-7FCCF6C3BCE2}">
      <dgm:prSet/>
      <dgm:spPr/>
      <dgm:t>
        <a:bodyPr/>
        <a:lstStyle/>
        <a:p>
          <a:endParaRPr lang="de-DE"/>
        </a:p>
      </dgm:t>
    </dgm:pt>
    <dgm:pt modelId="{36E7066A-E933-4373-8DA9-A870F91A3093}">
      <dgm:prSet phldrT="[Text]"/>
      <dgm:spPr/>
      <dgm:t>
        <a:bodyPr/>
        <a:lstStyle/>
        <a:p>
          <a:r>
            <a:rPr lang="de-DE" dirty="0"/>
            <a:t>2023</a:t>
          </a:r>
          <a:br>
            <a:rPr lang="de-DE" dirty="0"/>
          </a:br>
          <a:r>
            <a:rPr lang="de-DE" dirty="0"/>
            <a:t>erste KIS Systeme sind als </a:t>
          </a:r>
          <a:r>
            <a:rPr lang="de-DE" dirty="0" err="1"/>
            <a:t>Kubernetes</a:t>
          </a:r>
          <a:r>
            <a:rPr lang="de-DE" dirty="0"/>
            <a:t> basierende Lösungen </a:t>
          </a:r>
          <a:r>
            <a:rPr lang="de-DE" dirty="0" err="1"/>
            <a:t>distribuierbar</a:t>
          </a:r>
          <a:r>
            <a:rPr lang="de-DE" dirty="0"/>
            <a:t>.</a:t>
          </a:r>
        </a:p>
        <a:p>
          <a:r>
            <a:rPr lang="de-DE" dirty="0"/>
            <a:t>+</a:t>
          </a:r>
        </a:p>
        <a:p>
          <a:r>
            <a:rPr lang="de-DE" dirty="0"/>
            <a:t>Intersektorale Konzepte mit IHE Plattformen  werden immer wichtiger aufgrund des politisch gewünschten Strukturwandels im Gesundheitswesen.</a:t>
          </a:r>
        </a:p>
      </dgm:t>
    </dgm:pt>
    <dgm:pt modelId="{94BB3B94-C846-4101-ACB0-5C657A4E3E68}" type="parTrans" cxnId="{01E90467-C954-4246-956F-09C9A29C4715}">
      <dgm:prSet/>
      <dgm:spPr/>
      <dgm:t>
        <a:bodyPr/>
        <a:lstStyle/>
        <a:p>
          <a:endParaRPr lang="de-DE"/>
        </a:p>
      </dgm:t>
    </dgm:pt>
    <dgm:pt modelId="{172761CB-5030-43EE-94A3-0757B161B192}" type="sibTrans" cxnId="{01E90467-C954-4246-956F-09C9A29C4715}">
      <dgm:prSet/>
      <dgm:spPr/>
      <dgm:t>
        <a:bodyPr/>
        <a:lstStyle/>
        <a:p>
          <a:endParaRPr lang="de-DE"/>
        </a:p>
      </dgm:t>
    </dgm:pt>
    <dgm:pt modelId="{16005208-100A-4053-AFF5-1D54369B28DC}" type="pres">
      <dgm:prSet presAssocID="{8C91FB40-7057-4594-B8EB-531334B3697A}" presName="Name0" presStyleCnt="0">
        <dgm:presLayoutVars>
          <dgm:dir/>
          <dgm:resizeHandles val="exact"/>
        </dgm:presLayoutVars>
      </dgm:prSet>
      <dgm:spPr/>
    </dgm:pt>
    <dgm:pt modelId="{7A738A9B-8489-474C-A676-3E620FB0984B}" type="pres">
      <dgm:prSet presAssocID="{126CB24B-C4C6-49B1-91D5-03F050E753DD}" presName="node" presStyleLbl="node1" presStyleIdx="0" presStyleCnt="6">
        <dgm:presLayoutVars>
          <dgm:bulletEnabled val="1"/>
        </dgm:presLayoutVars>
      </dgm:prSet>
      <dgm:spPr/>
    </dgm:pt>
    <dgm:pt modelId="{56BAE95D-D01B-45D0-ACEE-E08FFE94FA9D}" type="pres">
      <dgm:prSet presAssocID="{5428A86A-3585-421E-B21D-E7B01311B3C0}" presName="sibTrans" presStyleLbl="sibTrans2D1" presStyleIdx="0" presStyleCnt="5"/>
      <dgm:spPr/>
    </dgm:pt>
    <dgm:pt modelId="{E9361B3C-DB4C-47ED-A3F2-D7DAAF2FDF32}" type="pres">
      <dgm:prSet presAssocID="{5428A86A-3585-421E-B21D-E7B01311B3C0}" presName="connectorText" presStyleLbl="sibTrans2D1" presStyleIdx="0" presStyleCnt="5"/>
      <dgm:spPr/>
    </dgm:pt>
    <dgm:pt modelId="{DF2FB6A3-0A25-4BA9-80BB-C03BC8B2CD4A}" type="pres">
      <dgm:prSet presAssocID="{891B4767-2F9A-4FEC-991A-8C5FAE466E4A}" presName="node" presStyleLbl="node1" presStyleIdx="1" presStyleCnt="6">
        <dgm:presLayoutVars>
          <dgm:bulletEnabled val="1"/>
        </dgm:presLayoutVars>
      </dgm:prSet>
      <dgm:spPr/>
    </dgm:pt>
    <dgm:pt modelId="{8B597212-8A54-43D2-A625-DB42727FD1A9}" type="pres">
      <dgm:prSet presAssocID="{2D0BB4B6-1A94-4BED-A29E-12CBAC54DD00}" presName="sibTrans" presStyleLbl="sibTrans2D1" presStyleIdx="1" presStyleCnt="5"/>
      <dgm:spPr/>
    </dgm:pt>
    <dgm:pt modelId="{1B1CE63B-E193-4FDC-BB06-62E8F8F161DD}" type="pres">
      <dgm:prSet presAssocID="{2D0BB4B6-1A94-4BED-A29E-12CBAC54DD00}" presName="connectorText" presStyleLbl="sibTrans2D1" presStyleIdx="1" presStyleCnt="5"/>
      <dgm:spPr/>
    </dgm:pt>
    <dgm:pt modelId="{54694F69-5934-46F5-A899-46BC95EC114F}" type="pres">
      <dgm:prSet presAssocID="{14AD95BA-845C-4888-B4DC-E4EE73E34D9D}" presName="node" presStyleLbl="node1" presStyleIdx="2" presStyleCnt="6">
        <dgm:presLayoutVars>
          <dgm:bulletEnabled val="1"/>
        </dgm:presLayoutVars>
      </dgm:prSet>
      <dgm:spPr/>
    </dgm:pt>
    <dgm:pt modelId="{87208AC3-2C39-414C-957A-34F513AD372F}" type="pres">
      <dgm:prSet presAssocID="{656CA35A-FBCB-4DAC-B294-50ABD7DF3F37}" presName="sibTrans" presStyleLbl="sibTrans2D1" presStyleIdx="2" presStyleCnt="5"/>
      <dgm:spPr/>
    </dgm:pt>
    <dgm:pt modelId="{7671A016-9E90-45B9-A7FF-498BA70772E3}" type="pres">
      <dgm:prSet presAssocID="{656CA35A-FBCB-4DAC-B294-50ABD7DF3F37}" presName="connectorText" presStyleLbl="sibTrans2D1" presStyleIdx="2" presStyleCnt="5"/>
      <dgm:spPr/>
    </dgm:pt>
    <dgm:pt modelId="{678005FF-560E-4EB3-A3F3-590C809EFF73}" type="pres">
      <dgm:prSet presAssocID="{1B30BDC1-FAE5-4131-B2E1-DB09E5EE2D04}" presName="node" presStyleLbl="node1" presStyleIdx="3" presStyleCnt="6">
        <dgm:presLayoutVars>
          <dgm:bulletEnabled val="1"/>
        </dgm:presLayoutVars>
      </dgm:prSet>
      <dgm:spPr/>
    </dgm:pt>
    <dgm:pt modelId="{E0AE5542-8EFD-4FDC-90CA-CA346FC7029B}" type="pres">
      <dgm:prSet presAssocID="{8F1FB91F-82BC-4150-AB41-ED2C6C31789E}" presName="sibTrans" presStyleLbl="sibTrans2D1" presStyleIdx="3" presStyleCnt="5"/>
      <dgm:spPr/>
    </dgm:pt>
    <dgm:pt modelId="{9DC2DA01-E1A9-4794-B3D8-D37DF3300D30}" type="pres">
      <dgm:prSet presAssocID="{8F1FB91F-82BC-4150-AB41-ED2C6C31789E}" presName="connectorText" presStyleLbl="sibTrans2D1" presStyleIdx="3" presStyleCnt="5"/>
      <dgm:spPr/>
    </dgm:pt>
    <dgm:pt modelId="{D6CEF1A2-02B5-40CD-AE5A-D0DB9B2E3B4E}" type="pres">
      <dgm:prSet presAssocID="{DBAF5E04-5956-403A-896F-524A5BFF2BDC}" presName="node" presStyleLbl="node1" presStyleIdx="4" presStyleCnt="6">
        <dgm:presLayoutVars>
          <dgm:bulletEnabled val="1"/>
        </dgm:presLayoutVars>
      </dgm:prSet>
      <dgm:spPr/>
    </dgm:pt>
    <dgm:pt modelId="{70075D7F-379C-48C4-85E8-279D085B9C4C}" type="pres">
      <dgm:prSet presAssocID="{5F9F3521-ECB9-4487-BB7A-786560F6337F}" presName="sibTrans" presStyleLbl="sibTrans2D1" presStyleIdx="4" presStyleCnt="5"/>
      <dgm:spPr/>
    </dgm:pt>
    <dgm:pt modelId="{C4668381-912C-4C62-A485-2E4AE99684DE}" type="pres">
      <dgm:prSet presAssocID="{5F9F3521-ECB9-4487-BB7A-786560F6337F}" presName="connectorText" presStyleLbl="sibTrans2D1" presStyleIdx="4" presStyleCnt="5"/>
      <dgm:spPr/>
    </dgm:pt>
    <dgm:pt modelId="{CC3FEF77-715B-4CD9-9C3D-54671135BE7D}" type="pres">
      <dgm:prSet presAssocID="{36E7066A-E933-4373-8DA9-A870F91A3093}" presName="node" presStyleLbl="node1" presStyleIdx="5" presStyleCnt="6">
        <dgm:presLayoutVars>
          <dgm:bulletEnabled val="1"/>
        </dgm:presLayoutVars>
      </dgm:prSet>
      <dgm:spPr/>
    </dgm:pt>
  </dgm:ptLst>
  <dgm:cxnLst>
    <dgm:cxn modelId="{B1E8DD00-2966-49A8-961B-C0B9F604E25F}" srcId="{8C91FB40-7057-4594-B8EB-531334B3697A}" destId="{891B4767-2F9A-4FEC-991A-8C5FAE466E4A}" srcOrd="1" destOrd="0" parTransId="{9A6BE414-22A1-4E47-A322-EFAB404058E8}" sibTransId="{2D0BB4B6-1A94-4BED-A29E-12CBAC54DD00}"/>
    <dgm:cxn modelId="{8900AC0B-A861-498B-A491-DFF3C14E53F6}" type="presOf" srcId="{5F9F3521-ECB9-4487-BB7A-786560F6337F}" destId="{C4668381-912C-4C62-A485-2E4AE99684DE}" srcOrd="1" destOrd="0" presId="urn:microsoft.com/office/officeart/2005/8/layout/process1"/>
    <dgm:cxn modelId="{328F795E-2DEF-4FCC-BA71-4CAD8ABFDB36}" type="presOf" srcId="{1B30BDC1-FAE5-4131-B2E1-DB09E5EE2D04}" destId="{678005FF-560E-4EB3-A3F3-590C809EFF73}" srcOrd="0" destOrd="0" presId="urn:microsoft.com/office/officeart/2005/8/layout/process1"/>
    <dgm:cxn modelId="{5B40F942-EE61-4AD7-9A10-904955083FB9}" type="presOf" srcId="{5428A86A-3585-421E-B21D-E7B01311B3C0}" destId="{56BAE95D-D01B-45D0-ACEE-E08FFE94FA9D}" srcOrd="0" destOrd="0" presId="urn:microsoft.com/office/officeart/2005/8/layout/process1"/>
    <dgm:cxn modelId="{01E90467-C954-4246-956F-09C9A29C4715}" srcId="{8C91FB40-7057-4594-B8EB-531334B3697A}" destId="{36E7066A-E933-4373-8DA9-A870F91A3093}" srcOrd="5" destOrd="0" parTransId="{94BB3B94-C846-4101-ACB0-5C657A4E3E68}" sibTransId="{172761CB-5030-43EE-94A3-0757B161B192}"/>
    <dgm:cxn modelId="{45ACC747-5B18-4CE9-8462-C02298706A7E}" srcId="{8C91FB40-7057-4594-B8EB-531334B3697A}" destId="{1B30BDC1-FAE5-4131-B2E1-DB09E5EE2D04}" srcOrd="3" destOrd="0" parTransId="{1D8D6426-0B4F-433F-9BBC-81CC230B69BC}" sibTransId="{8F1FB91F-82BC-4150-AB41-ED2C6C31789E}"/>
    <dgm:cxn modelId="{04AA264A-FC7D-40D1-8A10-23994C0CFE29}" srcId="{8C91FB40-7057-4594-B8EB-531334B3697A}" destId="{14AD95BA-845C-4888-B4DC-E4EE73E34D9D}" srcOrd="2" destOrd="0" parTransId="{3658DDB7-15C5-4A1C-A203-5E0AA3CA54D7}" sibTransId="{656CA35A-FBCB-4DAC-B294-50ABD7DF3F37}"/>
    <dgm:cxn modelId="{E81E5671-20EC-482B-8443-A36ABB395A9D}" type="presOf" srcId="{656CA35A-FBCB-4DAC-B294-50ABD7DF3F37}" destId="{7671A016-9E90-45B9-A7FF-498BA70772E3}" srcOrd="1" destOrd="0" presId="urn:microsoft.com/office/officeart/2005/8/layout/process1"/>
    <dgm:cxn modelId="{C30E4C53-6D5E-472A-B1D8-E5F272767D95}" type="presOf" srcId="{8F1FB91F-82BC-4150-AB41-ED2C6C31789E}" destId="{9DC2DA01-E1A9-4794-B3D8-D37DF3300D30}" srcOrd="1" destOrd="0" presId="urn:microsoft.com/office/officeart/2005/8/layout/process1"/>
    <dgm:cxn modelId="{A9997D74-1902-435C-BA27-EF47397026B9}" type="presOf" srcId="{14AD95BA-845C-4888-B4DC-E4EE73E34D9D}" destId="{54694F69-5934-46F5-A899-46BC95EC114F}" srcOrd="0" destOrd="0" presId="urn:microsoft.com/office/officeart/2005/8/layout/process1"/>
    <dgm:cxn modelId="{D024667B-6932-440B-807F-BC023B7BB6F6}" type="presOf" srcId="{8C91FB40-7057-4594-B8EB-531334B3697A}" destId="{16005208-100A-4053-AFF5-1D54369B28DC}" srcOrd="0" destOrd="0" presId="urn:microsoft.com/office/officeart/2005/8/layout/process1"/>
    <dgm:cxn modelId="{6B5FAA86-32B7-4EEF-8565-E64667421F5A}" srcId="{8C91FB40-7057-4594-B8EB-531334B3697A}" destId="{126CB24B-C4C6-49B1-91D5-03F050E753DD}" srcOrd="0" destOrd="0" parTransId="{6D85703D-14A7-4C35-B93B-D463BB175B8A}" sibTransId="{5428A86A-3585-421E-B21D-E7B01311B3C0}"/>
    <dgm:cxn modelId="{2628B689-AC5A-4FE8-8A57-DA10F3741ABC}" type="presOf" srcId="{2D0BB4B6-1A94-4BED-A29E-12CBAC54DD00}" destId="{8B597212-8A54-43D2-A625-DB42727FD1A9}" srcOrd="0" destOrd="0" presId="urn:microsoft.com/office/officeart/2005/8/layout/process1"/>
    <dgm:cxn modelId="{B3D63F9B-0D07-4264-A969-0BED0D36C615}" type="presOf" srcId="{5F9F3521-ECB9-4487-BB7A-786560F6337F}" destId="{70075D7F-379C-48C4-85E8-279D085B9C4C}" srcOrd="0" destOrd="0" presId="urn:microsoft.com/office/officeart/2005/8/layout/process1"/>
    <dgm:cxn modelId="{063083A7-0725-42B5-BD92-7FCCF6C3BCE2}" srcId="{8C91FB40-7057-4594-B8EB-531334B3697A}" destId="{DBAF5E04-5956-403A-896F-524A5BFF2BDC}" srcOrd="4" destOrd="0" parTransId="{2A7AAD86-49E7-477A-9D47-627D921B6DE9}" sibTransId="{5F9F3521-ECB9-4487-BB7A-786560F6337F}"/>
    <dgm:cxn modelId="{21FF04BC-297E-4E89-B0B3-FF0DDD6AAEBE}" type="presOf" srcId="{126CB24B-C4C6-49B1-91D5-03F050E753DD}" destId="{7A738A9B-8489-474C-A676-3E620FB0984B}" srcOrd="0" destOrd="0" presId="urn:microsoft.com/office/officeart/2005/8/layout/process1"/>
    <dgm:cxn modelId="{680F76C1-A8F4-42A0-8DE6-DE5BB73045C5}" type="presOf" srcId="{DBAF5E04-5956-403A-896F-524A5BFF2BDC}" destId="{D6CEF1A2-02B5-40CD-AE5A-D0DB9B2E3B4E}" srcOrd="0" destOrd="0" presId="urn:microsoft.com/office/officeart/2005/8/layout/process1"/>
    <dgm:cxn modelId="{F1ACD3C2-9FE1-4969-B5BB-6A805F5E5344}" type="presOf" srcId="{2D0BB4B6-1A94-4BED-A29E-12CBAC54DD00}" destId="{1B1CE63B-E193-4FDC-BB06-62E8F8F161DD}" srcOrd="1" destOrd="0" presId="urn:microsoft.com/office/officeart/2005/8/layout/process1"/>
    <dgm:cxn modelId="{FD2697C8-F34E-406F-AD2E-0B8A7EF96727}" type="presOf" srcId="{656CA35A-FBCB-4DAC-B294-50ABD7DF3F37}" destId="{87208AC3-2C39-414C-957A-34F513AD372F}" srcOrd="0" destOrd="0" presId="urn:microsoft.com/office/officeart/2005/8/layout/process1"/>
    <dgm:cxn modelId="{349AACDA-C30C-47A1-9557-D009D7B4610D}" type="presOf" srcId="{891B4767-2F9A-4FEC-991A-8C5FAE466E4A}" destId="{DF2FB6A3-0A25-4BA9-80BB-C03BC8B2CD4A}" srcOrd="0" destOrd="0" presId="urn:microsoft.com/office/officeart/2005/8/layout/process1"/>
    <dgm:cxn modelId="{D5127FE8-EBCB-4D44-AE5D-A66A854C75A7}" type="presOf" srcId="{8F1FB91F-82BC-4150-AB41-ED2C6C31789E}" destId="{E0AE5542-8EFD-4FDC-90CA-CA346FC7029B}" srcOrd="0" destOrd="0" presId="urn:microsoft.com/office/officeart/2005/8/layout/process1"/>
    <dgm:cxn modelId="{23ED3BFC-867E-434F-BA3E-A5FA28DDD366}" type="presOf" srcId="{36E7066A-E933-4373-8DA9-A870F91A3093}" destId="{CC3FEF77-715B-4CD9-9C3D-54671135BE7D}" srcOrd="0" destOrd="0" presId="urn:microsoft.com/office/officeart/2005/8/layout/process1"/>
    <dgm:cxn modelId="{3A3E59FE-CDE1-43D1-BFB6-14BA5788A6C7}" type="presOf" srcId="{5428A86A-3585-421E-B21D-E7B01311B3C0}" destId="{E9361B3C-DB4C-47ED-A3F2-D7DAAF2FDF32}" srcOrd="1" destOrd="0" presId="urn:microsoft.com/office/officeart/2005/8/layout/process1"/>
    <dgm:cxn modelId="{85B06ED6-7CF0-482B-BDF2-5A7B2AA303E9}" type="presParOf" srcId="{16005208-100A-4053-AFF5-1D54369B28DC}" destId="{7A738A9B-8489-474C-A676-3E620FB0984B}" srcOrd="0" destOrd="0" presId="urn:microsoft.com/office/officeart/2005/8/layout/process1"/>
    <dgm:cxn modelId="{E5AC4C98-BAE3-4AB8-9FEC-E0BBF34BE39C}" type="presParOf" srcId="{16005208-100A-4053-AFF5-1D54369B28DC}" destId="{56BAE95D-D01B-45D0-ACEE-E08FFE94FA9D}" srcOrd="1" destOrd="0" presId="urn:microsoft.com/office/officeart/2005/8/layout/process1"/>
    <dgm:cxn modelId="{A62CDEAA-4A6A-41D3-989A-4AA5EAD65D76}" type="presParOf" srcId="{56BAE95D-D01B-45D0-ACEE-E08FFE94FA9D}" destId="{E9361B3C-DB4C-47ED-A3F2-D7DAAF2FDF32}" srcOrd="0" destOrd="0" presId="urn:microsoft.com/office/officeart/2005/8/layout/process1"/>
    <dgm:cxn modelId="{BAF1D19E-E335-4F48-B563-DAFBC0B814FB}" type="presParOf" srcId="{16005208-100A-4053-AFF5-1D54369B28DC}" destId="{DF2FB6A3-0A25-4BA9-80BB-C03BC8B2CD4A}" srcOrd="2" destOrd="0" presId="urn:microsoft.com/office/officeart/2005/8/layout/process1"/>
    <dgm:cxn modelId="{956B5A71-10EE-40A4-9809-A0AB8A0E1D3A}" type="presParOf" srcId="{16005208-100A-4053-AFF5-1D54369B28DC}" destId="{8B597212-8A54-43D2-A625-DB42727FD1A9}" srcOrd="3" destOrd="0" presId="urn:microsoft.com/office/officeart/2005/8/layout/process1"/>
    <dgm:cxn modelId="{6045FB06-9189-483E-881F-7EB92F98AE3D}" type="presParOf" srcId="{8B597212-8A54-43D2-A625-DB42727FD1A9}" destId="{1B1CE63B-E193-4FDC-BB06-62E8F8F161DD}" srcOrd="0" destOrd="0" presId="urn:microsoft.com/office/officeart/2005/8/layout/process1"/>
    <dgm:cxn modelId="{7FAA234F-023B-481D-B4E6-C6BEDB207695}" type="presParOf" srcId="{16005208-100A-4053-AFF5-1D54369B28DC}" destId="{54694F69-5934-46F5-A899-46BC95EC114F}" srcOrd="4" destOrd="0" presId="urn:microsoft.com/office/officeart/2005/8/layout/process1"/>
    <dgm:cxn modelId="{270D1799-6DFF-4759-BB09-228F45F0F9FD}" type="presParOf" srcId="{16005208-100A-4053-AFF5-1D54369B28DC}" destId="{87208AC3-2C39-414C-957A-34F513AD372F}" srcOrd="5" destOrd="0" presId="urn:microsoft.com/office/officeart/2005/8/layout/process1"/>
    <dgm:cxn modelId="{6391EFE1-4F2D-4F4F-ACBB-AAE30CEAA32D}" type="presParOf" srcId="{87208AC3-2C39-414C-957A-34F513AD372F}" destId="{7671A016-9E90-45B9-A7FF-498BA70772E3}" srcOrd="0" destOrd="0" presId="urn:microsoft.com/office/officeart/2005/8/layout/process1"/>
    <dgm:cxn modelId="{5B493AF6-8612-4FD6-879D-6B9FC755C727}" type="presParOf" srcId="{16005208-100A-4053-AFF5-1D54369B28DC}" destId="{678005FF-560E-4EB3-A3F3-590C809EFF73}" srcOrd="6" destOrd="0" presId="urn:microsoft.com/office/officeart/2005/8/layout/process1"/>
    <dgm:cxn modelId="{758A7899-BEFE-47CB-99B9-BC007033D249}" type="presParOf" srcId="{16005208-100A-4053-AFF5-1D54369B28DC}" destId="{E0AE5542-8EFD-4FDC-90CA-CA346FC7029B}" srcOrd="7" destOrd="0" presId="urn:microsoft.com/office/officeart/2005/8/layout/process1"/>
    <dgm:cxn modelId="{7E841C33-58C5-451D-9D04-64993361F137}" type="presParOf" srcId="{E0AE5542-8EFD-4FDC-90CA-CA346FC7029B}" destId="{9DC2DA01-E1A9-4794-B3D8-D37DF3300D30}" srcOrd="0" destOrd="0" presId="urn:microsoft.com/office/officeart/2005/8/layout/process1"/>
    <dgm:cxn modelId="{80FA65E3-3A48-4F6A-A0F7-79AF6F0730C6}" type="presParOf" srcId="{16005208-100A-4053-AFF5-1D54369B28DC}" destId="{D6CEF1A2-02B5-40CD-AE5A-D0DB9B2E3B4E}" srcOrd="8" destOrd="0" presId="urn:microsoft.com/office/officeart/2005/8/layout/process1"/>
    <dgm:cxn modelId="{1C242AE7-22DB-41A0-995A-BDB90F1B5D73}" type="presParOf" srcId="{16005208-100A-4053-AFF5-1D54369B28DC}" destId="{70075D7F-379C-48C4-85E8-279D085B9C4C}" srcOrd="9" destOrd="0" presId="urn:microsoft.com/office/officeart/2005/8/layout/process1"/>
    <dgm:cxn modelId="{2D0FBCA8-C893-4150-AAD2-3D54021FE5F0}" type="presParOf" srcId="{70075D7F-379C-48C4-85E8-279D085B9C4C}" destId="{C4668381-912C-4C62-A485-2E4AE99684DE}" srcOrd="0" destOrd="0" presId="urn:microsoft.com/office/officeart/2005/8/layout/process1"/>
    <dgm:cxn modelId="{62B26E2E-2002-4C13-B0E0-E28C6CC3973F}" type="presParOf" srcId="{16005208-100A-4053-AFF5-1D54369B28DC}" destId="{CC3FEF77-715B-4CD9-9C3D-54671135BE7D}" srcOrd="10" destOrd="0" presId="urn:microsoft.com/office/officeart/2005/8/layout/process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90019B24-7FA7-416B-9A51-D69ED9FADB3D}" type="doc">
      <dgm:prSet loTypeId="urn:microsoft.com/office/officeart/2005/8/layout/lProcess2" loCatId="list" qsTypeId="urn:microsoft.com/office/officeart/2005/8/quickstyle/3d4" qsCatId="3D" csTypeId="urn:microsoft.com/office/officeart/2005/8/colors/accent1_2" csCatId="accent1" phldr="1"/>
      <dgm:spPr/>
      <dgm:t>
        <a:bodyPr/>
        <a:lstStyle/>
        <a:p>
          <a:endParaRPr lang="de-DE"/>
        </a:p>
      </dgm:t>
    </dgm:pt>
    <dgm:pt modelId="{0540004F-07F7-452A-B46C-BBD7F4EB654B}">
      <dgm:prSet phldrT="[Text]"/>
      <dgm:spPr/>
      <dgm:t>
        <a:bodyPr/>
        <a:lstStyle/>
        <a:p>
          <a:r>
            <a:rPr lang="de-DE" dirty="0"/>
            <a:t>Ärzte</a:t>
          </a:r>
        </a:p>
      </dgm:t>
    </dgm:pt>
    <dgm:pt modelId="{81F65613-235C-42CA-A889-E3C5D1067FD5}" type="parTrans" cxnId="{91FA78FA-6DFC-4FC1-ABE9-4C67C0D68D09}">
      <dgm:prSet/>
      <dgm:spPr/>
      <dgm:t>
        <a:bodyPr/>
        <a:lstStyle/>
        <a:p>
          <a:endParaRPr lang="de-DE"/>
        </a:p>
      </dgm:t>
    </dgm:pt>
    <dgm:pt modelId="{40205342-09D8-4E42-954D-942F8AF3D8EB}" type="sibTrans" cxnId="{91FA78FA-6DFC-4FC1-ABE9-4C67C0D68D09}">
      <dgm:prSet/>
      <dgm:spPr/>
      <dgm:t>
        <a:bodyPr/>
        <a:lstStyle/>
        <a:p>
          <a:endParaRPr lang="de-DE"/>
        </a:p>
      </dgm:t>
    </dgm:pt>
    <dgm:pt modelId="{6F303EA5-4226-4046-8DA2-13215517D4BA}">
      <dgm:prSet phldrT="[Text]"/>
      <dgm:spPr/>
      <dgm:t>
        <a:bodyPr/>
        <a:lstStyle/>
        <a:p>
          <a:r>
            <a:rPr lang="de-DE" dirty="0"/>
            <a:t>Hausarzt</a:t>
          </a:r>
        </a:p>
      </dgm:t>
    </dgm:pt>
    <dgm:pt modelId="{4A09CC66-7FDA-48BF-9942-CCF293A48B30}" type="parTrans" cxnId="{B3118752-8484-4EAD-812F-2FBAA044DB35}">
      <dgm:prSet/>
      <dgm:spPr/>
      <dgm:t>
        <a:bodyPr/>
        <a:lstStyle/>
        <a:p>
          <a:endParaRPr lang="de-DE"/>
        </a:p>
      </dgm:t>
    </dgm:pt>
    <dgm:pt modelId="{B623C363-3856-4B66-B8AB-96EDB6F8B35A}" type="sibTrans" cxnId="{B3118752-8484-4EAD-812F-2FBAA044DB35}">
      <dgm:prSet/>
      <dgm:spPr/>
      <dgm:t>
        <a:bodyPr/>
        <a:lstStyle/>
        <a:p>
          <a:endParaRPr lang="de-DE"/>
        </a:p>
      </dgm:t>
    </dgm:pt>
    <dgm:pt modelId="{7248C447-0F02-489C-B838-FA6C838D9B5A}">
      <dgm:prSet phldrT="[Text]"/>
      <dgm:spPr/>
      <dgm:t>
        <a:bodyPr/>
        <a:lstStyle/>
        <a:p>
          <a:r>
            <a:rPr lang="de-DE" dirty="0"/>
            <a:t>Facharzt</a:t>
          </a:r>
        </a:p>
      </dgm:t>
    </dgm:pt>
    <dgm:pt modelId="{0E96140F-5F26-4A85-9D7E-A69A71446E20}" type="parTrans" cxnId="{8BC822A4-B0AC-41BD-92C6-334B4CC1B840}">
      <dgm:prSet/>
      <dgm:spPr/>
      <dgm:t>
        <a:bodyPr/>
        <a:lstStyle/>
        <a:p>
          <a:endParaRPr lang="de-DE"/>
        </a:p>
      </dgm:t>
    </dgm:pt>
    <dgm:pt modelId="{44B9D894-7009-45FA-BECF-C52F094974D3}" type="sibTrans" cxnId="{8BC822A4-B0AC-41BD-92C6-334B4CC1B840}">
      <dgm:prSet/>
      <dgm:spPr/>
      <dgm:t>
        <a:bodyPr/>
        <a:lstStyle/>
        <a:p>
          <a:endParaRPr lang="de-DE"/>
        </a:p>
      </dgm:t>
    </dgm:pt>
    <dgm:pt modelId="{864A0300-CC74-40B7-B819-5F22073BEC88}">
      <dgm:prSet phldrT="[Text]"/>
      <dgm:spPr/>
      <dgm:t>
        <a:bodyPr/>
        <a:lstStyle/>
        <a:p>
          <a:r>
            <a:rPr lang="de-DE" dirty="0"/>
            <a:t>Maximalversorger</a:t>
          </a:r>
        </a:p>
      </dgm:t>
    </dgm:pt>
    <dgm:pt modelId="{264A54BA-BEE2-4685-8ACB-A63C07BE16B0}" type="parTrans" cxnId="{52A7040D-05DD-4CF8-A7C6-966BC5E7404F}">
      <dgm:prSet/>
      <dgm:spPr/>
      <dgm:t>
        <a:bodyPr/>
        <a:lstStyle/>
        <a:p>
          <a:endParaRPr lang="de-DE"/>
        </a:p>
      </dgm:t>
    </dgm:pt>
    <dgm:pt modelId="{40911C61-CE80-4E09-AB4E-62F052C279EC}" type="sibTrans" cxnId="{52A7040D-05DD-4CF8-A7C6-966BC5E7404F}">
      <dgm:prSet/>
      <dgm:spPr/>
      <dgm:t>
        <a:bodyPr/>
        <a:lstStyle/>
        <a:p>
          <a:endParaRPr lang="de-DE"/>
        </a:p>
      </dgm:t>
    </dgm:pt>
    <dgm:pt modelId="{0DB46B67-93BB-4665-BFCC-785477E96CC0}">
      <dgm:prSet phldrT="[Text]"/>
      <dgm:spPr/>
      <dgm:t>
        <a:bodyPr/>
        <a:lstStyle/>
        <a:p>
          <a:r>
            <a:rPr lang="de-DE" dirty="0"/>
            <a:t>Unikliniken</a:t>
          </a:r>
        </a:p>
      </dgm:t>
    </dgm:pt>
    <dgm:pt modelId="{E02073EF-8B43-4042-92F5-0C2527A06483}" type="parTrans" cxnId="{CFCB89E8-9A3D-4749-A1D1-A4741AC03FEC}">
      <dgm:prSet/>
      <dgm:spPr/>
      <dgm:t>
        <a:bodyPr/>
        <a:lstStyle/>
        <a:p>
          <a:endParaRPr lang="de-DE"/>
        </a:p>
      </dgm:t>
    </dgm:pt>
    <dgm:pt modelId="{5AF76E96-998B-4188-A2A8-B50662D92E08}" type="sibTrans" cxnId="{CFCB89E8-9A3D-4749-A1D1-A4741AC03FEC}">
      <dgm:prSet/>
      <dgm:spPr/>
      <dgm:t>
        <a:bodyPr/>
        <a:lstStyle/>
        <a:p>
          <a:endParaRPr lang="de-DE"/>
        </a:p>
      </dgm:t>
    </dgm:pt>
    <dgm:pt modelId="{E7482C10-B0E3-4076-BCFD-E4EC64D1BB8A}">
      <dgm:prSet phldrT="[Text]"/>
      <dgm:spPr/>
      <dgm:t>
        <a:bodyPr/>
        <a:lstStyle/>
        <a:p>
          <a:r>
            <a:rPr lang="de-DE" dirty="0"/>
            <a:t>Großkrankenhäuser &gt; 800 Betten</a:t>
          </a:r>
        </a:p>
      </dgm:t>
    </dgm:pt>
    <dgm:pt modelId="{0FFAE347-629D-4128-8BA5-A89D22E83C86}" type="parTrans" cxnId="{41E228F1-12F0-4F31-A013-7948D20A8A97}">
      <dgm:prSet/>
      <dgm:spPr/>
      <dgm:t>
        <a:bodyPr/>
        <a:lstStyle/>
        <a:p>
          <a:endParaRPr lang="de-DE"/>
        </a:p>
      </dgm:t>
    </dgm:pt>
    <dgm:pt modelId="{33410D3F-8A43-4DAB-9918-E9CD00E1A46E}" type="sibTrans" cxnId="{41E228F1-12F0-4F31-A013-7948D20A8A97}">
      <dgm:prSet/>
      <dgm:spPr/>
      <dgm:t>
        <a:bodyPr/>
        <a:lstStyle/>
        <a:p>
          <a:endParaRPr lang="de-DE"/>
        </a:p>
      </dgm:t>
    </dgm:pt>
    <dgm:pt modelId="{BE068466-F385-428C-B4DA-A77D5089BB20}">
      <dgm:prSet phldrT="[Text]"/>
      <dgm:spPr/>
      <dgm:t>
        <a:bodyPr/>
        <a:lstStyle/>
        <a:p>
          <a:r>
            <a:rPr lang="de-DE" dirty="0"/>
            <a:t>Krankenhäuser</a:t>
          </a:r>
        </a:p>
      </dgm:t>
    </dgm:pt>
    <dgm:pt modelId="{EB823092-0D46-46AC-97A2-E5093AF87127}" type="parTrans" cxnId="{ED85E9B5-E32D-4E83-8BCE-AE9A6EFAFA59}">
      <dgm:prSet/>
      <dgm:spPr/>
      <dgm:t>
        <a:bodyPr/>
        <a:lstStyle/>
        <a:p>
          <a:endParaRPr lang="de-DE"/>
        </a:p>
      </dgm:t>
    </dgm:pt>
    <dgm:pt modelId="{B273CC2A-8AF1-4CB5-8B3B-CBBB514A1366}" type="sibTrans" cxnId="{ED85E9B5-E32D-4E83-8BCE-AE9A6EFAFA59}">
      <dgm:prSet/>
      <dgm:spPr/>
      <dgm:t>
        <a:bodyPr/>
        <a:lstStyle/>
        <a:p>
          <a:endParaRPr lang="de-DE"/>
        </a:p>
      </dgm:t>
    </dgm:pt>
    <dgm:pt modelId="{E77AC948-8507-448B-8CCA-DF0DA022C64F}">
      <dgm:prSet phldrT="[Text]"/>
      <dgm:spPr/>
      <dgm:t>
        <a:bodyPr/>
        <a:lstStyle/>
        <a:p>
          <a:r>
            <a:rPr lang="de-DE" dirty="0"/>
            <a:t>Kreis- und Stadtkliniken</a:t>
          </a:r>
        </a:p>
      </dgm:t>
    </dgm:pt>
    <dgm:pt modelId="{2B7E0310-A156-4B53-8C02-825E812D45A5}" type="parTrans" cxnId="{8378BDA3-6C35-46CF-BEF5-7DA932AEF5B4}">
      <dgm:prSet/>
      <dgm:spPr/>
      <dgm:t>
        <a:bodyPr/>
        <a:lstStyle/>
        <a:p>
          <a:endParaRPr lang="de-DE"/>
        </a:p>
      </dgm:t>
    </dgm:pt>
    <dgm:pt modelId="{A5742378-D0EC-4C8C-ACA7-8A36423E24EC}" type="sibTrans" cxnId="{8378BDA3-6C35-46CF-BEF5-7DA932AEF5B4}">
      <dgm:prSet/>
      <dgm:spPr/>
      <dgm:t>
        <a:bodyPr/>
        <a:lstStyle/>
        <a:p>
          <a:endParaRPr lang="de-DE"/>
        </a:p>
      </dgm:t>
    </dgm:pt>
    <dgm:pt modelId="{00927A90-B2CA-4BCA-BB7E-6617E752C664}">
      <dgm:prSet phldrT="[Text]"/>
      <dgm:spPr/>
      <dgm:t>
        <a:bodyPr/>
        <a:lstStyle/>
        <a:p>
          <a:r>
            <a:rPr lang="de-DE" dirty="0"/>
            <a:t>Privatkliniken und kirchliche Träger</a:t>
          </a:r>
        </a:p>
      </dgm:t>
    </dgm:pt>
    <dgm:pt modelId="{5562CE84-1F84-4054-AE64-FA1549509479}" type="parTrans" cxnId="{6A9E7A17-E5EE-4C64-AEE0-335F0BA56B82}">
      <dgm:prSet/>
      <dgm:spPr/>
      <dgm:t>
        <a:bodyPr/>
        <a:lstStyle/>
        <a:p>
          <a:endParaRPr lang="de-DE"/>
        </a:p>
      </dgm:t>
    </dgm:pt>
    <dgm:pt modelId="{DC0B6656-C349-4DDC-9C70-9737B95B9F0A}" type="sibTrans" cxnId="{6A9E7A17-E5EE-4C64-AEE0-335F0BA56B82}">
      <dgm:prSet/>
      <dgm:spPr/>
      <dgm:t>
        <a:bodyPr/>
        <a:lstStyle/>
        <a:p>
          <a:endParaRPr lang="de-DE"/>
        </a:p>
      </dgm:t>
    </dgm:pt>
    <dgm:pt modelId="{18328C7B-0CB6-41EE-AC39-53F498C400DD}" type="pres">
      <dgm:prSet presAssocID="{90019B24-7FA7-416B-9A51-D69ED9FADB3D}" presName="theList" presStyleCnt="0">
        <dgm:presLayoutVars>
          <dgm:dir/>
          <dgm:animLvl val="lvl"/>
          <dgm:resizeHandles val="exact"/>
        </dgm:presLayoutVars>
      </dgm:prSet>
      <dgm:spPr/>
    </dgm:pt>
    <dgm:pt modelId="{0DF80669-1C2F-4C26-ADF3-A3D716624A36}" type="pres">
      <dgm:prSet presAssocID="{0540004F-07F7-452A-B46C-BBD7F4EB654B}" presName="compNode" presStyleCnt="0"/>
      <dgm:spPr/>
    </dgm:pt>
    <dgm:pt modelId="{0F176820-70D4-46B2-9FDD-5B3A98CD721C}" type="pres">
      <dgm:prSet presAssocID="{0540004F-07F7-452A-B46C-BBD7F4EB654B}" presName="aNode" presStyleLbl="bgShp" presStyleIdx="0" presStyleCnt="3"/>
      <dgm:spPr/>
    </dgm:pt>
    <dgm:pt modelId="{553865C8-97FF-4A5E-B77E-8BE3F72D97F2}" type="pres">
      <dgm:prSet presAssocID="{0540004F-07F7-452A-B46C-BBD7F4EB654B}" presName="textNode" presStyleLbl="bgShp" presStyleIdx="0" presStyleCnt="3"/>
      <dgm:spPr/>
    </dgm:pt>
    <dgm:pt modelId="{B4DF9240-6A30-4978-A687-BC501BA5675B}" type="pres">
      <dgm:prSet presAssocID="{0540004F-07F7-452A-B46C-BBD7F4EB654B}" presName="compChildNode" presStyleCnt="0"/>
      <dgm:spPr/>
    </dgm:pt>
    <dgm:pt modelId="{58690E36-9F85-44C7-A0B0-7F117D0E04D2}" type="pres">
      <dgm:prSet presAssocID="{0540004F-07F7-452A-B46C-BBD7F4EB654B}" presName="theInnerList" presStyleCnt="0"/>
      <dgm:spPr/>
    </dgm:pt>
    <dgm:pt modelId="{5BC812A1-6752-43E8-95E9-1D4509CF260A}" type="pres">
      <dgm:prSet presAssocID="{6F303EA5-4226-4046-8DA2-13215517D4BA}" presName="childNode" presStyleLbl="node1" presStyleIdx="0" presStyleCnt="6">
        <dgm:presLayoutVars>
          <dgm:bulletEnabled val="1"/>
        </dgm:presLayoutVars>
      </dgm:prSet>
      <dgm:spPr/>
    </dgm:pt>
    <dgm:pt modelId="{0DE0FF6C-0B2A-4539-8199-1B8203DF6E9C}" type="pres">
      <dgm:prSet presAssocID="{6F303EA5-4226-4046-8DA2-13215517D4BA}" presName="aSpace2" presStyleCnt="0"/>
      <dgm:spPr/>
    </dgm:pt>
    <dgm:pt modelId="{716409B1-C3A4-4905-B45A-4287314589EC}" type="pres">
      <dgm:prSet presAssocID="{7248C447-0F02-489C-B838-FA6C838D9B5A}" presName="childNode" presStyleLbl="node1" presStyleIdx="1" presStyleCnt="6">
        <dgm:presLayoutVars>
          <dgm:bulletEnabled val="1"/>
        </dgm:presLayoutVars>
      </dgm:prSet>
      <dgm:spPr/>
    </dgm:pt>
    <dgm:pt modelId="{AE2376E5-1B32-465B-8DF5-B6A04C4DC48B}" type="pres">
      <dgm:prSet presAssocID="{0540004F-07F7-452A-B46C-BBD7F4EB654B}" presName="aSpace" presStyleCnt="0"/>
      <dgm:spPr/>
    </dgm:pt>
    <dgm:pt modelId="{B56A51B3-80C8-402D-940C-A4642EE87A72}" type="pres">
      <dgm:prSet presAssocID="{864A0300-CC74-40B7-B819-5F22073BEC88}" presName="compNode" presStyleCnt="0"/>
      <dgm:spPr/>
    </dgm:pt>
    <dgm:pt modelId="{D3EC3E9F-3F21-47DC-A037-FEF95C3EBF8C}" type="pres">
      <dgm:prSet presAssocID="{864A0300-CC74-40B7-B819-5F22073BEC88}" presName="aNode" presStyleLbl="bgShp" presStyleIdx="1" presStyleCnt="3"/>
      <dgm:spPr/>
    </dgm:pt>
    <dgm:pt modelId="{B6F3B9BF-8930-4C01-8199-CA9844706636}" type="pres">
      <dgm:prSet presAssocID="{864A0300-CC74-40B7-B819-5F22073BEC88}" presName="textNode" presStyleLbl="bgShp" presStyleIdx="1" presStyleCnt="3"/>
      <dgm:spPr/>
    </dgm:pt>
    <dgm:pt modelId="{B9B8EA6E-0093-4BC7-9661-F3B4B245EFB5}" type="pres">
      <dgm:prSet presAssocID="{864A0300-CC74-40B7-B819-5F22073BEC88}" presName="compChildNode" presStyleCnt="0"/>
      <dgm:spPr/>
    </dgm:pt>
    <dgm:pt modelId="{E5650CEA-0790-4CC6-BF7C-E6D27576292F}" type="pres">
      <dgm:prSet presAssocID="{864A0300-CC74-40B7-B819-5F22073BEC88}" presName="theInnerList" presStyleCnt="0"/>
      <dgm:spPr/>
    </dgm:pt>
    <dgm:pt modelId="{B705A792-A61B-48AD-BFCF-2595AF36ADB7}" type="pres">
      <dgm:prSet presAssocID="{0DB46B67-93BB-4665-BFCC-785477E96CC0}" presName="childNode" presStyleLbl="node1" presStyleIdx="2" presStyleCnt="6">
        <dgm:presLayoutVars>
          <dgm:bulletEnabled val="1"/>
        </dgm:presLayoutVars>
      </dgm:prSet>
      <dgm:spPr/>
    </dgm:pt>
    <dgm:pt modelId="{0F5C8DBB-2A78-4A79-B95E-9DCAFB012605}" type="pres">
      <dgm:prSet presAssocID="{0DB46B67-93BB-4665-BFCC-785477E96CC0}" presName="aSpace2" presStyleCnt="0"/>
      <dgm:spPr/>
    </dgm:pt>
    <dgm:pt modelId="{A5CA4110-2832-42FD-90DF-72D1E9C00929}" type="pres">
      <dgm:prSet presAssocID="{E7482C10-B0E3-4076-BCFD-E4EC64D1BB8A}" presName="childNode" presStyleLbl="node1" presStyleIdx="3" presStyleCnt="6">
        <dgm:presLayoutVars>
          <dgm:bulletEnabled val="1"/>
        </dgm:presLayoutVars>
      </dgm:prSet>
      <dgm:spPr/>
    </dgm:pt>
    <dgm:pt modelId="{51876167-57CA-44F3-984C-35220F18A1D9}" type="pres">
      <dgm:prSet presAssocID="{864A0300-CC74-40B7-B819-5F22073BEC88}" presName="aSpace" presStyleCnt="0"/>
      <dgm:spPr/>
    </dgm:pt>
    <dgm:pt modelId="{6E19DF81-214B-4FC9-987B-C32A0E952934}" type="pres">
      <dgm:prSet presAssocID="{BE068466-F385-428C-B4DA-A77D5089BB20}" presName="compNode" presStyleCnt="0"/>
      <dgm:spPr/>
    </dgm:pt>
    <dgm:pt modelId="{D0E8E866-2106-4D26-B004-B938F588F4FE}" type="pres">
      <dgm:prSet presAssocID="{BE068466-F385-428C-B4DA-A77D5089BB20}" presName="aNode" presStyleLbl="bgShp" presStyleIdx="2" presStyleCnt="3"/>
      <dgm:spPr/>
    </dgm:pt>
    <dgm:pt modelId="{5859E29E-D105-47CE-8879-309555FF918A}" type="pres">
      <dgm:prSet presAssocID="{BE068466-F385-428C-B4DA-A77D5089BB20}" presName="textNode" presStyleLbl="bgShp" presStyleIdx="2" presStyleCnt="3"/>
      <dgm:spPr/>
    </dgm:pt>
    <dgm:pt modelId="{DC12F748-A7CB-49B5-9F76-ADBABCE7019F}" type="pres">
      <dgm:prSet presAssocID="{BE068466-F385-428C-B4DA-A77D5089BB20}" presName="compChildNode" presStyleCnt="0"/>
      <dgm:spPr/>
    </dgm:pt>
    <dgm:pt modelId="{74BB7CD2-C73B-4D94-B978-F4137A66CEC2}" type="pres">
      <dgm:prSet presAssocID="{BE068466-F385-428C-B4DA-A77D5089BB20}" presName="theInnerList" presStyleCnt="0"/>
      <dgm:spPr/>
    </dgm:pt>
    <dgm:pt modelId="{C7279875-9598-4267-AE17-8B862EE63156}" type="pres">
      <dgm:prSet presAssocID="{E77AC948-8507-448B-8CCA-DF0DA022C64F}" presName="childNode" presStyleLbl="node1" presStyleIdx="4" presStyleCnt="6">
        <dgm:presLayoutVars>
          <dgm:bulletEnabled val="1"/>
        </dgm:presLayoutVars>
      </dgm:prSet>
      <dgm:spPr/>
    </dgm:pt>
    <dgm:pt modelId="{6DF51EE8-BE68-462A-BCE9-E7FBCC9A8B5B}" type="pres">
      <dgm:prSet presAssocID="{E77AC948-8507-448B-8CCA-DF0DA022C64F}" presName="aSpace2" presStyleCnt="0"/>
      <dgm:spPr/>
    </dgm:pt>
    <dgm:pt modelId="{7763DEA4-C809-4D84-B568-F28F8259C3FE}" type="pres">
      <dgm:prSet presAssocID="{00927A90-B2CA-4BCA-BB7E-6617E752C664}" presName="childNode" presStyleLbl="node1" presStyleIdx="5" presStyleCnt="6">
        <dgm:presLayoutVars>
          <dgm:bulletEnabled val="1"/>
        </dgm:presLayoutVars>
      </dgm:prSet>
      <dgm:spPr/>
    </dgm:pt>
  </dgm:ptLst>
  <dgm:cxnLst>
    <dgm:cxn modelId="{52A7040D-05DD-4CF8-A7C6-966BC5E7404F}" srcId="{90019B24-7FA7-416B-9A51-D69ED9FADB3D}" destId="{864A0300-CC74-40B7-B819-5F22073BEC88}" srcOrd="1" destOrd="0" parTransId="{264A54BA-BEE2-4685-8ACB-A63C07BE16B0}" sibTransId="{40911C61-CE80-4E09-AB4E-62F052C279EC}"/>
    <dgm:cxn modelId="{CD970013-9859-4835-82C4-582BD037B1BD}" type="presOf" srcId="{0DB46B67-93BB-4665-BFCC-785477E96CC0}" destId="{B705A792-A61B-48AD-BFCF-2595AF36ADB7}" srcOrd="0" destOrd="0" presId="urn:microsoft.com/office/officeart/2005/8/layout/lProcess2"/>
    <dgm:cxn modelId="{6A9E7A17-E5EE-4C64-AEE0-335F0BA56B82}" srcId="{BE068466-F385-428C-B4DA-A77D5089BB20}" destId="{00927A90-B2CA-4BCA-BB7E-6617E752C664}" srcOrd="1" destOrd="0" parTransId="{5562CE84-1F84-4054-AE64-FA1549509479}" sibTransId="{DC0B6656-C349-4DDC-9C70-9737B95B9F0A}"/>
    <dgm:cxn modelId="{7C892619-4D8A-4EE3-9573-68B28D569809}" type="presOf" srcId="{7248C447-0F02-489C-B838-FA6C838D9B5A}" destId="{716409B1-C3A4-4905-B45A-4287314589EC}" srcOrd="0" destOrd="0" presId="urn:microsoft.com/office/officeart/2005/8/layout/lProcess2"/>
    <dgm:cxn modelId="{6504F420-73FE-4819-B83D-2CF3CAEC0930}" type="presOf" srcId="{0540004F-07F7-452A-B46C-BBD7F4EB654B}" destId="{0F176820-70D4-46B2-9FDD-5B3A98CD721C}" srcOrd="0" destOrd="0" presId="urn:microsoft.com/office/officeart/2005/8/layout/lProcess2"/>
    <dgm:cxn modelId="{1EC3C537-52F5-4DB8-BCAF-20D7CA8CE4CA}" type="presOf" srcId="{E77AC948-8507-448B-8CCA-DF0DA022C64F}" destId="{C7279875-9598-4267-AE17-8B862EE63156}" srcOrd="0" destOrd="0" presId="urn:microsoft.com/office/officeart/2005/8/layout/lProcess2"/>
    <dgm:cxn modelId="{09F52562-69DF-4877-BC5C-1B489FE229FF}" type="presOf" srcId="{BE068466-F385-428C-B4DA-A77D5089BB20}" destId="{5859E29E-D105-47CE-8879-309555FF918A}" srcOrd="1" destOrd="0" presId="urn:microsoft.com/office/officeart/2005/8/layout/lProcess2"/>
    <dgm:cxn modelId="{66934146-0543-4F46-989D-BCBE10403C38}" type="presOf" srcId="{864A0300-CC74-40B7-B819-5F22073BEC88}" destId="{D3EC3E9F-3F21-47DC-A037-FEF95C3EBF8C}" srcOrd="0" destOrd="0" presId="urn:microsoft.com/office/officeart/2005/8/layout/lProcess2"/>
    <dgm:cxn modelId="{B3118752-8484-4EAD-812F-2FBAA044DB35}" srcId="{0540004F-07F7-452A-B46C-BBD7F4EB654B}" destId="{6F303EA5-4226-4046-8DA2-13215517D4BA}" srcOrd="0" destOrd="0" parTransId="{4A09CC66-7FDA-48BF-9942-CCF293A48B30}" sibTransId="{B623C363-3856-4B66-B8AB-96EDB6F8B35A}"/>
    <dgm:cxn modelId="{9239EB56-74FB-43F5-8FD9-C0B5B8BE2117}" type="presOf" srcId="{0540004F-07F7-452A-B46C-BBD7F4EB654B}" destId="{553865C8-97FF-4A5E-B77E-8BE3F72D97F2}" srcOrd="1" destOrd="0" presId="urn:microsoft.com/office/officeart/2005/8/layout/lProcess2"/>
    <dgm:cxn modelId="{617AAA8B-322F-40B4-A166-4BC62CAB3EF1}" type="presOf" srcId="{00927A90-B2CA-4BCA-BB7E-6617E752C664}" destId="{7763DEA4-C809-4D84-B568-F28F8259C3FE}" srcOrd="0" destOrd="0" presId="urn:microsoft.com/office/officeart/2005/8/layout/lProcess2"/>
    <dgm:cxn modelId="{1170DA91-9042-4577-902C-04B7CB2C1918}" type="presOf" srcId="{6F303EA5-4226-4046-8DA2-13215517D4BA}" destId="{5BC812A1-6752-43E8-95E9-1D4509CF260A}" srcOrd="0" destOrd="0" presId="urn:microsoft.com/office/officeart/2005/8/layout/lProcess2"/>
    <dgm:cxn modelId="{8378BDA3-6C35-46CF-BEF5-7DA932AEF5B4}" srcId="{BE068466-F385-428C-B4DA-A77D5089BB20}" destId="{E77AC948-8507-448B-8CCA-DF0DA022C64F}" srcOrd="0" destOrd="0" parTransId="{2B7E0310-A156-4B53-8C02-825E812D45A5}" sibTransId="{A5742378-D0EC-4C8C-ACA7-8A36423E24EC}"/>
    <dgm:cxn modelId="{8BC822A4-B0AC-41BD-92C6-334B4CC1B840}" srcId="{0540004F-07F7-452A-B46C-BBD7F4EB654B}" destId="{7248C447-0F02-489C-B838-FA6C838D9B5A}" srcOrd="1" destOrd="0" parTransId="{0E96140F-5F26-4A85-9D7E-A69A71446E20}" sibTransId="{44B9D894-7009-45FA-BECF-C52F094974D3}"/>
    <dgm:cxn modelId="{ED85E9B5-E32D-4E83-8BCE-AE9A6EFAFA59}" srcId="{90019B24-7FA7-416B-9A51-D69ED9FADB3D}" destId="{BE068466-F385-428C-B4DA-A77D5089BB20}" srcOrd="2" destOrd="0" parTransId="{EB823092-0D46-46AC-97A2-E5093AF87127}" sibTransId="{B273CC2A-8AF1-4CB5-8B3B-CBBB514A1366}"/>
    <dgm:cxn modelId="{2BE510BA-5B49-46AF-A135-972C41A00F8A}" type="presOf" srcId="{BE068466-F385-428C-B4DA-A77D5089BB20}" destId="{D0E8E866-2106-4D26-B004-B938F588F4FE}" srcOrd="0" destOrd="0" presId="urn:microsoft.com/office/officeart/2005/8/layout/lProcess2"/>
    <dgm:cxn modelId="{47A18ECF-993C-4E4D-9A97-2CF348AB24DE}" type="presOf" srcId="{864A0300-CC74-40B7-B819-5F22073BEC88}" destId="{B6F3B9BF-8930-4C01-8199-CA9844706636}" srcOrd="1" destOrd="0" presId="urn:microsoft.com/office/officeart/2005/8/layout/lProcess2"/>
    <dgm:cxn modelId="{8C7E7ED7-49EC-48A7-9F83-03D4472D483A}" type="presOf" srcId="{90019B24-7FA7-416B-9A51-D69ED9FADB3D}" destId="{18328C7B-0CB6-41EE-AC39-53F498C400DD}" srcOrd="0" destOrd="0" presId="urn:microsoft.com/office/officeart/2005/8/layout/lProcess2"/>
    <dgm:cxn modelId="{2C6E0BD8-179F-4948-A203-80B7A676B0C1}" type="presOf" srcId="{E7482C10-B0E3-4076-BCFD-E4EC64D1BB8A}" destId="{A5CA4110-2832-42FD-90DF-72D1E9C00929}" srcOrd="0" destOrd="0" presId="urn:microsoft.com/office/officeart/2005/8/layout/lProcess2"/>
    <dgm:cxn modelId="{CFCB89E8-9A3D-4749-A1D1-A4741AC03FEC}" srcId="{864A0300-CC74-40B7-B819-5F22073BEC88}" destId="{0DB46B67-93BB-4665-BFCC-785477E96CC0}" srcOrd="0" destOrd="0" parTransId="{E02073EF-8B43-4042-92F5-0C2527A06483}" sibTransId="{5AF76E96-998B-4188-A2A8-B50662D92E08}"/>
    <dgm:cxn modelId="{41E228F1-12F0-4F31-A013-7948D20A8A97}" srcId="{864A0300-CC74-40B7-B819-5F22073BEC88}" destId="{E7482C10-B0E3-4076-BCFD-E4EC64D1BB8A}" srcOrd="1" destOrd="0" parTransId="{0FFAE347-629D-4128-8BA5-A89D22E83C86}" sibTransId="{33410D3F-8A43-4DAB-9918-E9CD00E1A46E}"/>
    <dgm:cxn modelId="{91FA78FA-6DFC-4FC1-ABE9-4C67C0D68D09}" srcId="{90019B24-7FA7-416B-9A51-D69ED9FADB3D}" destId="{0540004F-07F7-452A-B46C-BBD7F4EB654B}" srcOrd="0" destOrd="0" parTransId="{81F65613-235C-42CA-A889-E3C5D1067FD5}" sibTransId="{40205342-09D8-4E42-954D-942F8AF3D8EB}"/>
    <dgm:cxn modelId="{62120ABF-123D-4A5D-922B-A3D2FA5936B7}" type="presParOf" srcId="{18328C7B-0CB6-41EE-AC39-53F498C400DD}" destId="{0DF80669-1C2F-4C26-ADF3-A3D716624A36}" srcOrd="0" destOrd="0" presId="urn:microsoft.com/office/officeart/2005/8/layout/lProcess2"/>
    <dgm:cxn modelId="{73BCB62B-4769-47F2-8A40-BE55320D6331}" type="presParOf" srcId="{0DF80669-1C2F-4C26-ADF3-A3D716624A36}" destId="{0F176820-70D4-46B2-9FDD-5B3A98CD721C}" srcOrd="0" destOrd="0" presId="urn:microsoft.com/office/officeart/2005/8/layout/lProcess2"/>
    <dgm:cxn modelId="{BFB2DF36-7597-4E8B-9F3F-F045CBD71FC2}" type="presParOf" srcId="{0DF80669-1C2F-4C26-ADF3-A3D716624A36}" destId="{553865C8-97FF-4A5E-B77E-8BE3F72D97F2}" srcOrd="1" destOrd="0" presId="urn:microsoft.com/office/officeart/2005/8/layout/lProcess2"/>
    <dgm:cxn modelId="{813FC1FA-D7FD-4377-996D-A502BDBF1EEB}" type="presParOf" srcId="{0DF80669-1C2F-4C26-ADF3-A3D716624A36}" destId="{B4DF9240-6A30-4978-A687-BC501BA5675B}" srcOrd="2" destOrd="0" presId="urn:microsoft.com/office/officeart/2005/8/layout/lProcess2"/>
    <dgm:cxn modelId="{A8736891-D1DE-4466-8F04-14F5894A5C3D}" type="presParOf" srcId="{B4DF9240-6A30-4978-A687-BC501BA5675B}" destId="{58690E36-9F85-44C7-A0B0-7F117D0E04D2}" srcOrd="0" destOrd="0" presId="urn:microsoft.com/office/officeart/2005/8/layout/lProcess2"/>
    <dgm:cxn modelId="{A3954E04-48FB-402D-A363-21492529867A}" type="presParOf" srcId="{58690E36-9F85-44C7-A0B0-7F117D0E04D2}" destId="{5BC812A1-6752-43E8-95E9-1D4509CF260A}" srcOrd="0" destOrd="0" presId="urn:microsoft.com/office/officeart/2005/8/layout/lProcess2"/>
    <dgm:cxn modelId="{2F6D7F13-A0C6-49A9-85D0-AFC64D4A9F8F}" type="presParOf" srcId="{58690E36-9F85-44C7-A0B0-7F117D0E04D2}" destId="{0DE0FF6C-0B2A-4539-8199-1B8203DF6E9C}" srcOrd="1" destOrd="0" presId="urn:microsoft.com/office/officeart/2005/8/layout/lProcess2"/>
    <dgm:cxn modelId="{5EB363C9-4A52-44D8-89D4-D697E5254458}" type="presParOf" srcId="{58690E36-9F85-44C7-A0B0-7F117D0E04D2}" destId="{716409B1-C3A4-4905-B45A-4287314589EC}" srcOrd="2" destOrd="0" presId="urn:microsoft.com/office/officeart/2005/8/layout/lProcess2"/>
    <dgm:cxn modelId="{F5C7C371-F6A4-4ED0-9345-E69426D3EFD7}" type="presParOf" srcId="{18328C7B-0CB6-41EE-AC39-53F498C400DD}" destId="{AE2376E5-1B32-465B-8DF5-B6A04C4DC48B}" srcOrd="1" destOrd="0" presId="urn:microsoft.com/office/officeart/2005/8/layout/lProcess2"/>
    <dgm:cxn modelId="{D38C92F8-D2DF-4C62-A0C9-D619E393DC22}" type="presParOf" srcId="{18328C7B-0CB6-41EE-AC39-53F498C400DD}" destId="{B56A51B3-80C8-402D-940C-A4642EE87A72}" srcOrd="2" destOrd="0" presId="urn:microsoft.com/office/officeart/2005/8/layout/lProcess2"/>
    <dgm:cxn modelId="{29261FAF-3D27-4FB4-8B94-63FCD98048A3}" type="presParOf" srcId="{B56A51B3-80C8-402D-940C-A4642EE87A72}" destId="{D3EC3E9F-3F21-47DC-A037-FEF95C3EBF8C}" srcOrd="0" destOrd="0" presId="urn:microsoft.com/office/officeart/2005/8/layout/lProcess2"/>
    <dgm:cxn modelId="{7F76743F-22EE-42CD-AE8E-995704ECA7A1}" type="presParOf" srcId="{B56A51B3-80C8-402D-940C-A4642EE87A72}" destId="{B6F3B9BF-8930-4C01-8199-CA9844706636}" srcOrd="1" destOrd="0" presId="urn:microsoft.com/office/officeart/2005/8/layout/lProcess2"/>
    <dgm:cxn modelId="{6F88B589-1635-49E6-98A2-634FA1A1CA93}" type="presParOf" srcId="{B56A51B3-80C8-402D-940C-A4642EE87A72}" destId="{B9B8EA6E-0093-4BC7-9661-F3B4B245EFB5}" srcOrd="2" destOrd="0" presId="urn:microsoft.com/office/officeart/2005/8/layout/lProcess2"/>
    <dgm:cxn modelId="{41A57B3A-22C8-4324-ACC7-2FBDF095B92B}" type="presParOf" srcId="{B9B8EA6E-0093-4BC7-9661-F3B4B245EFB5}" destId="{E5650CEA-0790-4CC6-BF7C-E6D27576292F}" srcOrd="0" destOrd="0" presId="urn:microsoft.com/office/officeart/2005/8/layout/lProcess2"/>
    <dgm:cxn modelId="{9B8F6430-18F4-413A-8DF0-C1C6CAC6514A}" type="presParOf" srcId="{E5650CEA-0790-4CC6-BF7C-E6D27576292F}" destId="{B705A792-A61B-48AD-BFCF-2595AF36ADB7}" srcOrd="0" destOrd="0" presId="urn:microsoft.com/office/officeart/2005/8/layout/lProcess2"/>
    <dgm:cxn modelId="{5E3006B1-475C-4C62-88FC-047CD98E052B}" type="presParOf" srcId="{E5650CEA-0790-4CC6-BF7C-E6D27576292F}" destId="{0F5C8DBB-2A78-4A79-B95E-9DCAFB012605}" srcOrd="1" destOrd="0" presId="urn:microsoft.com/office/officeart/2005/8/layout/lProcess2"/>
    <dgm:cxn modelId="{5F844995-D628-4C88-AF40-E012C0350493}" type="presParOf" srcId="{E5650CEA-0790-4CC6-BF7C-E6D27576292F}" destId="{A5CA4110-2832-42FD-90DF-72D1E9C00929}" srcOrd="2" destOrd="0" presId="urn:microsoft.com/office/officeart/2005/8/layout/lProcess2"/>
    <dgm:cxn modelId="{8C29E1C2-C573-4026-B7D8-9CF0E42DEA14}" type="presParOf" srcId="{18328C7B-0CB6-41EE-AC39-53F498C400DD}" destId="{51876167-57CA-44F3-984C-35220F18A1D9}" srcOrd="3" destOrd="0" presId="urn:microsoft.com/office/officeart/2005/8/layout/lProcess2"/>
    <dgm:cxn modelId="{2697CC1E-6E52-488A-8A10-3B0439355E50}" type="presParOf" srcId="{18328C7B-0CB6-41EE-AC39-53F498C400DD}" destId="{6E19DF81-214B-4FC9-987B-C32A0E952934}" srcOrd="4" destOrd="0" presId="urn:microsoft.com/office/officeart/2005/8/layout/lProcess2"/>
    <dgm:cxn modelId="{1D5C5056-43EB-4DC8-89DC-4E1B74C6747A}" type="presParOf" srcId="{6E19DF81-214B-4FC9-987B-C32A0E952934}" destId="{D0E8E866-2106-4D26-B004-B938F588F4FE}" srcOrd="0" destOrd="0" presId="urn:microsoft.com/office/officeart/2005/8/layout/lProcess2"/>
    <dgm:cxn modelId="{7A4A28D1-B4B0-4823-B44E-DDBE243B474B}" type="presParOf" srcId="{6E19DF81-214B-4FC9-987B-C32A0E952934}" destId="{5859E29E-D105-47CE-8879-309555FF918A}" srcOrd="1" destOrd="0" presId="urn:microsoft.com/office/officeart/2005/8/layout/lProcess2"/>
    <dgm:cxn modelId="{BB86FB44-EC73-4E98-AF83-7536619D76A6}" type="presParOf" srcId="{6E19DF81-214B-4FC9-987B-C32A0E952934}" destId="{DC12F748-A7CB-49B5-9F76-ADBABCE7019F}" srcOrd="2" destOrd="0" presId="urn:microsoft.com/office/officeart/2005/8/layout/lProcess2"/>
    <dgm:cxn modelId="{826C88C2-B1E8-4934-BFF4-7DD828A17981}" type="presParOf" srcId="{DC12F748-A7CB-49B5-9F76-ADBABCE7019F}" destId="{74BB7CD2-C73B-4D94-B978-F4137A66CEC2}" srcOrd="0" destOrd="0" presId="urn:microsoft.com/office/officeart/2005/8/layout/lProcess2"/>
    <dgm:cxn modelId="{C164A168-D320-4B75-ABB3-349DE57D7192}" type="presParOf" srcId="{74BB7CD2-C73B-4D94-B978-F4137A66CEC2}" destId="{C7279875-9598-4267-AE17-8B862EE63156}" srcOrd="0" destOrd="0" presId="urn:microsoft.com/office/officeart/2005/8/layout/lProcess2"/>
    <dgm:cxn modelId="{C9E234ED-105A-47A2-8C32-4E286E7F53FA}" type="presParOf" srcId="{74BB7CD2-C73B-4D94-B978-F4137A66CEC2}" destId="{6DF51EE8-BE68-462A-BCE9-E7FBCC9A8B5B}" srcOrd="1" destOrd="0" presId="urn:microsoft.com/office/officeart/2005/8/layout/lProcess2"/>
    <dgm:cxn modelId="{73AFEE31-863B-47BC-B6A4-4141C10DD225}" type="presParOf" srcId="{74BB7CD2-C73B-4D94-B978-F4137A66CEC2}" destId="{7763DEA4-C809-4D84-B568-F28F8259C3FE}" srcOrd="2" destOrd="0" presId="urn:microsoft.com/office/officeart/2005/8/layout/lProcess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94D73AFD-CEEE-4EF8-9160-10DD654F60AB}" type="doc">
      <dgm:prSet loTypeId="urn:microsoft.com/office/officeart/2005/8/layout/gear1" loCatId="cycle" qsTypeId="urn:microsoft.com/office/officeart/2009/2/quickstyle/3d8" qsCatId="3D" csTypeId="urn:microsoft.com/office/officeart/2005/8/colors/accent1_2" csCatId="accent1" phldr="1"/>
      <dgm:spPr/>
    </dgm:pt>
    <dgm:pt modelId="{6313238E-EEBC-47CB-AA9A-A30B3C5E4D4B}">
      <dgm:prSet phldrT="[Text]"/>
      <dgm:spPr/>
      <dgm:t>
        <a:bodyPr/>
        <a:lstStyle/>
        <a:p>
          <a:r>
            <a:rPr lang="de-DE" dirty="0"/>
            <a:t>Maximalversorger</a:t>
          </a:r>
        </a:p>
        <a:p>
          <a:r>
            <a:rPr lang="de-DE" dirty="0"/>
            <a:t>Hauptkrankenhaus</a:t>
          </a:r>
        </a:p>
      </dgm:t>
    </dgm:pt>
    <dgm:pt modelId="{32542C1B-9CE2-4C18-9736-DE8A88A9CD75}" type="parTrans" cxnId="{9364175B-5FCC-4D9A-9898-F2881F092878}">
      <dgm:prSet/>
      <dgm:spPr/>
      <dgm:t>
        <a:bodyPr/>
        <a:lstStyle/>
        <a:p>
          <a:endParaRPr lang="de-DE"/>
        </a:p>
      </dgm:t>
    </dgm:pt>
    <dgm:pt modelId="{7947CDDA-147F-451D-B2B1-1C30765C8A62}" type="sibTrans" cxnId="{9364175B-5FCC-4D9A-9898-F2881F092878}">
      <dgm:prSet/>
      <dgm:spPr/>
      <dgm:t>
        <a:bodyPr/>
        <a:lstStyle/>
        <a:p>
          <a:endParaRPr lang="de-DE"/>
        </a:p>
      </dgm:t>
    </dgm:pt>
    <dgm:pt modelId="{BA448B82-4512-4345-A046-D2B961CBCE54}">
      <dgm:prSet phldrT="[Text]"/>
      <dgm:spPr/>
      <dgm:t>
        <a:bodyPr/>
        <a:lstStyle/>
        <a:p>
          <a:r>
            <a:rPr lang="de-DE" dirty="0"/>
            <a:t>Fachkranken</a:t>
          </a:r>
        </a:p>
        <a:p>
          <a:r>
            <a:rPr lang="de-DE" dirty="0"/>
            <a:t>haus</a:t>
          </a:r>
        </a:p>
      </dgm:t>
    </dgm:pt>
    <dgm:pt modelId="{2D8129C9-61E6-4231-B15F-0E6E6DDAAE14}" type="parTrans" cxnId="{0A31ADD5-9653-4CCD-BC30-BA318779540C}">
      <dgm:prSet/>
      <dgm:spPr/>
      <dgm:t>
        <a:bodyPr/>
        <a:lstStyle/>
        <a:p>
          <a:endParaRPr lang="de-DE"/>
        </a:p>
      </dgm:t>
    </dgm:pt>
    <dgm:pt modelId="{358FE26B-41F2-4FF7-8BF6-F741548F6401}" type="sibTrans" cxnId="{0A31ADD5-9653-4CCD-BC30-BA318779540C}">
      <dgm:prSet/>
      <dgm:spPr/>
      <dgm:t>
        <a:bodyPr/>
        <a:lstStyle/>
        <a:p>
          <a:endParaRPr lang="de-DE"/>
        </a:p>
      </dgm:t>
    </dgm:pt>
    <dgm:pt modelId="{D47D8DE9-9B5F-4959-B812-438CB8C7CD9A}">
      <dgm:prSet phldrT="[Text]"/>
      <dgm:spPr/>
      <dgm:t>
        <a:bodyPr/>
        <a:lstStyle/>
        <a:p>
          <a:r>
            <a:rPr lang="de-DE" dirty="0"/>
            <a:t>MVZ</a:t>
          </a:r>
        </a:p>
      </dgm:t>
    </dgm:pt>
    <dgm:pt modelId="{8DA44A4F-89A2-405A-B42C-925731251BD0}" type="parTrans" cxnId="{FC281170-3C2B-4D03-ACFD-E012C2900185}">
      <dgm:prSet/>
      <dgm:spPr/>
      <dgm:t>
        <a:bodyPr/>
        <a:lstStyle/>
        <a:p>
          <a:endParaRPr lang="de-DE"/>
        </a:p>
      </dgm:t>
    </dgm:pt>
    <dgm:pt modelId="{DA0FABA1-35DC-4FA9-8929-EA1C8FBF5B03}" type="sibTrans" cxnId="{FC281170-3C2B-4D03-ACFD-E012C2900185}">
      <dgm:prSet/>
      <dgm:spPr/>
      <dgm:t>
        <a:bodyPr/>
        <a:lstStyle/>
        <a:p>
          <a:endParaRPr lang="de-DE"/>
        </a:p>
      </dgm:t>
    </dgm:pt>
    <dgm:pt modelId="{595A1890-2FD5-49A3-BCB5-40C4C8039AD5}" type="pres">
      <dgm:prSet presAssocID="{94D73AFD-CEEE-4EF8-9160-10DD654F60AB}" presName="composite" presStyleCnt="0">
        <dgm:presLayoutVars>
          <dgm:chMax val="3"/>
          <dgm:animLvl val="lvl"/>
          <dgm:resizeHandles val="exact"/>
        </dgm:presLayoutVars>
      </dgm:prSet>
      <dgm:spPr/>
    </dgm:pt>
    <dgm:pt modelId="{4C5EDBE9-5E7D-4412-91D4-3DC8E7540E13}" type="pres">
      <dgm:prSet presAssocID="{6313238E-EEBC-47CB-AA9A-A30B3C5E4D4B}" presName="gear1" presStyleLbl="node1" presStyleIdx="0" presStyleCnt="3">
        <dgm:presLayoutVars>
          <dgm:chMax val="1"/>
          <dgm:bulletEnabled val="1"/>
        </dgm:presLayoutVars>
      </dgm:prSet>
      <dgm:spPr/>
    </dgm:pt>
    <dgm:pt modelId="{BECB7435-D5DA-4409-85F4-A041CA88CF46}" type="pres">
      <dgm:prSet presAssocID="{6313238E-EEBC-47CB-AA9A-A30B3C5E4D4B}" presName="gear1srcNode" presStyleLbl="node1" presStyleIdx="0" presStyleCnt="3"/>
      <dgm:spPr/>
    </dgm:pt>
    <dgm:pt modelId="{F03E4CCD-79E7-466E-809C-FE0BE2BAE861}" type="pres">
      <dgm:prSet presAssocID="{6313238E-EEBC-47CB-AA9A-A30B3C5E4D4B}" presName="gear1dstNode" presStyleLbl="node1" presStyleIdx="0" presStyleCnt="3"/>
      <dgm:spPr/>
    </dgm:pt>
    <dgm:pt modelId="{ADD720BE-63AE-4E87-948C-176653611E4C}" type="pres">
      <dgm:prSet presAssocID="{BA448B82-4512-4345-A046-D2B961CBCE54}" presName="gear2" presStyleLbl="node1" presStyleIdx="1" presStyleCnt="3">
        <dgm:presLayoutVars>
          <dgm:chMax val="1"/>
          <dgm:bulletEnabled val="1"/>
        </dgm:presLayoutVars>
      </dgm:prSet>
      <dgm:spPr/>
    </dgm:pt>
    <dgm:pt modelId="{64EDD3B5-AB98-4B60-B85B-DE0CACCAE0C4}" type="pres">
      <dgm:prSet presAssocID="{BA448B82-4512-4345-A046-D2B961CBCE54}" presName="gear2srcNode" presStyleLbl="node1" presStyleIdx="1" presStyleCnt="3"/>
      <dgm:spPr/>
    </dgm:pt>
    <dgm:pt modelId="{68FE816A-5160-4D5A-A7B7-F3A94674EB7D}" type="pres">
      <dgm:prSet presAssocID="{BA448B82-4512-4345-A046-D2B961CBCE54}" presName="gear2dstNode" presStyleLbl="node1" presStyleIdx="1" presStyleCnt="3"/>
      <dgm:spPr/>
    </dgm:pt>
    <dgm:pt modelId="{9E2C0AE7-0E61-4A34-A46A-22EC94CE922C}" type="pres">
      <dgm:prSet presAssocID="{D47D8DE9-9B5F-4959-B812-438CB8C7CD9A}" presName="gear3" presStyleLbl="node1" presStyleIdx="2" presStyleCnt="3"/>
      <dgm:spPr/>
    </dgm:pt>
    <dgm:pt modelId="{7728539A-3926-4E0E-BCAA-2E0163DD22BC}" type="pres">
      <dgm:prSet presAssocID="{D47D8DE9-9B5F-4959-B812-438CB8C7CD9A}" presName="gear3tx" presStyleLbl="node1" presStyleIdx="2" presStyleCnt="3">
        <dgm:presLayoutVars>
          <dgm:chMax val="1"/>
          <dgm:bulletEnabled val="1"/>
        </dgm:presLayoutVars>
      </dgm:prSet>
      <dgm:spPr/>
    </dgm:pt>
    <dgm:pt modelId="{8CDEF568-3DF6-4DC5-95A3-93E609FA0019}" type="pres">
      <dgm:prSet presAssocID="{D47D8DE9-9B5F-4959-B812-438CB8C7CD9A}" presName="gear3srcNode" presStyleLbl="node1" presStyleIdx="2" presStyleCnt="3"/>
      <dgm:spPr/>
    </dgm:pt>
    <dgm:pt modelId="{D8C3284D-F085-4736-BB9C-99B4F2ED4CEF}" type="pres">
      <dgm:prSet presAssocID="{D47D8DE9-9B5F-4959-B812-438CB8C7CD9A}" presName="gear3dstNode" presStyleLbl="node1" presStyleIdx="2" presStyleCnt="3"/>
      <dgm:spPr/>
    </dgm:pt>
    <dgm:pt modelId="{AE271BFB-23EB-4A4B-9515-9F91070CE1A2}" type="pres">
      <dgm:prSet presAssocID="{7947CDDA-147F-451D-B2B1-1C30765C8A62}" presName="connector1" presStyleLbl="sibTrans2D1" presStyleIdx="0" presStyleCnt="3"/>
      <dgm:spPr/>
    </dgm:pt>
    <dgm:pt modelId="{A33EE9E4-5B74-496E-B6F4-3D5CF5D4C04C}" type="pres">
      <dgm:prSet presAssocID="{358FE26B-41F2-4FF7-8BF6-F741548F6401}" presName="connector2" presStyleLbl="sibTrans2D1" presStyleIdx="1" presStyleCnt="3"/>
      <dgm:spPr/>
    </dgm:pt>
    <dgm:pt modelId="{3E2C5646-8D24-4AA9-9663-626C4FB33968}" type="pres">
      <dgm:prSet presAssocID="{DA0FABA1-35DC-4FA9-8929-EA1C8FBF5B03}" presName="connector3" presStyleLbl="sibTrans2D1" presStyleIdx="2" presStyleCnt="3"/>
      <dgm:spPr/>
    </dgm:pt>
  </dgm:ptLst>
  <dgm:cxnLst>
    <dgm:cxn modelId="{A6A3F404-C063-45EB-89B6-7EEBEF6BDA73}" type="presOf" srcId="{94D73AFD-CEEE-4EF8-9160-10DD654F60AB}" destId="{595A1890-2FD5-49A3-BCB5-40C4C8039AD5}" srcOrd="0" destOrd="0" presId="urn:microsoft.com/office/officeart/2005/8/layout/gear1"/>
    <dgm:cxn modelId="{C331F515-DF38-403A-9965-535DC8F6E095}" type="presOf" srcId="{DA0FABA1-35DC-4FA9-8929-EA1C8FBF5B03}" destId="{3E2C5646-8D24-4AA9-9663-626C4FB33968}" srcOrd="0" destOrd="0" presId="urn:microsoft.com/office/officeart/2005/8/layout/gear1"/>
    <dgm:cxn modelId="{0ADBB627-5D89-46C5-8E6A-58E2C73B4719}" type="presOf" srcId="{7947CDDA-147F-451D-B2B1-1C30765C8A62}" destId="{AE271BFB-23EB-4A4B-9515-9F91070CE1A2}" srcOrd="0" destOrd="0" presId="urn:microsoft.com/office/officeart/2005/8/layout/gear1"/>
    <dgm:cxn modelId="{931A362F-91BA-400B-B9F1-27BDB00B1454}" type="presOf" srcId="{BA448B82-4512-4345-A046-D2B961CBCE54}" destId="{68FE816A-5160-4D5A-A7B7-F3A94674EB7D}" srcOrd="2" destOrd="0" presId="urn:microsoft.com/office/officeart/2005/8/layout/gear1"/>
    <dgm:cxn modelId="{9364175B-5FCC-4D9A-9898-F2881F092878}" srcId="{94D73AFD-CEEE-4EF8-9160-10DD654F60AB}" destId="{6313238E-EEBC-47CB-AA9A-A30B3C5E4D4B}" srcOrd="0" destOrd="0" parTransId="{32542C1B-9CE2-4C18-9736-DE8A88A9CD75}" sibTransId="{7947CDDA-147F-451D-B2B1-1C30765C8A62}"/>
    <dgm:cxn modelId="{3158F147-7843-4EEB-AB95-A848D2BB42B2}" type="presOf" srcId="{6313238E-EEBC-47CB-AA9A-A30B3C5E4D4B}" destId="{4C5EDBE9-5E7D-4412-91D4-3DC8E7540E13}" srcOrd="0" destOrd="0" presId="urn:microsoft.com/office/officeart/2005/8/layout/gear1"/>
    <dgm:cxn modelId="{4521324E-677E-4DA2-A729-45C9A384E4DC}" type="presOf" srcId="{BA448B82-4512-4345-A046-D2B961CBCE54}" destId="{64EDD3B5-AB98-4B60-B85B-DE0CACCAE0C4}" srcOrd="1" destOrd="0" presId="urn:microsoft.com/office/officeart/2005/8/layout/gear1"/>
    <dgm:cxn modelId="{FC281170-3C2B-4D03-ACFD-E012C2900185}" srcId="{94D73AFD-CEEE-4EF8-9160-10DD654F60AB}" destId="{D47D8DE9-9B5F-4959-B812-438CB8C7CD9A}" srcOrd="2" destOrd="0" parTransId="{8DA44A4F-89A2-405A-B42C-925731251BD0}" sibTransId="{DA0FABA1-35DC-4FA9-8929-EA1C8FBF5B03}"/>
    <dgm:cxn modelId="{45E16272-6042-408B-8B5D-6C6A665070BA}" type="presOf" srcId="{BA448B82-4512-4345-A046-D2B961CBCE54}" destId="{ADD720BE-63AE-4E87-948C-176653611E4C}" srcOrd="0" destOrd="0" presId="urn:microsoft.com/office/officeart/2005/8/layout/gear1"/>
    <dgm:cxn modelId="{466F6E59-7755-4D50-8438-0EB359B718C1}" type="presOf" srcId="{D47D8DE9-9B5F-4959-B812-438CB8C7CD9A}" destId="{9E2C0AE7-0E61-4A34-A46A-22EC94CE922C}" srcOrd="0" destOrd="0" presId="urn:microsoft.com/office/officeart/2005/8/layout/gear1"/>
    <dgm:cxn modelId="{A8EBA089-1F40-42A1-BE4E-5E4F187E74C4}" type="presOf" srcId="{D47D8DE9-9B5F-4959-B812-438CB8C7CD9A}" destId="{8CDEF568-3DF6-4DC5-95A3-93E609FA0019}" srcOrd="2" destOrd="0" presId="urn:microsoft.com/office/officeart/2005/8/layout/gear1"/>
    <dgm:cxn modelId="{875D2DC0-8A6A-4872-B979-185AEBDF22AE}" type="presOf" srcId="{D47D8DE9-9B5F-4959-B812-438CB8C7CD9A}" destId="{7728539A-3926-4E0E-BCAA-2E0163DD22BC}" srcOrd="1" destOrd="0" presId="urn:microsoft.com/office/officeart/2005/8/layout/gear1"/>
    <dgm:cxn modelId="{6AA6EEC8-1C5C-43BA-9627-57A34AC27FED}" type="presOf" srcId="{358FE26B-41F2-4FF7-8BF6-F741548F6401}" destId="{A33EE9E4-5B74-496E-B6F4-3D5CF5D4C04C}" srcOrd="0" destOrd="0" presId="urn:microsoft.com/office/officeart/2005/8/layout/gear1"/>
    <dgm:cxn modelId="{0A31ADD5-9653-4CCD-BC30-BA318779540C}" srcId="{94D73AFD-CEEE-4EF8-9160-10DD654F60AB}" destId="{BA448B82-4512-4345-A046-D2B961CBCE54}" srcOrd="1" destOrd="0" parTransId="{2D8129C9-61E6-4231-B15F-0E6E6DDAAE14}" sibTransId="{358FE26B-41F2-4FF7-8BF6-F741548F6401}"/>
    <dgm:cxn modelId="{6B641DD9-7834-4E0B-BB66-B5B33D92D3E9}" type="presOf" srcId="{D47D8DE9-9B5F-4959-B812-438CB8C7CD9A}" destId="{D8C3284D-F085-4736-BB9C-99B4F2ED4CEF}" srcOrd="3" destOrd="0" presId="urn:microsoft.com/office/officeart/2005/8/layout/gear1"/>
    <dgm:cxn modelId="{1C881EDB-61BA-4443-9C54-01727B2368A6}" type="presOf" srcId="{6313238E-EEBC-47CB-AA9A-A30B3C5E4D4B}" destId="{F03E4CCD-79E7-466E-809C-FE0BE2BAE861}" srcOrd="2" destOrd="0" presId="urn:microsoft.com/office/officeart/2005/8/layout/gear1"/>
    <dgm:cxn modelId="{8FBABEE8-97EF-49DB-9676-52A50C510B37}" type="presOf" srcId="{6313238E-EEBC-47CB-AA9A-A30B3C5E4D4B}" destId="{BECB7435-D5DA-4409-85F4-A041CA88CF46}" srcOrd="1" destOrd="0" presId="urn:microsoft.com/office/officeart/2005/8/layout/gear1"/>
    <dgm:cxn modelId="{D4B48B72-5FED-4885-A2A0-F2EBDA06B5BF}" type="presParOf" srcId="{595A1890-2FD5-49A3-BCB5-40C4C8039AD5}" destId="{4C5EDBE9-5E7D-4412-91D4-3DC8E7540E13}" srcOrd="0" destOrd="0" presId="urn:microsoft.com/office/officeart/2005/8/layout/gear1"/>
    <dgm:cxn modelId="{E0CF8882-96ED-4A90-9317-1FE1A6FA8FF8}" type="presParOf" srcId="{595A1890-2FD5-49A3-BCB5-40C4C8039AD5}" destId="{BECB7435-D5DA-4409-85F4-A041CA88CF46}" srcOrd="1" destOrd="0" presId="urn:microsoft.com/office/officeart/2005/8/layout/gear1"/>
    <dgm:cxn modelId="{7AFED40E-2EAB-471B-A85A-4F4EF51837C9}" type="presParOf" srcId="{595A1890-2FD5-49A3-BCB5-40C4C8039AD5}" destId="{F03E4CCD-79E7-466E-809C-FE0BE2BAE861}" srcOrd="2" destOrd="0" presId="urn:microsoft.com/office/officeart/2005/8/layout/gear1"/>
    <dgm:cxn modelId="{30136E87-8468-409B-AF7F-83337AFF8D2A}" type="presParOf" srcId="{595A1890-2FD5-49A3-BCB5-40C4C8039AD5}" destId="{ADD720BE-63AE-4E87-948C-176653611E4C}" srcOrd="3" destOrd="0" presId="urn:microsoft.com/office/officeart/2005/8/layout/gear1"/>
    <dgm:cxn modelId="{770C08A9-5956-4A8E-B88D-11D4513B3B21}" type="presParOf" srcId="{595A1890-2FD5-49A3-BCB5-40C4C8039AD5}" destId="{64EDD3B5-AB98-4B60-B85B-DE0CACCAE0C4}" srcOrd="4" destOrd="0" presId="urn:microsoft.com/office/officeart/2005/8/layout/gear1"/>
    <dgm:cxn modelId="{B495BEB1-ABF9-49D1-B912-50EBD5F39B71}" type="presParOf" srcId="{595A1890-2FD5-49A3-BCB5-40C4C8039AD5}" destId="{68FE816A-5160-4D5A-A7B7-F3A94674EB7D}" srcOrd="5" destOrd="0" presId="urn:microsoft.com/office/officeart/2005/8/layout/gear1"/>
    <dgm:cxn modelId="{2FF771D2-0205-4F22-B216-60AD56356F80}" type="presParOf" srcId="{595A1890-2FD5-49A3-BCB5-40C4C8039AD5}" destId="{9E2C0AE7-0E61-4A34-A46A-22EC94CE922C}" srcOrd="6" destOrd="0" presId="urn:microsoft.com/office/officeart/2005/8/layout/gear1"/>
    <dgm:cxn modelId="{281F628B-5970-427F-AC1A-CFC3EA5A3820}" type="presParOf" srcId="{595A1890-2FD5-49A3-BCB5-40C4C8039AD5}" destId="{7728539A-3926-4E0E-BCAA-2E0163DD22BC}" srcOrd="7" destOrd="0" presId="urn:microsoft.com/office/officeart/2005/8/layout/gear1"/>
    <dgm:cxn modelId="{1D32790D-4757-4A25-B705-CF618605E382}" type="presParOf" srcId="{595A1890-2FD5-49A3-BCB5-40C4C8039AD5}" destId="{8CDEF568-3DF6-4DC5-95A3-93E609FA0019}" srcOrd="8" destOrd="0" presId="urn:microsoft.com/office/officeart/2005/8/layout/gear1"/>
    <dgm:cxn modelId="{901768E3-C37A-4E24-A981-CC3D8312AFA3}" type="presParOf" srcId="{595A1890-2FD5-49A3-BCB5-40C4C8039AD5}" destId="{D8C3284D-F085-4736-BB9C-99B4F2ED4CEF}" srcOrd="9" destOrd="0" presId="urn:microsoft.com/office/officeart/2005/8/layout/gear1"/>
    <dgm:cxn modelId="{476FA450-F839-4C0C-ABDA-F92FC9216F6D}" type="presParOf" srcId="{595A1890-2FD5-49A3-BCB5-40C4C8039AD5}" destId="{AE271BFB-23EB-4A4B-9515-9F91070CE1A2}" srcOrd="10" destOrd="0" presId="urn:microsoft.com/office/officeart/2005/8/layout/gear1"/>
    <dgm:cxn modelId="{57462188-ED0F-4C9A-A0B5-DB919492378A}" type="presParOf" srcId="{595A1890-2FD5-49A3-BCB5-40C4C8039AD5}" destId="{A33EE9E4-5B74-496E-B6F4-3D5CF5D4C04C}" srcOrd="11" destOrd="0" presId="urn:microsoft.com/office/officeart/2005/8/layout/gear1"/>
    <dgm:cxn modelId="{CB54389D-14EE-46CE-9BBD-6794DA9EF504}" type="presParOf" srcId="{595A1890-2FD5-49A3-BCB5-40C4C8039AD5}" destId="{3E2C5646-8D24-4AA9-9663-626C4FB33968}" srcOrd="12" destOrd="0" presId="urn:microsoft.com/office/officeart/2005/8/layout/gear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004C814F-93C3-4D6A-B4C2-4A066EDDDF87}" type="doc">
      <dgm:prSet loTypeId="urn:microsoft.com/office/officeart/2005/8/layout/gear1" loCatId="process" qsTypeId="urn:microsoft.com/office/officeart/2009/2/quickstyle/3d8" qsCatId="3D" csTypeId="urn:microsoft.com/office/officeart/2005/8/colors/accent1_2" csCatId="accent1" phldr="1"/>
      <dgm:spPr/>
    </dgm:pt>
    <dgm:pt modelId="{620779E5-B3C3-4D80-95E4-CE74DBCF8276}">
      <dgm:prSet phldrT="[Text]"/>
      <dgm:spPr/>
      <dgm:t>
        <a:bodyPr/>
        <a:lstStyle/>
        <a:p>
          <a:r>
            <a:rPr lang="de-DE" dirty="0"/>
            <a:t>Hausarzt</a:t>
          </a:r>
        </a:p>
      </dgm:t>
    </dgm:pt>
    <dgm:pt modelId="{543E0EFE-C2B6-4F6D-A72D-AAD95BC02EE7}" type="parTrans" cxnId="{323569D8-61D6-49C8-93CB-FA214C156285}">
      <dgm:prSet/>
      <dgm:spPr/>
      <dgm:t>
        <a:bodyPr/>
        <a:lstStyle/>
        <a:p>
          <a:endParaRPr lang="de-DE"/>
        </a:p>
      </dgm:t>
    </dgm:pt>
    <dgm:pt modelId="{C5D46D2C-FBA1-466D-8B11-C4D1B1D036A9}" type="sibTrans" cxnId="{323569D8-61D6-49C8-93CB-FA214C156285}">
      <dgm:prSet/>
      <dgm:spPr/>
      <dgm:t>
        <a:bodyPr/>
        <a:lstStyle/>
        <a:p>
          <a:endParaRPr lang="de-DE"/>
        </a:p>
      </dgm:t>
    </dgm:pt>
    <dgm:pt modelId="{EB8B5585-37CD-483C-B04A-ED57330E02AB}">
      <dgm:prSet phldrT="[Text]"/>
      <dgm:spPr/>
      <dgm:t>
        <a:bodyPr/>
        <a:lstStyle/>
        <a:p>
          <a:r>
            <a:rPr lang="de-DE" dirty="0"/>
            <a:t>Facharzt 1</a:t>
          </a:r>
        </a:p>
      </dgm:t>
    </dgm:pt>
    <dgm:pt modelId="{9BDF23A8-E80C-4B70-A23B-2586449386B1}" type="parTrans" cxnId="{F91AD68F-5A1D-485A-B069-6CDBC1370E82}">
      <dgm:prSet/>
      <dgm:spPr/>
      <dgm:t>
        <a:bodyPr/>
        <a:lstStyle/>
        <a:p>
          <a:endParaRPr lang="de-DE"/>
        </a:p>
      </dgm:t>
    </dgm:pt>
    <dgm:pt modelId="{C5B09EE7-36D0-4530-A1B0-5973B5E58A52}" type="sibTrans" cxnId="{F91AD68F-5A1D-485A-B069-6CDBC1370E82}">
      <dgm:prSet/>
      <dgm:spPr/>
      <dgm:t>
        <a:bodyPr/>
        <a:lstStyle/>
        <a:p>
          <a:endParaRPr lang="de-DE"/>
        </a:p>
      </dgm:t>
    </dgm:pt>
    <dgm:pt modelId="{B3AC7704-63E5-463D-937E-6CA9441F804F}">
      <dgm:prSet phldrT="[Text]"/>
      <dgm:spPr/>
      <dgm:t>
        <a:bodyPr/>
        <a:lstStyle/>
        <a:p>
          <a:r>
            <a:rPr lang="de-DE" dirty="0"/>
            <a:t>Facharzt 2</a:t>
          </a:r>
        </a:p>
      </dgm:t>
    </dgm:pt>
    <dgm:pt modelId="{6F59714A-7129-45A1-847D-FA5D25E7EA1C}" type="parTrans" cxnId="{FA690118-AAA3-4C21-A5B6-7C10D98D333A}">
      <dgm:prSet/>
      <dgm:spPr/>
      <dgm:t>
        <a:bodyPr/>
        <a:lstStyle/>
        <a:p>
          <a:endParaRPr lang="de-DE"/>
        </a:p>
      </dgm:t>
    </dgm:pt>
    <dgm:pt modelId="{97C400DC-DF42-42F1-8F68-8249C4CE0A0D}" type="sibTrans" cxnId="{FA690118-AAA3-4C21-A5B6-7C10D98D333A}">
      <dgm:prSet/>
      <dgm:spPr/>
      <dgm:t>
        <a:bodyPr/>
        <a:lstStyle/>
        <a:p>
          <a:endParaRPr lang="de-DE"/>
        </a:p>
      </dgm:t>
    </dgm:pt>
    <dgm:pt modelId="{285DCE19-0C05-4EBD-B483-BE86B63515EA}" type="pres">
      <dgm:prSet presAssocID="{004C814F-93C3-4D6A-B4C2-4A066EDDDF87}" presName="composite" presStyleCnt="0">
        <dgm:presLayoutVars>
          <dgm:chMax val="3"/>
          <dgm:animLvl val="lvl"/>
          <dgm:resizeHandles val="exact"/>
        </dgm:presLayoutVars>
      </dgm:prSet>
      <dgm:spPr/>
    </dgm:pt>
    <dgm:pt modelId="{43F655C8-248E-4CF0-80EE-42E54BE0BE99}" type="pres">
      <dgm:prSet presAssocID="{620779E5-B3C3-4D80-95E4-CE74DBCF8276}" presName="gear1" presStyleLbl="node1" presStyleIdx="0" presStyleCnt="3">
        <dgm:presLayoutVars>
          <dgm:chMax val="1"/>
          <dgm:bulletEnabled val="1"/>
        </dgm:presLayoutVars>
      </dgm:prSet>
      <dgm:spPr/>
    </dgm:pt>
    <dgm:pt modelId="{2728D133-3C88-4170-9275-BC103E82B2CE}" type="pres">
      <dgm:prSet presAssocID="{620779E5-B3C3-4D80-95E4-CE74DBCF8276}" presName="gear1srcNode" presStyleLbl="node1" presStyleIdx="0" presStyleCnt="3"/>
      <dgm:spPr/>
    </dgm:pt>
    <dgm:pt modelId="{FD004A48-72B9-451A-B6DF-C39CF3891B6F}" type="pres">
      <dgm:prSet presAssocID="{620779E5-B3C3-4D80-95E4-CE74DBCF8276}" presName="gear1dstNode" presStyleLbl="node1" presStyleIdx="0" presStyleCnt="3"/>
      <dgm:spPr/>
    </dgm:pt>
    <dgm:pt modelId="{8C549A58-0887-45E5-9692-5FB58C1F811D}" type="pres">
      <dgm:prSet presAssocID="{EB8B5585-37CD-483C-B04A-ED57330E02AB}" presName="gear2" presStyleLbl="node1" presStyleIdx="1" presStyleCnt="3">
        <dgm:presLayoutVars>
          <dgm:chMax val="1"/>
          <dgm:bulletEnabled val="1"/>
        </dgm:presLayoutVars>
      </dgm:prSet>
      <dgm:spPr/>
    </dgm:pt>
    <dgm:pt modelId="{BB33D59C-0E3A-47C1-AD14-D3D1E8778DF8}" type="pres">
      <dgm:prSet presAssocID="{EB8B5585-37CD-483C-B04A-ED57330E02AB}" presName="gear2srcNode" presStyleLbl="node1" presStyleIdx="1" presStyleCnt="3"/>
      <dgm:spPr/>
    </dgm:pt>
    <dgm:pt modelId="{67B08DC1-E728-4729-A45B-F9ED24B4AF5B}" type="pres">
      <dgm:prSet presAssocID="{EB8B5585-37CD-483C-B04A-ED57330E02AB}" presName="gear2dstNode" presStyleLbl="node1" presStyleIdx="1" presStyleCnt="3"/>
      <dgm:spPr/>
    </dgm:pt>
    <dgm:pt modelId="{BC3747B7-C2D0-4851-AE8E-0E78064226FE}" type="pres">
      <dgm:prSet presAssocID="{B3AC7704-63E5-463D-937E-6CA9441F804F}" presName="gear3" presStyleLbl="node1" presStyleIdx="2" presStyleCnt="3"/>
      <dgm:spPr/>
    </dgm:pt>
    <dgm:pt modelId="{169556D9-757B-4646-A95E-E144CDC5C44A}" type="pres">
      <dgm:prSet presAssocID="{B3AC7704-63E5-463D-937E-6CA9441F804F}" presName="gear3tx" presStyleLbl="node1" presStyleIdx="2" presStyleCnt="3">
        <dgm:presLayoutVars>
          <dgm:chMax val="1"/>
          <dgm:bulletEnabled val="1"/>
        </dgm:presLayoutVars>
      </dgm:prSet>
      <dgm:spPr/>
    </dgm:pt>
    <dgm:pt modelId="{327068CA-8A1C-409D-B168-40A0A432F354}" type="pres">
      <dgm:prSet presAssocID="{B3AC7704-63E5-463D-937E-6CA9441F804F}" presName="gear3srcNode" presStyleLbl="node1" presStyleIdx="2" presStyleCnt="3"/>
      <dgm:spPr/>
    </dgm:pt>
    <dgm:pt modelId="{09C376EE-32A3-473B-B360-9ABC914C4C37}" type="pres">
      <dgm:prSet presAssocID="{B3AC7704-63E5-463D-937E-6CA9441F804F}" presName="gear3dstNode" presStyleLbl="node1" presStyleIdx="2" presStyleCnt="3"/>
      <dgm:spPr/>
    </dgm:pt>
    <dgm:pt modelId="{6A33011A-D76D-4698-B405-93B255563D24}" type="pres">
      <dgm:prSet presAssocID="{C5D46D2C-FBA1-466D-8B11-C4D1B1D036A9}" presName="connector1" presStyleLbl="sibTrans2D1" presStyleIdx="0" presStyleCnt="3"/>
      <dgm:spPr/>
    </dgm:pt>
    <dgm:pt modelId="{3FB62F68-AB6D-46FC-9619-E0C7088C9596}" type="pres">
      <dgm:prSet presAssocID="{C5B09EE7-36D0-4530-A1B0-5973B5E58A52}" presName="connector2" presStyleLbl="sibTrans2D1" presStyleIdx="1" presStyleCnt="3"/>
      <dgm:spPr/>
    </dgm:pt>
    <dgm:pt modelId="{ADF650F0-87EF-4802-B125-8C48A66BE87C}" type="pres">
      <dgm:prSet presAssocID="{97C400DC-DF42-42F1-8F68-8249C4CE0A0D}" presName="connector3" presStyleLbl="sibTrans2D1" presStyleIdx="2" presStyleCnt="3"/>
      <dgm:spPr/>
    </dgm:pt>
  </dgm:ptLst>
  <dgm:cxnLst>
    <dgm:cxn modelId="{27B1F209-0E4B-4CE7-B20C-1E186E27F780}" type="presOf" srcId="{C5D46D2C-FBA1-466D-8B11-C4D1B1D036A9}" destId="{6A33011A-D76D-4698-B405-93B255563D24}" srcOrd="0" destOrd="0" presId="urn:microsoft.com/office/officeart/2005/8/layout/gear1"/>
    <dgm:cxn modelId="{B08F2D0D-7167-4198-B2F8-4CF2A81D3553}" type="presOf" srcId="{B3AC7704-63E5-463D-937E-6CA9441F804F}" destId="{169556D9-757B-4646-A95E-E144CDC5C44A}" srcOrd="1" destOrd="0" presId="urn:microsoft.com/office/officeart/2005/8/layout/gear1"/>
    <dgm:cxn modelId="{FA690118-AAA3-4C21-A5B6-7C10D98D333A}" srcId="{004C814F-93C3-4D6A-B4C2-4A066EDDDF87}" destId="{B3AC7704-63E5-463D-937E-6CA9441F804F}" srcOrd="2" destOrd="0" parTransId="{6F59714A-7129-45A1-847D-FA5D25E7EA1C}" sibTransId="{97C400DC-DF42-42F1-8F68-8249C4CE0A0D}"/>
    <dgm:cxn modelId="{61854E18-9E40-4FB3-AEB6-0B82938AEB93}" type="presOf" srcId="{EB8B5585-37CD-483C-B04A-ED57330E02AB}" destId="{8C549A58-0887-45E5-9692-5FB58C1F811D}" srcOrd="0" destOrd="0" presId="urn:microsoft.com/office/officeart/2005/8/layout/gear1"/>
    <dgm:cxn modelId="{83858521-8264-4265-8C9F-90D611B28CC2}" type="presOf" srcId="{B3AC7704-63E5-463D-937E-6CA9441F804F}" destId="{327068CA-8A1C-409D-B168-40A0A432F354}" srcOrd="2" destOrd="0" presId="urn:microsoft.com/office/officeart/2005/8/layout/gear1"/>
    <dgm:cxn modelId="{DC6D3637-469F-4915-8A8E-442088CB1BEB}" type="presOf" srcId="{004C814F-93C3-4D6A-B4C2-4A066EDDDF87}" destId="{285DCE19-0C05-4EBD-B483-BE86B63515EA}" srcOrd="0" destOrd="0" presId="urn:microsoft.com/office/officeart/2005/8/layout/gear1"/>
    <dgm:cxn modelId="{AEB48638-C7B4-449F-84A1-3DA102E05137}" type="presOf" srcId="{B3AC7704-63E5-463D-937E-6CA9441F804F}" destId="{09C376EE-32A3-473B-B360-9ABC914C4C37}" srcOrd="3" destOrd="0" presId="urn:microsoft.com/office/officeart/2005/8/layout/gear1"/>
    <dgm:cxn modelId="{8290E95B-6305-4624-AC4D-F435D0FFC29D}" type="presOf" srcId="{B3AC7704-63E5-463D-937E-6CA9441F804F}" destId="{BC3747B7-C2D0-4851-AE8E-0E78064226FE}" srcOrd="0" destOrd="0" presId="urn:microsoft.com/office/officeart/2005/8/layout/gear1"/>
    <dgm:cxn modelId="{94EFC241-4C6B-474B-A5DE-1D2315D4944F}" type="presOf" srcId="{620779E5-B3C3-4D80-95E4-CE74DBCF8276}" destId="{43F655C8-248E-4CF0-80EE-42E54BE0BE99}" srcOrd="0" destOrd="0" presId="urn:microsoft.com/office/officeart/2005/8/layout/gear1"/>
    <dgm:cxn modelId="{7568D047-A768-4373-8515-C6AA0B0F91BB}" type="presOf" srcId="{97C400DC-DF42-42F1-8F68-8249C4CE0A0D}" destId="{ADF650F0-87EF-4802-B125-8C48A66BE87C}" srcOrd="0" destOrd="0" presId="urn:microsoft.com/office/officeart/2005/8/layout/gear1"/>
    <dgm:cxn modelId="{F91AD68F-5A1D-485A-B069-6CDBC1370E82}" srcId="{004C814F-93C3-4D6A-B4C2-4A066EDDDF87}" destId="{EB8B5585-37CD-483C-B04A-ED57330E02AB}" srcOrd="1" destOrd="0" parTransId="{9BDF23A8-E80C-4B70-A23B-2586449386B1}" sibTransId="{C5B09EE7-36D0-4530-A1B0-5973B5E58A52}"/>
    <dgm:cxn modelId="{7129499A-FAB1-4A46-869F-390481BCAD53}" type="presOf" srcId="{C5B09EE7-36D0-4530-A1B0-5973B5E58A52}" destId="{3FB62F68-AB6D-46FC-9619-E0C7088C9596}" srcOrd="0" destOrd="0" presId="urn:microsoft.com/office/officeart/2005/8/layout/gear1"/>
    <dgm:cxn modelId="{4284E09D-9E92-4F61-AAE3-9DB6FBD9475F}" type="presOf" srcId="{EB8B5585-37CD-483C-B04A-ED57330E02AB}" destId="{BB33D59C-0E3A-47C1-AD14-D3D1E8778DF8}" srcOrd="1" destOrd="0" presId="urn:microsoft.com/office/officeart/2005/8/layout/gear1"/>
    <dgm:cxn modelId="{010725A1-27B8-4D43-8921-8BFD9C9F0428}" type="presOf" srcId="{620779E5-B3C3-4D80-95E4-CE74DBCF8276}" destId="{2728D133-3C88-4170-9275-BC103E82B2CE}" srcOrd="1" destOrd="0" presId="urn:microsoft.com/office/officeart/2005/8/layout/gear1"/>
    <dgm:cxn modelId="{5AEC2FB9-91B3-4B80-9742-C2CEA664BE6D}" type="presOf" srcId="{620779E5-B3C3-4D80-95E4-CE74DBCF8276}" destId="{FD004A48-72B9-451A-B6DF-C39CF3891B6F}" srcOrd="2" destOrd="0" presId="urn:microsoft.com/office/officeart/2005/8/layout/gear1"/>
    <dgm:cxn modelId="{323569D8-61D6-49C8-93CB-FA214C156285}" srcId="{004C814F-93C3-4D6A-B4C2-4A066EDDDF87}" destId="{620779E5-B3C3-4D80-95E4-CE74DBCF8276}" srcOrd="0" destOrd="0" parTransId="{543E0EFE-C2B6-4F6D-A72D-AAD95BC02EE7}" sibTransId="{C5D46D2C-FBA1-466D-8B11-C4D1B1D036A9}"/>
    <dgm:cxn modelId="{17DC31EC-82B3-43CE-B3AB-A61FE71AD8AF}" type="presOf" srcId="{EB8B5585-37CD-483C-B04A-ED57330E02AB}" destId="{67B08DC1-E728-4729-A45B-F9ED24B4AF5B}" srcOrd="2" destOrd="0" presId="urn:microsoft.com/office/officeart/2005/8/layout/gear1"/>
    <dgm:cxn modelId="{04E34561-9BE0-45BF-8D83-890C3AF87156}" type="presParOf" srcId="{285DCE19-0C05-4EBD-B483-BE86B63515EA}" destId="{43F655C8-248E-4CF0-80EE-42E54BE0BE99}" srcOrd="0" destOrd="0" presId="urn:microsoft.com/office/officeart/2005/8/layout/gear1"/>
    <dgm:cxn modelId="{1D22FCFF-3E21-472F-8EE9-E8ADD57E73B4}" type="presParOf" srcId="{285DCE19-0C05-4EBD-B483-BE86B63515EA}" destId="{2728D133-3C88-4170-9275-BC103E82B2CE}" srcOrd="1" destOrd="0" presId="urn:microsoft.com/office/officeart/2005/8/layout/gear1"/>
    <dgm:cxn modelId="{056FC7E2-319F-49F2-B52A-41C0B92C3E17}" type="presParOf" srcId="{285DCE19-0C05-4EBD-B483-BE86B63515EA}" destId="{FD004A48-72B9-451A-B6DF-C39CF3891B6F}" srcOrd="2" destOrd="0" presId="urn:microsoft.com/office/officeart/2005/8/layout/gear1"/>
    <dgm:cxn modelId="{E9367594-C066-4C9F-9AED-BF87BCC2FB3B}" type="presParOf" srcId="{285DCE19-0C05-4EBD-B483-BE86B63515EA}" destId="{8C549A58-0887-45E5-9692-5FB58C1F811D}" srcOrd="3" destOrd="0" presId="urn:microsoft.com/office/officeart/2005/8/layout/gear1"/>
    <dgm:cxn modelId="{0E048489-D8B0-4FCF-B4D6-0EA459A4D663}" type="presParOf" srcId="{285DCE19-0C05-4EBD-B483-BE86B63515EA}" destId="{BB33D59C-0E3A-47C1-AD14-D3D1E8778DF8}" srcOrd="4" destOrd="0" presId="urn:microsoft.com/office/officeart/2005/8/layout/gear1"/>
    <dgm:cxn modelId="{136EC256-E2E3-4569-ABEC-F37DB199A44B}" type="presParOf" srcId="{285DCE19-0C05-4EBD-B483-BE86B63515EA}" destId="{67B08DC1-E728-4729-A45B-F9ED24B4AF5B}" srcOrd="5" destOrd="0" presId="urn:microsoft.com/office/officeart/2005/8/layout/gear1"/>
    <dgm:cxn modelId="{16175EC2-0D54-44AD-9BE5-F0E64AF52E67}" type="presParOf" srcId="{285DCE19-0C05-4EBD-B483-BE86B63515EA}" destId="{BC3747B7-C2D0-4851-AE8E-0E78064226FE}" srcOrd="6" destOrd="0" presId="urn:microsoft.com/office/officeart/2005/8/layout/gear1"/>
    <dgm:cxn modelId="{6C7E15E4-600B-405F-BDC6-15A25986A10B}" type="presParOf" srcId="{285DCE19-0C05-4EBD-B483-BE86B63515EA}" destId="{169556D9-757B-4646-A95E-E144CDC5C44A}" srcOrd="7" destOrd="0" presId="urn:microsoft.com/office/officeart/2005/8/layout/gear1"/>
    <dgm:cxn modelId="{42779B17-5C20-4884-8BC3-BD890721C11E}" type="presParOf" srcId="{285DCE19-0C05-4EBD-B483-BE86B63515EA}" destId="{327068CA-8A1C-409D-B168-40A0A432F354}" srcOrd="8" destOrd="0" presId="urn:microsoft.com/office/officeart/2005/8/layout/gear1"/>
    <dgm:cxn modelId="{11037CAD-3C8A-42CB-836D-05CDDDAC525F}" type="presParOf" srcId="{285DCE19-0C05-4EBD-B483-BE86B63515EA}" destId="{09C376EE-32A3-473B-B360-9ABC914C4C37}" srcOrd="9" destOrd="0" presId="urn:microsoft.com/office/officeart/2005/8/layout/gear1"/>
    <dgm:cxn modelId="{D2B65858-63F4-49EE-A8D2-C95D9D2ADEC2}" type="presParOf" srcId="{285DCE19-0C05-4EBD-B483-BE86B63515EA}" destId="{6A33011A-D76D-4698-B405-93B255563D24}" srcOrd="10" destOrd="0" presId="urn:microsoft.com/office/officeart/2005/8/layout/gear1"/>
    <dgm:cxn modelId="{97DC5088-4655-4310-9AA6-FC6AA36310CF}" type="presParOf" srcId="{285DCE19-0C05-4EBD-B483-BE86B63515EA}" destId="{3FB62F68-AB6D-46FC-9619-E0C7088C9596}" srcOrd="11" destOrd="0" presId="urn:microsoft.com/office/officeart/2005/8/layout/gear1"/>
    <dgm:cxn modelId="{96ADA76D-F858-4DB2-BD9D-53693DED09F0}" type="presParOf" srcId="{285DCE19-0C05-4EBD-B483-BE86B63515EA}" destId="{ADF650F0-87EF-4802-B125-8C48A66BE87C}" srcOrd="12" destOrd="0" presId="urn:microsoft.com/office/officeart/2005/8/layout/gear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A738A9B-8489-474C-A676-3E620FB0984B}">
      <dsp:nvSpPr>
        <dsp:cNvPr id="0" name=""/>
        <dsp:cNvSpPr/>
      </dsp:nvSpPr>
      <dsp:spPr>
        <a:xfrm>
          <a:off x="0" y="1392976"/>
          <a:ext cx="1444029" cy="1849546"/>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de-DE" sz="1000" kern="1200" dirty="0"/>
            <a:t>1990</a:t>
          </a:r>
        </a:p>
        <a:p>
          <a:pPr marL="0" lvl="0" indent="0" algn="ctr" defTabSz="444500">
            <a:lnSpc>
              <a:spcPct val="90000"/>
            </a:lnSpc>
            <a:spcBef>
              <a:spcPct val="0"/>
            </a:spcBef>
            <a:spcAft>
              <a:spcPct val="35000"/>
            </a:spcAft>
            <a:buNone/>
          </a:pPr>
          <a:r>
            <a:rPr lang="de-DE" sz="1000" kern="1200" dirty="0"/>
            <a:t>Mainframe = Stammdaten + </a:t>
          </a:r>
          <a:r>
            <a:rPr lang="de-DE" sz="1000" kern="1200" dirty="0" err="1"/>
            <a:t>Rechnugen</a:t>
          </a:r>
          <a:endParaRPr lang="de-DE" sz="1000" kern="1200" dirty="0"/>
        </a:p>
        <a:p>
          <a:pPr marL="0" lvl="0" indent="0" algn="ctr" defTabSz="444500">
            <a:lnSpc>
              <a:spcPct val="90000"/>
            </a:lnSpc>
            <a:spcBef>
              <a:spcPct val="0"/>
            </a:spcBef>
            <a:spcAft>
              <a:spcPct val="35000"/>
            </a:spcAft>
            <a:buNone/>
          </a:pPr>
          <a:r>
            <a:rPr lang="de-DE" sz="1000" kern="1200" dirty="0"/>
            <a:t>Papierakte und Mikrofilme (CAR Verfahren oder Mikrofiche(</a:t>
          </a:r>
          <a:r>
            <a:rPr lang="de-DE" sz="1000" kern="1200" dirty="0" err="1"/>
            <a:t>Jacket</a:t>
          </a:r>
          <a:r>
            <a:rPr lang="de-DE" sz="1000" kern="1200" dirty="0"/>
            <a:t>))</a:t>
          </a:r>
        </a:p>
      </dsp:txBody>
      <dsp:txXfrm>
        <a:off x="42294" y="1435270"/>
        <a:ext cx="1359441" cy="1764958"/>
      </dsp:txXfrm>
    </dsp:sp>
    <dsp:sp modelId="{56BAE95D-D01B-45D0-ACEE-E08FFE94FA9D}">
      <dsp:nvSpPr>
        <dsp:cNvPr id="0" name=""/>
        <dsp:cNvSpPr/>
      </dsp:nvSpPr>
      <dsp:spPr>
        <a:xfrm>
          <a:off x="1588432" y="2138690"/>
          <a:ext cx="306134" cy="358119"/>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de-DE" sz="800" kern="1200"/>
        </a:p>
      </dsp:txBody>
      <dsp:txXfrm>
        <a:off x="1588432" y="2210314"/>
        <a:ext cx="214294" cy="214871"/>
      </dsp:txXfrm>
    </dsp:sp>
    <dsp:sp modelId="{DF2FB6A3-0A25-4BA9-80BB-C03BC8B2CD4A}">
      <dsp:nvSpPr>
        <dsp:cNvPr id="0" name=""/>
        <dsp:cNvSpPr/>
      </dsp:nvSpPr>
      <dsp:spPr>
        <a:xfrm>
          <a:off x="2021641" y="1392976"/>
          <a:ext cx="1444029" cy="1849546"/>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de-DE" sz="1000" kern="1200" dirty="0"/>
            <a:t>1994</a:t>
          </a:r>
        </a:p>
        <a:p>
          <a:pPr marL="0" lvl="0" indent="0" algn="ctr" defTabSz="444500">
            <a:lnSpc>
              <a:spcPct val="90000"/>
            </a:lnSpc>
            <a:spcBef>
              <a:spcPct val="0"/>
            </a:spcBef>
            <a:spcAft>
              <a:spcPct val="35000"/>
            </a:spcAft>
            <a:buNone/>
          </a:pPr>
          <a:r>
            <a:rPr lang="de-DE" sz="1000" kern="1200" dirty="0"/>
            <a:t>Mainframe und Novell / Windows NT Netze mit ersten Desktop Anwendungen</a:t>
          </a:r>
        </a:p>
        <a:p>
          <a:pPr marL="0" lvl="0" indent="0" algn="ctr" defTabSz="444500">
            <a:lnSpc>
              <a:spcPct val="90000"/>
            </a:lnSpc>
            <a:spcBef>
              <a:spcPct val="0"/>
            </a:spcBef>
            <a:spcAft>
              <a:spcPct val="35000"/>
            </a:spcAft>
            <a:buNone/>
          </a:pPr>
          <a:r>
            <a:rPr lang="de-DE" sz="1000" kern="1200" dirty="0"/>
            <a:t>+ Papierakte und Mikrofilme – Scannen vom Mikrofilm </a:t>
          </a:r>
        </a:p>
      </dsp:txBody>
      <dsp:txXfrm>
        <a:off x="2063935" y="1435270"/>
        <a:ext cx="1359441" cy="1764958"/>
      </dsp:txXfrm>
    </dsp:sp>
    <dsp:sp modelId="{8B597212-8A54-43D2-A625-DB42727FD1A9}">
      <dsp:nvSpPr>
        <dsp:cNvPr id="0" name=""/>
        <dsp:cNvSpPr/>
      </dsp:nvSpPr>
      <dsp:spPr>
        <a:xfrm>
          <a:off x="3610074" y="2138690"/>
          <a:ext cx="306134" cy="358119"/>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de-DE" sz="800" kern="1200"/>
        </a:p>
      </dsp:txBody>
      <dsp:txXfrm>
        <a:off x="3610074" y="2210314"/>
        <a:ext cx="214294" cy="214871"/>
      </dsp:txXfrm>
    </dsp:sp>
    <dsp:sp modelId="{54694F69-5934-46F5-A899-46BC95EC114F}">
      <dsp:nvSpPr>
        <dsp:cNvPr id="0" name=""/>
        <dsp:cNvSpPr/>
      </dsp:nvSpPr>
      <dsp:spPr>
        <a:xfrm>
          <a:off x="4043282" y="1392976"/>
          <a:ext cx="1444029" cy="1849546"/>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de-DE" sz="1000" kern="1200" dirty="0"/>
            <a:t>1998</a:t>
          </a:r>
        </a:p>
        <a:p>
          <a:pPr marL="0" lvl="0" indent="0" algn="ctr" defTabSz="444500">
            <a:lnSpc>
              <a:spcPct val="90000"/>
            </a:lnSpc>
            <a:spcBef>
              <a:spcPct val="0"/>
            </a:spcBef>
            <a:spcAft>
              <a:spcPct val="35000"/>
            </a:spcAft>
            <a:buNone/>
          </a:pPr>
          <a:r>
            <a:rPr lang="de-DE" sz="1000" kern="1200" dirty="0"/>
            <a:t>Windows Anwendungen mit lokalen Netzen setzen sich langsam durch – HL7 Kommunikationsserver verbreiten sich</a:t>
          </a:r>
        </a:p>
        <a:p>
          <a:pPr marL="0" lvl="0" indent="0" algn="ctr" defTabSz="444500">
            <a:lnSpc>
              <a:spcPct val="90000"/>
            </a:lnSpc>
            <a:spcBef>
              <a:spcPct val="0"/>
            </a:spcBef>
            <a:spcAft>
              <a:spcPct val="35000"/>
            </a:spcAft>
            <a:buNone/>
          </a:pPr>
          <a:r>
            <a:rPr lang="de-DE" sz="1000" kern="1200" dirty="0"/>
            <a:t>+ Papierakte und Mikrofilme sowie hybrides Scannen in s/w</a:t>
          </a:r>
        </a:p>
      </dsp:txBody>
      <dsp:txXfrm>
        <a:off x="4085576" y="1435270"/>
        <a:ext cx="1359441" cy="1764958"/>
      </dsp:txXfrm>
    </dsp:sp>
    <dsp:sp modelId="{87208AC3-2C39-414C-957A-34F513AD372F}">
      <dsp:nvSpPr>
        <dsp:cNvPr id="0" name=""/>
        <dsp:cNvSpPr/>
      </dsp:nvSpPr>
      <dsp:spPr>
        <a:xfrm>
          <a:off x="5631715" y="2138690"/>
          <a:ext cx="306134" cy="358119"/>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de-DE" sz="800" kern="1200"/>
        </a:p>
      </dsp:txBody>
      <dsp:txXfrm>
        <a:off x="5631715" y="2210314"/>
        <a:ext cx="214294" cy="214871"/>
      </dsp:txXfrm>
    </dsp:sp>
    <dsp:sp modelId="{678005FF-560E-4EB3-A3F3-590C809EFF73}">
      <dsp:nvSpPr>
        <dsp:cNvPr id="0" name=""/>
        <dsp:cNvSpPr/>
      </dsp:nvSpPr>
      <dsp:spPr>
        <a:xfrm>
          <a:off x="6064924" y="1392976"/>
          <a:ext cx="1444029" cy="1849546"/>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de-DE" sz="1000" kern="1200" dirty="0"/>
            <a:t>2002 </a:t>
          </a:r>
          <a:br>
            <a:rPr lang="de-DE" sz="1000" kern="1200" dirty="0"/>
          </a:br>
          <a:r>
            <a:rPr lang="de-DE" sz="1000" kern="1200" dirty="0"/>
            <a:t>Die Abrechnungssysteme stellen erste digitale Dokumente (WORD, PMD, Drucklisten…) bereit. + hybrides Scannen setzt sich durch aber viele </a:t>
          </a:r>
          <a:r>
            <a:rPr lang="de-DE" sz="1000" kern="1200" dirty="0" err="1"/>
            <a:t>KH´s</a:t>
          </a:r>
          <a:r>
            <a:rPr lang="de-DE" sz="1000" kern="1200" dirty="0"/>
            <a:t> archivieren auf Papier.</a:t>
          </a:r>
        </a:p>
      </dsp:txBody>
      <dsp:txXfrm>
        <a:off x="6107218" y="1435270"/>
        <a:ext cx="1359441" cy="1764958"/>
      </dsp:txXfrm>
    </dsp:sp>
    <dsp:sp modelId="{E0AE5542-8EFD-4FDC-90CA-CA346FC7029B}">
      <dsp:nvSpPr>
        <dsp:cNvPr id="0" name=""/>
        <dsp:cNvSpPr/>
      </dsp:nvSpPr>
      <dsp:spPr>
        <a:xfrm>
          <a:off x="7653357" y="2138690"/>
          <a:ext cx="306134" cy="358119"/>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de-DE" sz="800" kern="1200"/>
        </a:p>
      </dsp:txBody>
      <dsp:txXfrm>
        <a:off x="7653357" y="2210314"/>
        <a:ext cx="214294" cy="214871"/>
      </dsp:txXfrm>
    </dsp:sp>
    <dsp:sp modelId="{D6CEF1A2-02B5-40CD-AE5A-D0DB9B2E3B4E}">
      <dsp:nvSpPr>
        <dsp:cNvPr id="0" name=""/>
        <dsp:cNvSpPr/>
      </dsp:nvSpPr>
      <dsp:spPr>
        <a:xfrm>
          <a:off x="8086565" y="1392976"/>
          <a:ext cx="1444029" cy="1849546"/>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de-DE" sz="1000" kern="1200" dirty="0"/>
            <a:t>2005 </a:t>
          </a:r>
          <a:br>
            <a:rPr lang="de-DE" sz="1000" kern="1200" dirty="0"/>
          </a:br>
          <a:r>
            <a:rPr lang="de-DE" sz="1000" kern="1200" dirty="0"/>
            <a:t>erste Klinische Systeme übermitteln auch Dokumente über HL7 und proprietäre Schnittstellen </a:t>
          </a:r>
          <a:br>
            <a:rPr lang="de-DE" sz="1000" kern="1200" dirty="0"/>
          </a:br>
          <a:r>
            <a:rPr lang="de-DE" sz="1000" kern="1200" dirty="0"/>
            <a:t>+ erste Krankenhäuser archivieren digital und nur noch die Papierakten hybrid – erste Experimente mit digitalen Signaturen</a:t>
          </a:r>
        </a:p>
      </dsp:txBody>
      <dsp:txXfrm>
        <a:off x="8128859" y="1435270"/>
        <a:ext cx="1359441" cy="1764958"/>
      </dsp:txXfrm>
    </dsp:sp>
    <dsp:sp modelId="{70075D7F-379C-48C4-85E8-279D085B9C4C}">
      <dsp:nvSpPr>
        <dsp:cNvPr id="0" name=""/>
        <dsp:cNvSpPr/>
      </dsp:nvSpPr>
      <dsp:spPr>
        <a:xfrm>
          <a:off x="9674998" y="2138690"/>
          <a:ext cx="306134" cy="358119"/>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de-DE" sz="800" kern="1200"/>
        </a:p>
      </dsp:txBody>
      <dsp:txXfrm>
        <a:off x="9674998" y="2210314"/>
        <a:ext cx="214294" cy="214871"/>
      </dsp:txXfrm>
    </dsp:sp>
    <dsp:sp modelId="{CC3FEF77-715B-4CD9-9C3D-54671135BE7D}">
      <dsp:nvSpPr>
        <dsp:cNvPr id="0" name=""/>
        <dsp:cNvSpPr/>
      </dsp:nvSpPr>
      <dsp:spPr>
        <a:xfrm>
          <a:off x="10108207" y="1392976"/>
          <a:ext cx="1444029" cy="1849546"/>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de-DE" sz="1000" kern="1200" dirty="0"/>
            <a:t>2007</a:t>
          </a:r>
          <a:br>
            <a:rPr lang="de-DE" sz="1000" kern="1200" dirty="0"/>
          </a:br>
          <a:r>
            <a:rPr lang="de-DE" sz="1000" kern="1200" dirty="0"/>
            <a:t>enge Einbindung der ECM Systeme in die KIS Systeme – mehr und mehr digitale Datenübernahmen als Dokumente + Die Speichersysteme werden Revisionssicher (WORM etc. Problem ILM)</a:t>
          </a:r>
        </a:p>
      </dsp:txBody>
      <dsp:txXfrm>
        <a:off x="10150501" y="1435270"/>
        <a:ext cx="1359441" cy="176495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A738A9B-8489-474C-A676-3E620FB0984B}">
      <dsp:nvSpPr>
        <dsp:cNvPr id="0" name=""/>
        <dsp:cNvSpPr/>
      </dsp:nvSpPr>
      <dsp:spPr>
        <a:xfrm>
          <a:off x="0" y="1273992"/>
          <a:ext cx="1444029" cy="2087514"/>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de-DE" sz="900" kern="1200" dirty="0"/>
            <a:t>2013</a:t>
          </a:r>
          <a:br>
            <a:rPr lang="de-DE" sz="900" kern="1200" dirty="0"/>
          </a:br>
          <a:r>
            <a:rPr lang="de-DE" sz="900" kern="1200" dirty="0"/>
            <a:t>Kontrolle der digitalen Datenübernahmen setzt sich immer mehr durch + Mittlerweile reine Scanlösungen ohne Mikrofilme, wenn ja dann nur noch als Backup. Zeitstempel werden eingesetzt – LTANS </a:t>
          </a:r>
          <a:br>
            <a:rPr lang="de-DE" sz="900" kern="1200" dirty="0"/>
          </a:br>
          <a:r>
            <a:rPr lang="de-DE" sz="900" kern="1200" dirty="0"/>
            <a:t>+</a:t>
          </a:r>
          <a:br>
            <a:rPr lang="de-DE" sz="900" kern="1200" dirty="0"/>
          </a:br>
          <a:r>
            <a:rPr lang="de-DE" sz="900" kern="1200" dirty="0"/>
            <a:t>IHE gewinnt mehr an Bedeutung</a:t>
          </a:r>
        </a:p>
      </dsp:txBody>
      <dsp:txXfrm>
        <a:off x="42294" y="1316286"/>
        <a:ext cx="1359441" cy="2002926"/>
      </dsp:txXfrm>
    </dsp:sp>
    <dsp:sp modelId="{56BAE95D-D01B-45D0-ACEE-E08FFE94FA9D}">
      <dsp:nvSpPr>
        <dsp:cNvPr id="0" name=""/>
        <dsp:cNvSpPr/>
      </dsp:nvSpPr>
      <dsp:spPr>
        <a:xfrm>
          <a:off x="1588432" y="2138690"/>
          <a:ext cx="306134" cy="358119"/>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11150">
            <a:lnSpc>
              <a:spcPct val="90000"/>
            </a:lnSpc>
            <a:spcBef>
              <a:spcPct val="0"/>
            </a:spcBef>
            <a:spcAft>
              <a:spcPct val="35000"/>
            </a:spcAft>
            <a:buNone/>
          </a:pPr>
          <a:endParaRPr lang="de-DE" sz="700" kern="1200"/>
        </a:p>
      </dsp:txBody>
      <dsp:txXfrm>
        <a:off x="1588432" y="2210314"/>
        <a:ext cx="214294" cy="214871"/>
      </dsp:txXfrm>
    </dsp:sp>
    <dsp:sp modelId="{DF2FB6A3-0A25-4BA9-80BB-C03BC8B2CD4A}">
      <dsp:nvSpPr>
        <dsp:cNvPr id="0" name=""/>
        <dsp:cNvSpPr/>
      </dsp:nvSpPr>
      <dsp:spPr>
        <a:xfrm>
          <a:off x="2021641" y="1273992"/>
          <a:ext cx="1444029" cy="2087514"/>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de-DE" sz="900" kern="1200" dirty="0"/>
            <a:t>2015</a:t>
          </a:r>
          <a:br>
            <a:rPr lang="de-DE" sz="900" kern="1200" dirty="0"/>
          </a:br>
          <a:r>
            <a:rPr lang="de-DE" sz="900" kern="1200" dirty="0"/>
            <a:t>Mit der zunehmenden Restrukturierung des Gesundheitswesens werden immer mehr Migrationspfade notwendig – Dokumente werden zunehmend digital gedacht und Information Lifecycle Management wird aufgrund der Löschanforderungen wichtig. </a:t>
          </a:r>
          <a:r>
            <a:rPr lang="de-DE" sz="900" kern="1200" dirty="0" err="1"/>
            <a:t>Kubernetes</a:t>
          </a:r>
          <a:r>
            <a:rPr lang="de-DE" sz="900" kern="1200" dirty="0"/>
            <a:t> wird erfunden.</a:t>
          </a:r>
        </a:p>
      </dsp:txBody>
      <dsp:txXfrm>
        <a:off x="2063935" y="1316286"/>
        <a:ext cx="1359441" cy="2002926"/>
      </dsp:txXfrm>
    </dsp:sp>
    <dsp:sp modelId="{8B597212-8A54-43D2-A625-DB42727FD1A9}">
      <dsp:nvSpPr>
        <dsp:cNvPr id="0" name=""/>
        <dsp:cNvSpPr/>
      </dsp:nvSpPr>
      <dsp:spPr>
        <a:xfrm>
          <a:off x="3610074" y="2138690"/>
          <a:ext cx="306134" cy="358119"/>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11150">
            <a:lnSpc>
              <a:spcPct val="90000"/>
            </a:lnSpc>
            <a:spcBef>
              <a:spcPct val="0"/>
            </a:spcBef>
            <a:spcAft>
              <a:spcPct val="35000"/>
            </a:spcAft>
            <a:buNone/>
          </a:pPr>
          <a:endParaRPr lang="de-DE" sz="700" kern="1200"/>
        </a:p>
      </dsp:txBody>
      <dsp:txXfrm>
        <a:off x="3610074" y="2210314"/>
        <a:ext cx="214294" cy="214871"/>
      </dsp:txXfrm>
    </dsp:sp>
    <dsp:sp modelId="{54694F69-5934-46F5-A899-46BC95EC114F}">
      <dsp:nvSpPr>
        <dsp:cNvPr id="0" name=""/>
        <dsp:cNvSpPr/>
      </dsp:nvSpPr>
      <dsp:spPr>
        <a:xfrm>
          <a:off x="4043282" y="1273992"/>
          <a:ext cx="1444029" cy="2087514"/>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de-DE" sz="900" kern="1200" dirty="0"/>
            <a:t>2018</a:t>
          </a:r>
        </a:p>
        <a:p>
          <a:pPr marL="0" lvl="0" indent="0" algn="ctr" defTabSz="400050">
            <a:lnSpc>
              <a:spcPct val="90000"/>
            </a:lnSpc>
            <a:spcBef>
              <a:spcPct val="0"/>
            </a:spcBef>
            <a:spcAft>
              <a:spcPct val="35000"/>
            </a:spcAft>
            <a:buNone/>
          </a:pPr>
          <a:r>
            <a:rPr lang="de-DE" sz="900" kern="1200" dirty="0"/>
            <a:t>DSGVO tritt in Kraft. Betriebssysteme haben sich bei Serverapplikationen entscheidend geändert – Linux tritt als </a:t>
          </a:r>
          <a:r>
            <a:rPr lang="de-DE" sz="900" kern="1200" dirty="0" err="1"/>
            <a:t>OpenSource</a:t>
          </a:r>
          <a:r>
            <a:rPr lang="de-DE" sz="900" kern="1200" dirty="0"/>
            <a:t> Lösung immer mehr in den Vordergrund -  Die Plattformgedanken entstehen weil immer mehr Daten rein digital archiviert werden. Webanwendungen treten in den Vordergrund.</a:t>
          </a:r>
        </a:p>
      </dsp:txBody>
      <dsp:txXfrm>
        <a:off x="4085576" y="1316286"/>
        <a:ext cx="1359441" cy="2002926"/>
      </dsp:txXfrm>
    </dsp:sp>
    <dsp:sp modelId="{87208AC3-2C39-414C-957A-34F513AD372F}">
      <dsp:nvSpPr>
        <dsp:cNvPr id="0" name=""/>
        <dsp:cNvSpPr/>
      </dsp:nvSpPr>
      <dsp:spPr>
        <a:xfrm>
          <a:off x="5631715" y="2138690"/>
          <a:ext cx="306134" cy="358119"/>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11150">
            <a:lnSpc>
              <a:spcPct val="90000"/>
            </a:lnSpc>
            <a:spcBef>
              <a:spcPct val="0"/>
            </a:spcBef>
            <a:spcAft>
              <a:spcPct val="35000"/>
            </a:spcAft>
            <a:buNone/>
          </a:pPr>
          <a:endParaRPr lang="de-DE" sz="700" kern="1200"/>
        </a:p>
      </dsp:txBody>
      <dsp:txXfrm>
        <a:off x="5631715" y="2210314"/>
        <a:ext cx="214294" cy="214871"/>
      </dsp:txXfrm>
    </dsp:sp>
    <dsp:sp modelId="{678005FF-560E-4EB3-A3F3-590C809EFF73}">
      <dsp:nvSpPr>
        <dsp:cNvPr id="0" name=""/>
        <dsp:cNvSpPr/>
      </dsp:nvSpPr>
      <dsp:spPr>
        <a:xfrm>
          <a:off x="6064924" y="1273992"/>
          <a:ext cx="1444029" cy="2087514"/>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de-DE" sz="900" kern="1200" dirty="0"/>
            <a:t>2020</a:t>
          </a:r>
          <a:br>
            <a:rPr lang="de-DE" sz="900" kern="1200" dirty="0"/>
          </a:br>
          <a:r>
            <a:rPr lang="de-DE" sz="900" kern="1200" dirty="0"/>
            <a:t>Fast alle KIS Anbieter stellen von Microsoft oder JAVA Client Server Anwendungen um auf Webtechnologie. Viele Klinische Dokumente  (z.B. Kurven) entstehen nur noch auf XML basierten Objekten. </a:t>
          </a:r>
          <a:br>
            <a:rPr lang="de-DE" sz="900" kern="1200" dirty="0"/>
          </a:br>
          <a:r>
            <a:rPr lang="de-DE" sz="900" kern="1200" dirty="0"/>
            <a:t>+</a:t>
          </a:r>
        </a:p>
        <a:p>
          <a:pPr marL="0" lvl="0" indent="0" algn="ctr" defTabSz="400050">
            <a:lnSpc>
              <a:spcPct val="90000"/>
            </a:lnSpc>
            <a:spcBef>
              <a:spcPct val="0"/>
            </a:spcBef>
            <a:spcAft>
              <a:spcPct val="35000"/>
            </a:spcAft>
            <a:buNone/>
          </a:pPr>
          <a:r>
            <a:rPr lang="de-DE" sz="900" kern="1200" dirty="0"/>
            <a:t>Rein digitale Archivierung gewinnt die Oberhand</a:t>
          </a:r>
        </a:p>
      </dsp:txBody>
      <dsp:txXfrm>
        <a:off x="6107218" y="1316286"/>
        <a:ext cx="1359441" cy="2002926"/>
      </dsp:txXfrm>
    </dsp:sp>
    <dsp:sp modelId="{E0AE5542-8EFD-4FDC-90CA-CA346FC7029B}">
      <dsp:nvSpPr>
        <dsp:cNvPr id="0" name=""/>
        <dsp:cNvSpPr/>
      </dsp:nvSpPr>
      <dsp:spPr>
        <a:xfrm>
          <a:off x="7653357" y="2138690"/>
          <a:ext cx="306134" cy="358119"/>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11150">
            <a:lnSpc>
              <a:spcPct val="90000"/>
            </a:lnSpc>
            <a:spcBef>
              <a:spcPct val="0"/>
            </a:spcBef>
            <a:spcAft>
              <a:spcPct val="35000"/>
            </a:spcAft>
            <a:buNone/>
          </a:pPr>
          <a:endParaRPr lang="de-DE" sz="700" kern="1200"/>
        </a:p>
      </dsp:txBody>
      <dsp:txXfrm>
        <a:off x="7653357" y="2210314"/>
        <a:ext cx="214294" cy="214871"/>
      </dsp:txXfrm>
    </dsp:sp>
    <dsp:sp modelId="{D6CEF1A2-02B5-40CD-AE5A-D0DB9B2E3B4E}">
      <dsp:nvSpPr>
        <dsp:cNvPr id="0" name=""/>
        <dsp:cNvSpPr/>
      </dsp:nvSpPr>
      <dsp:spPr>
        <a:xfrm>
          <a:off x="8086565" y="1273992"/>
          <a:ext cx="1444029" cy="2087514"/>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de-DE" sz="900" kern="1200" dirty="0"/>
            <a:t>2022</a:t>
          </a:r>
          <a:br>
            <a:rPr lang="de-DE" sz="900" kern="1200" dirty="0"/>
          </a:br>
          <a:r>
            <a:rPr lang="de-DE" sz="900" kern="1200" dirty="0"/>
            <a:t>Die digitalen Informationen werden zunehmend in Container gepackt und über IHE Strukturen oder die </a:t>
          </a:r>
          <a:r>
            <a:rPr lang="de-DE" sz="900" kern="1200" dirty="0" err="1"/>
            <a:t>ePA</a:t>
          </a:r>
          <a:r>
            <a:rPr lang="de-DE" sz="900" kern="1200" dirty="0"/>
            <a:t> verteilt</a:t>
          </a:r>
          <a:br>
            <a:rPr lang="de-DE" sz="900" kern="1200" dirty="0"/>
          </a:br>
          <a:r>
            <a:rPr lang="de-DE" sz="900" kern="1200" dirty="0"/>
            <a:t>+</a:t>
          </a:r>
          <a:br>
            <a:rPr lang="de-DE" sz="900" kern="1200" dirty="0"/>
          </a:br>
          <a:r>
            <a:rPr lang="de-DE" sz="900" kern="1200" dirty="0"/>
            <a:t>die digitalen Datenobjekte müssen dem Recht des Augenscheins entsprechen.</a:t>
          </a:r>
        </a:p>
        <a:p>
          <a:pPr marL="0" lvl="0" indent="0" algn="ctr" defTabSz="400050">
            <a:lnSpc>
              <a:spcPct val="90000"/>
            </a:lnSpc>
            <a:spcBef>
              <a:spcPct val="0"/>
            </a:spcBef>
            <a:spcAft>
              <a:spcPct val="35000"/>
            </a:spcAft>
            <a:buNone/>
          </a:pPr>
          <a:r>
            <a:rPr lang="de-DE" sz="900" kern="1200" dirty="0"/>
            <a:t>FHIR als neuen Kommunikation erlaubt Direktanbindungen.</a:t>
          </a:r>
        </a:p>
      </dsp:txBody>
      <dsp:txXfrm>
        <a:off x="8128859" y="1316286"/>
        <a:ext cx="1359441" cy="2002926"/>
      </dsp:txXfrm>
    </dsp:sp>
    <dsp:sp modelId="{70075D7F-379C-48C4-85E8-279D085B9C4C}">
      <dsp:nvSpPr>
        <dsp:cNvPr id="0" name=""/>
        <dsp:cNvSpPr/>
      </dsp:nvSpPr>
      <dsp:spPr>
        <a:xfrm>
          <a:off x="9674998" y="2138690"/>
          <a:ext cx="306134" cy="358119"/>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11150">
            <a:lnSpc>
              <a:spcPct val="90000"/>
            </a:lnSpc>
            <a:spcBef>
              <a:spcPct val="0"/>
            </a:spcBef>
            <a:spcAft>
              <a:spcPct val="35000"/>
            </a:spcAft>
            <a:buNone/>
          </a:pPr>
          <a:endParaRPr lang="de-DE" sz="700" kern="1200"/>
        </a:p>
      </dsp:txBody>
      <dsp:txXfrm>
        <a:off x="9674998" y="2210314"/>
        <a:ext cx="214294" cy="214871"/>
      </dsp:txXfrm>
    </dsp:sp>
    <dsp:sp modelId="{CC3FEF77-715B-4CD9-9C3D-54671135BE7D}">
      <dsp:nvSpPr>
        <dsp:cNvPr id="0" name=""/>
        <dsp:cNvSpPr/>
      </dsp:nvSpPr>
      <dsp:spPr>
        <a:xfrm>
          <a:off x="10108207" y="1273992"/>
          <a:ext cx="1444029" cy="2087514"/>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de-DE" sz="900" kern="1200" dirty="0"/>
            <a:t>2023</a:t>
          </a:r>
          <a:br>
            <a:rPr lang="de-DE" sz="900" kern="1200" dirty="0"/>
          </a:br>
          <a:r>
            <a:rPr lang="de-DE" sz="900" kern="1200" dirty="0"/>
            <a:t>erste KIS Systeme sind als </a:t>
          </a:r>
          <a:r>
            <a:rPr lang="de-DE" sz="900" kern="1200" dirty="0" err="1"/>
            <a:t>Kubernetes</a:t>
          </a:r>
          <a:r>
            <a:rPr lang="de-DE" sz="900" kern="1200" dirty="0"/>
            <a:t> basierende Lösungen </a:t>
          </a:r>
          <a:r>
            <a:rPr lang="de-DE" sz="900" kern="1200" dirty="0" err="1"/>
            <a:t>distribuierbar</a:t>
          </a:r>
          <a:r>
            <a:rPr lang="de-DE" sz="900" kern="1200" dirty="0"/>
            <a:t>.</a:t>
          </a:r>
        </a:p>
        <a:p>
          <a:pPr marL="0" lvl="0" indent="0" algn="ctr" defTabSz="400050">
            <a:lnSpc>
              <a:spcPct val="90000"/>
            </a:lnSpc>
            <a:spcBef>
              <a:spcPct val="0"/>
            </a:spcBef>
            <a:spcAft>
              <a:spcPct val="35000"/>
            </a:spcAft>
            <a:buNone/>
          </a:pPr>
          <a:r>
            <a:rPr lang="de-DE" sz="900" kern="1200" dirty="0"/>
            <a:t>+</a:t>
          </a:r>
        </a:p>
        <a:p>
          <a:pPr marL="0" lvl="0" indent="0" algn="ctr" defTabSz="400050">
            <a:lnSpc>
              <a:spcPct val="90000"/>
            </a:lnSpc>
            <a:spcBef>
              <a:spcPct val="0"/>
            </a:spcBef>
            <a:spcAft>
              <a:spcPct val="35000"/>
            </a:spcAft>
            <a:buNone/>
          </a:pPr>
          <a:r>
            <a:rPr lang="de-DE" sz="900" kern="1200" dirty="0"/>
            <a:t>Intersektorale Konzepte mit IHE Plattformen  werden immer wichtiger aufgrund des politisch gewünschten Strukturwandels im Gesundheitswesen.</a:t>
          </a:r>
        </a:p>
      </dsp:txBody>
      <dsp:txXfrm>
        <a:off x="10150501" y="1316286"/>
        <a:ext cx="1359441" cy="200292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F176820-70D4-46B2-9FDD-5B3A98CD721C}">
      <dsp:nvSpPr>
        <dsp:cNvPr id="0" name=""/>
        <dsp:cNvSpPr/>
      </dsp:nvSpPr>
      <dsp:spPr>
        <a:xfrm>
          <a:off x="868" y="0"/>
          <a:ext cx="2257226" cy="4551810"/>
        </a:xfrm>
        <a:prstGeom prst="roundRect">
          <a:avLst>
            <a:gd name="adj" fmla="val 10000"/>
          </a:avLst>
        </a:prstGeom>
        <a:solidFill>
          <a:schemeClr val="accent1">
            <a:tint val="40000"/>
            <a:hueOff val="0"/>
            <a:satOff val="0"/>
            <a:lumOff val="0"/>
            <a:alphaOff val="0"/>
          </a:schemeClr>
        </a:solidFill>
        <a:ln>
          <a:noFill/>
        </a:ln>
        <a:effectLst/>
        <a:scene3d>
          <a:camera prst="orthographicFront"/>
          <a:lightRig rig="chilly" dir="t"/>
        </a:scene3d>
        <a:sp3d z="-12700" extrusionH="1700" prstMaterial="translucentPowder">
          <a:bevelT w="25400" h="6350" prst="softRound"/>
          <a:bevelB w="0" h="0" prst="convex"/>
        </a:sp3d>
      </dsp:spPr>
      <dsp:style>
        <a:lnRef idx="0">
          <a:scrgbClr r="0" g="0" b="0"/>
        </a:lnRef>
        <a:fillRef idx="1">
          <a:scrgbClr r="0" g="0" b="0"/>
        </a:fillRef>
        <a:effectRef idx="0">
          <a:scrgbClr r="0" g="0" b="0"/>
        </a:effectRef>
        <a:fontRef idx="minor"/>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de-DE" sz="2200" kern="1200" dirty="0"/>
            <a:t>Ärzte</a:t>
          </a:r>
        </a:p>
      </dsp:txBody>
      <dsp:txXfrm>
        <a:off x="868" y="0"/>
        <a:ext cx="2257226" cy="1365543"/>
      </dsp:txXfrm>
    </dsp:sp>
    <dsp:sp modelId="{5BC812A1-6752-43E8-95E9-1D4509CF260A}">
      <dsp:nvSpPr>
        <dsp:cNvPr id="0" name=""/>
        <dsp:cNvSpPr/>
      </dsp:nvSpPr>
      <dsp:spPr>
        <a:xfrm>
          <a:off x="226590" y="1366876"/>
          <a:ext cx="1805781" cy="1372432"/>
        </a:xfrm>
        <a:prstGeom prst="roundRect">
          <a:avLst>
            <a:gd name="adj" fmla="val 10000"/>
          </a:avLst>
        </a:prstGeom>
        <a:solidFill>
          <a:schemeClr val="accent1">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0640" tIns="30480" rIns="40640" bIns="30480" numCol="1" spcCol="1270" anchor="ctr" anchorCtr="0">
          <a:noAutofit/>
        </a:bodyPr>
        <a:lstStyle/>
        <a:p>
          <a:pPr marL="0" lvl="0" indent="0" algn="ctr" defTabSz="711200">
            <a:lnSpc>
              <a:spcPct val="90000"/>
            </a:lnSpc>
            <a:spcBef>
              <a:spcPct val="0"/>
            </a:spcBef>
            <a:spcAft>
              <a:spcPct val="35000"/>
            </a:spcAft>
            <a:buNone/>
          </a:pPr>
          <a:r>
            <a:rPr lang="de-DE" sz="1600" kern="1200" dirty="0"/>
            <a:t>Hausarzt</a:t>
          </a:r>
        </a:p>
      </dsp:txBody>
      <dsp:txXfrm>
        <a:off x="266787" y="1407073"/>
        <a:ext cx="1725387" cy="1292038"/>
      </dsp:txXfrm>
    </dsp:sp>
    <dsp:sp modelId="{716409B1-C3A4-4905-B45A-4287314589EC}">
      <dsp:nvSpPr>
        <dsp:cNvPr id="0" name=""/>
        <dsp:cNvSpPr/>
      </dsp:nvSpPr>
      <dsp:spPr>
        <a:xfrm>
          <a:off x="226590" y="2950453"/>
          <a:ext cx="1805781" cy="1372432"/>
        </a:xfrm>
        <a:prstGeom prst="roundRect">
          <a:avLst>
            <a:gd name="adj" fmla="val 10000"/>
          </a:avLst>
        </a:prstGeom>
        <a:solidFill>
          <a:schemeClr val="accent1">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0640" tIns="30480" rIns="40640" bIns="30480" numCol="1" spcCol="1270" anchor="ctr" anchorCtr="0">
          <a:noAutofit/>
        </a:bodyPr>
        <a:lstStyle/>
        <a:p>
          <a:pPr marL="0" lvl="0" indent="0" algn="ctr" defTabSz="711200">
            <a:lnSpc>
              <a:spcPct val="90000"/>
            </a:lnSpc>
            <a:spcBef>
              <a:spcPct val="0"/>
            </a:spcBef>
            <a:spcAft>
              <a:spcPct val="35000"/>
            </a:spcAft>
            <a:buNone/>
          </a:pPr>
          <a:r>
            <a:rPr lang="de-DE" sz="1600" kern="1200" dirty="0"/>
            <a:t>Facharzt</a:t>
          </a:r>
        </a:p>
      </dsp:txBody>
      <dsp:txXfrm>
        <a:off x="266787" y="2990650"/>
        <a:ext cx="1725387" cy="1292038"/>
      </dsp:txXfrm>
    </dsp:sp>
    <dsp:sp modelId="{D3EC3E9F-3F21-47DC-A037-FEF95C3EBF8C}">
      <dsp:nvSpPr>
        <dsp:cNvPr id="0" name=""/>
        <dsp:cNvSpPr/>
      </dsp:nvSpPr>
      <dsp:spPr>
        <a:xfrm>
          <a:off x="2427386" y="0"/>
          <a:ext cx="2257226" cy="4551810"/>
        </a:xfrm>
        <a:prstGeom prst="roundRect">
          <a:avLst>
            <a:gd name="adj" fmla="val 10000"/>
          </a:avLst>
        </a:prstGeom>
        <a:solidFill>
          <a:schemeClr val="accent1">
            <a:tint val="40000"/>
            <a:hueOff val="0"/>
            <a:satOff val="0"/>
            <a:lumOff val="0"/>
            <a:alphaOff val="0"/>
          </a:schemeClr>
        </a:solidFill>
        <a:ln>
          <a:noFill/>
        </a:ln>
        <a:effectLst/>
        <a:scene3d>
          <a:camera prst="orthographicFront"/>
          <a:lightRig rig="chilly" dir="t"/>
        </a:scene3d>
        <a:sp3d z="-12700" extrusionH="1700" prstMaterial="translucentPowder">
          <a:bevelT w="25400" h="6350" prst="softRound"/>
          <a:bevelB w="0" h="0" prst="convex"/>
        </a:sp3d>
      </dsp:spPr>
      <dsp:style>
        <a:lnRef idx="0">
          <a:scrgbClr r="0" g="0" b="0"/>
        </a:lnRef>
        <a:fillRef idx="1">
          <a:scrgbClr r="0" g="0" b="0"/>
        </a:fillRef>
        <a:effectRef idx="0">
          <a:scrgbClr r="0" g="0" b="0"/>
        </a:effectRef>
        <a:fontRef idx="minor"/>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de-DE" sz="2200" kern="1200" dirty="0"/>
            <a:t>Maximalversorger</a:t>
          </a:r>
        </a:p>
      </dsp:txBody>
      <dsp:txXfrm>
        <a:off x="2427386" y="0"/>
        <a:ext cx="2257226" cy="1365543"/>
      </dsp:txXfrm>
    </dsp:sp>
    <dsp:sp modelId="{B705A792-A61B-48AD-BFCF-2595AF36ADB7}">
      <dsp:nvSpPr>
        <dsp:cNvPr id="0" name=""/>
        <dsp:cNvSpPr/>
      </dsp:nvSpPr>
      <dsp:spPr>
        <a:xfrm>
          <a:off x="2653109" y="1366876"/>
          <a:ext cx="1805781" cy="1372432"/>
        </a:xfrm>
        <a:prstGeom prst="roundRect">
          <a:avLst>
            <a:gd name="adj" fmla="val 10000"/>
          </a:avLst>
        </a:prstGeom>
        <a:solidFill>
          <a:schemeClr val="accent1">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0640" tIns="30480" rIns="40640" bIns="30480" numCol="1" spcCol="1270" anchor="ctr" anchorCtr="0">
          <a:noAutofit/>
        </a:bodyPr>
        <a:lstStyle/>
        <a:p>
          <a:pPr marL="0" lvl="0" indent="0" algn="ctr" defTabSz="711200">
            <a:lnSpc>
              <a:spcPct val="90000"/>
            </a:lnSpc>
            <a:spcBef>
              <a:spcPct val="0"/>
            </a:spcBef>
            <a:spcAft>
              <a:spcPct val="35000"/>
            </a:spcAft>
            <a:buNone/>
          </a:pPr>
          <a:r>
            <a:rPr lang="de-DE" sz="1600" kern="1200" dirty="0"/>
            <a:t>Unikliniken</a:t>
          </a:r>
        </a:p>
      </dsp:txBody>
      <dsp:txXfrm>
        <a:off x="2693306" y="1407073"/>
        <a:ext cx="1725387" cy="1292038"/>
      </dsp:txXfrm>
    </dsp:sp>
    <dsp:sp modelId="{A5CA4110-2832-42FD-90DF-72D1E9C00929}">
      <dsp:nvSpPr>
        <dsp:cNvPr id="0" name=""/>
        <dsp:cNvSpPr/>
      </dsp:nvSpPr>
      <dsp:spPr>
        <a:xfrm>
          <a:off x="2653109" y="2950453"/>
          <a:ext cx="1805781" cy="1372432"/>
        </a:xfrm>
        <a:prstGeom prst="roundRect">
          <a:avLst>
            <a:gd name="adj" fmla="val 10000"/>
          </a:avLst>
        </a:prstGeom>
        <a:solidFill>
          <a:schemeClr val="accent1">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0640" tIns="30480" rIns="40640" bIns="30480" numCol="1" spcCol="1270" anchor="ctr" anchorCtr="0">
          <a:noAutofit/>
        </a:bodyPr>
        <a:lstStyle/>
        <a:p>
          <a:pPr marL="0" lvl="0" indent="0" algn="ctr" defTabSz="711200">
            <a:lnSpc>
              <a:spcPct val="90000"/>
            </a:lnSpc>
            <a:spcBef>
              <a:spcPct val="0"/>
            </a:spcBef>
            <a:spcAft>
              <a:spcPct val="35000"/>
            </a:spcAft>
            <a:buNone/>
          </a:pPr>
          <a:r>
            <a:rPr lang="de-DE" sz="1600" kern="1200" dirty="0"/>
            <a:t>Großkrankenhäuser &gt; 800 Betten</a:t>
          </a:r>
        </a:p>
      </dsp:txBody>
      <dsp:txXfrm>
        <a:off x="2693306" y="2990650"/>
        <a:ext cx="1725387" cy="1292038"/>
      </dsp:txXfrm>
    </dsp:sp>
    <dsp:sp modelId="{D0E8E866-2106-4D26-B004-B938F588F4FE}">
      <dsp:nvSpPr>
        <dsp:cNvPr id="0" name=""/>
        <dsp:cNvSpPr/>
      </dsp:nvSpPr>
      <dsp:spPr>
        <a:xfrm>
          <a:off x="4853905" y="0"/>
          <a:ext cx="2257226" cy="4551810"/>
        </a:xfrm>
        <a:prstGeom prst="roundRect">
          <a:avLst>
            <a:gd name="adj" fmla="val 10000"/>
          </a:avLst>
        </a:prstGeom>
        <a:solidFill>
          <a:schemeClr val="accent1">
            <a:tint val="40000"/>
            <a:hueOff val="0"/>
            <a:satOff val="0"/>
            <a:lumOff val="0"/>
            <a:alphaOff val="0"/>
          </a:schemeClr>
        </a:solidFill>
        <a:ln>
          <a:noFill/>
        </a:ln>
        <a:effectLst/>
        <a:scene3d>
          <a:camera prst="orthographicFront"/>
          <a:lightRig rig="chilly" dir="t"/>
        </a:scene3d>
        <a:sp3d z="-12700" extrusionH="1700" prstMaterial="translucentPowder">
          <a:bevelT w="25400" h="6350" prst="softRound"/>
          <a:bevelB w="0" h="0" prst="convex"/>
        </a:sp3d>
      </dsp:spPr>
      <dsp:style>
        <a:lnRef idx="0">
          <a:scrgbClr r="0" g="0" b="0"/>
        </a:lnRef>
        <a:fillRef idx="1">
          <a:scrgbClr r="0" g="0" b="0"/>
        </a:fillRef>
        <a:effectRef idx="0">
          <a:scrgbClr r="0" g="0" b="0"/>
        </a:effectRef>
        <a:fontRef idx="minor"/>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de-DE" sz="2200" kern="1200" dirty="0"/>
            <a:t>Krankenhäuser</a:t>
          </a:r>
        </a:p>
      </dsp:txBody>
      <dsp:txXfrm>
        <a:off x="4853905" y="0"/>
        <a:ext cx="2257226" cy="1365543"/>
      </dsp:txXfrm>
    </dsp:sp>
    <dsp:sp modelId="{C7279875-9598-4267-AE17-8B862EE63156}">
      <dsp:nvSpPr>
        <dsp:cNvPr id="0" name=""/>
        <dsp:cNvSpPr/>
      </dsp:nvSpPr>
      <dsp:spPr>
        <a:xfrm>
          <a:off x="5079627" y="1366876"/>
          <a:ext cx="1805781" cy="1372432"/>
        </a:xfrm>
        <a:prstGeom prst="roundRect">
          <a:avLst>
            <a:gd name="adj" fmla="val 10000"/>
          </a:avLst>
        </a:prstGeom>
        <a:solidFill>
          <a:schemeClr val="accent1">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0640" tIns="30480" rIns="40640" bIns="30480" numCol="1" spcCol="1270" anchor="ctr" anchorCtr="0">
          <a:noAutofit/>
        </a:bodyPr>
        <a:lstStyle/>
        <a:p>
          <a:pPr marL="0" lvl="0" indent="0" algn="ctr" defTabSz="711200">
            <a:lnSpc>
              <a:spcPct val="90000"/>
            </a:lnSpc>
            <a:spcBef>
              <a:spcPct val="0"/>
            </a:spcBef>
            <a:spcAft>
              <a:spcPct val="35000"/>
            </a:spcAft>
            <a:buNone/>
          </a:pPr>
          <a:r>
            <a:rPr lang="de-DE" sz="1600" kern="1200" dirty="0"/>
            <a:t>Kreis- und Stadtkliniken</a:t>
          </a:r>
        </a:p>
      </dsp:txBody>
      <dsp:txXfrm>
        <a:off x="5119824" y="1407073"/>
        <a:ext cx="1725387" cy="1292038"/>
      </dsp:txXfrm>
    </dsp:sp>
    <dsp:sp modelId="{7763DEA4-C809-4D84-B568-F28F8259C3FE}">
      <dsp:nvSpPr>
        <dsp:cNvPr id="0" name=""/>
        <dsp:cNvSpPr/>
      </dsp:nvSpPr>
      <dsp:spPr>
        <a:xfrm>
          <a:off x="5079627" y="2950453"/>
          <a:ext cx="1805781" cy="1372432"/>
        </a:xfrm>
        <a:prstGeom prst="roundRect">
          <a:avLst>
            <a:gd name="adj" fmla="val 10000"/>
          </a:avLst>
        </a:prstGeom>
        <a:solidFill>
          <a:schemeClr val="accent1">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0640" tIns="30480" rIns="40640" bIns="30480" numCol="1" spcCol="1270" anchor="ctr" anchorCtr="0">
          <a:noAutofit/>
        </a:bodyPr>
        <a:lstStyle/>
        <a:p>
          <a:pPr marL="0" lvl="0" indent="0" algn="ctr" defTabSz="711200">
            <a:lnSpc>
              <a:spcPct val="90000"/>
            </a:lnSpc>
            <a:spcBef>
              <a:spcPct val="0"/>
            </a:spcBef>
            <a:spcAft>
              <a:spcPct val="35000"/>
            </a:spcAft>
            <a:buNone/>
          </a:pPr>
          <a:r>
            <a:rPr lang="de-DE" sz="1600" kern="1200" dirty="0"/>
            <a:t>Privatkliniken und kirchliche Träger</a:t>
          </a:r>
        </a:p>
      </dsp:txBody>
      <dsp:txXfrm>
        <a:off x="5119824" y="2990650"/>
        <a:ext cx="1725387" cy="129203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C5EDBE9-5E7D-4412-91D4-3DC8E7540E13}">
      <dsp:nvSpPr>
        <dsp:cNvPr id="0" name=""/>
        <dsp:cNvSpPr/>
      </dsp:nvSpPr>
      <dsp:spPr>
        <a:xfrm>
          <a:off x="3793066" y="2438400"/>
          <a:ext cx="2980266" cy="2980266"/>
        </a:xfrm>
        <a:prstGeom prst="gear9">
          <a:avLst/>
        </a:prstGeom>
        <a:solidFill>
          <a:schemeClr val="accent1">
            <a:hueOff val="0"/>
            <a:satOff val="0"/>
            <a:lumOff val="0"/>
            <a:alphaOff val="0"/>
          </a:schemeClr>
        </a:solidFill>
        <a:ln>
          <a:noFill/>
        </a:ln>
        <a:effectLst/>
        <a:sp3d extrusionH="190500" prstMaterial="matte">
          <a:bevelT w="120650" h="38100" prst="relaxedInset"/>
          <a:bevelB w="120650" h="571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de-DE" sz="1500" kern="1200" dirty="0"/>
            <a:t>Maximalversorger</a:t>
          </a:r>
        </a:p>
        <a:p>
          <a:pPr marL="0" lvl="0" indent="0" algn="ctr" defTabSz="666750">
            <a:lnSpc>
              <a:spcPct val="90000"/>
            </a:lnSpc>
            <a:spcBef>
              <a:spcPct val="0"/>
            </a:spcBef>
            <a:spcAft>
              <a:spcPct val="35000"/>
            </a:spcAft>
            <a:buNone/>
          </a:pPr>
          <a:r>
            <a:rPr lang="de-DE" sz="1500" kern="1200" dirty="0"/>
            <a:t>Hauptkrankenhaus</a:t>
          </a:r>
        </a:p>
      </dsp:txBody>
      <dsp:txXfrm>
        <a:off x="4392232" y="3136513"/>
        <a:ext cx="1781934" cy="1531918"/>
      </dsp:txXfrm>
    </dsp:sp>
    <dsp:sp modelId="{ADD720BE-63AE-4E87-948C-176653611E4C}">
      <dsp:nvSpPr>
        <dsp:cNvPr id="0" name=""/>
        <dsp:cNvSpPr/>
      </dsp:nvSpPr>
      <dsp:spPr>
        <a:xfrm>
          <a:off x="2059093" y="1733973"/>
          <a:ext cx="2167466" cy="2167466"/>
        </a:xfrm>
        <a:prstGeom prst="gear6">
          <a:avLst/>
        </a:prstGeom>
        <a:solidFill>
          <a:schemeClr val="accent1">
            <a:hueOff val="0"/>
            <a:satOff val="0"/>
            <a:lumOff val="0"/>
            <a:alphaOff val="0"/>
          </a:schemeClr>
        </a:solidFill>
        <a:ln>
          <a:noFill/>
        </a:ln>
        <a:effectLst/>
        <a:sp3d extrusionH="190500" prstMaterial="matte">
          <a:bevelT w="120650" h="38100" prst="relaxedInset"/>
          <a:bevelB w="120650" h="571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de-DE" sz="1500" kern="1200" dirty="0"/>
            <a:t>Fachkranken</a:t>
          </a:r>
        </a:p>
        <a:p>
          <a:pPr marL="0" lvl="0" indent="0" algn="ctr" defTabSz="666750">
            <a:lnSpc>
              <a:spcPct val="90000"/>
            </a:lnSpc>
            <a:spcBef>
              <a:spcPct val="0"/>
            </a:spcBef>
            <a:spcAft>
              <a:spcPct val="35000"/>
            </a:spcAft>
            <a:buNone/>
          </a:pPr>
          <a:r>
            <a:rPr lang="de-DE" sz="1500" kern="1200" dirty="0"/>
            <a:t>haus</a:t>
          </a:r>
        </a:p>
      </dsp:txBody>
      <dsp:txXfrm>
        <a:off x="2604759" y="2282937"/>
        <a:ext cx="1076134" cy="1069538"/>
      </dsp:txXfrm>
    </dsp:sp>
    <dsp:sp modelId="{9E2C0AE7-0E61-4A34-A46A-22EC94CE922C}">
      <dsp:nvSpPr>
        <dsp:cNvPr id="0" name=""/>
        <dsp:cNvSpPr/>
      </dsp:nvSpPr>
      <dsp:spPr>
        <a:xfrm rot="20700000">
          <a:off x="3273095" y="238642"/>
          <a:ext cx="2123675" cy="2123675"/>
        </a:xfrm>
        <a:prstGeom prst="gear6">
          <a:avLst/>
        </a:prstGeom>
        <a:solidFill>
          <a:schemeClr val="accent1">
            <a:hueOff val="0"/>
            <a:satOff val="0"/>
            <a:lumOff val="0"/>
            <a:alphaOff val="0"/>
          </a:schemeClr>
        </a:solidFill>
        <a:ln>
          <a:noFill/>
        </a:ln>
        <a:effectLst/>
        <a:sp3d extrusionH="190500" prstMaterial="matte">
          <a:bevelT w="120650" h="38100" prst="relaxedInset"/>
          <a:bevelB w="120650" h="571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de-DE" sz="1500" kern="1200" dirty="0"/>
            <a:t>MVZ</a:t>
          </a:r>
        </a:p>
      </dsp:txBody>
      <dsp:txXfrm rot="-20700000">
        <a:off x="3738879" y="704426"/>
        <a:ext cx="1192106" cy="1192106"/>
      </dsp:txXfrm>
    </dsp:sp>
    <dsp:sp modelId="{AE271BFB-23EB-4A4B-9515-9F91070CE1A2}">
      <dsp:nvSpPr>
        <dsp:cNvPr id="0" name=""/>
        <dsp:cNvSpPr/>
      </dsp:nvSpPr>
      <dsp:spPr>
        <a:xfrm>
          <a:off x="3577577" y="1980864"/>
          <a:ext cx="3814741" cy="3814741"/>
        </a:xfrm>
        <a:prstGeom prst="circularArrow">
          <a:avLst>
            <a:gd name="adj1" fmla="val 4688"/>
            <a:gd name="adj2" fmla="val 299029"/>
            <a:gd name="adj3" fmla="val 2539295"/>
            <a:gd name="adj4" fmla="val 15812321"/>
            <a:gd name="adj5" fmla="val 5469"/>
          </a:avLst>
        </a:prstGeom>
        <a:solidFill>
          <a:schemeClr val="accent1">
            <a:tint val="60000"/>
            <a:hueOff val="0"/>
            <a:satOff val="0"/>
            <a:lumOff val="0"/>
            <a:alphaOff val="0"/>
          </a:schemeClr>
        </a:solidFill>
        <a:ln>
          <a:noFill/>
        </a:ln>
        <a:effectLst/>
        <a:sp3d z="-60000" extrusionH="63500" prstMaterial="matte">
          <a:bevelT w="50800" h="19050" prst="relaxedInset"/>
          <a:contourClr>
            <a:schemeClr val="bg1"/>
          </a:contourClr>
        </a:sp3d>
      </dsp:spPr>
      <dsp:style>
        <a:lnRef idx="0">
          <a:scrgbClr r="0" g="0" b="0"/>
        </a:lnRef>
        <a:fillRef idx="1">
          <a:scrgbClr r="0" g="0" b="0"/>
        </a:fillRef>
        <a:effectRef idx="2">
          <a:scrgbClr r="0" g="0" b="0"/>
        </a:effectRef>
        <a:fontRef idx="minor">
          <a:schemeClr val="lt1"/>
        </a:fontRef>
      </dsp:style>
    </dsp:sp>
    <dsp:sp modelId="{A33EE9E4-5B74-496E-B6F4-3D5CF5D4C04C}">
      <dsp:nvSpPr>
        <dsp:cNvPr id="0" name=""/>
        <dsp:cNvSpPr/>
      </dsp:nvSpPr>
      <dsp:spPr>
        <a:xfrm>
          <a:off x="1675238" y="1249140"/>
          <a:ext cx="2771648" cy="2771648"/>
        </a:xfrm>
        <a:prstGeom prst="leftCircularArrow">
          <a:avLst>
            <a:gd name="adj1" fmla="val 6452"/>
            <a:gd name="adj2" fmla="val 429999"/>
            <a:gd name="adj3" fmla="val 10489124"/>
            <a:gd name="adj4" fmla="val 14837806"/>
            <a:gd name="adj5" fmla="val 7527"/>
          </a:avLst>
        </a:prstGeom>
        <a:solidFill>
          <a:schemeClr val="accent1">
            <a:tint val="60000"/>
            <a:hueOff val="0"/>
            <a:satOff val="0"/>
            <a:lumOff val="0"/>
            <a:alphaOff val="0"/>
          </a:schemeClr>
        </a:solidFill>
        <a:ln>
          <a:noFill/>
        </a:ln>
        <a:effectLst/>
        <a:sp3d z="-60000" extrusionH="63500" prstMaterial="matte">
          <a:bevelT w="50800" h="19050" prst="relaxedInset"/>
          <a:contourClr>
            <a:schemeClr val="bg1"/>
          </a:contourClr>
        </a:sp3d>
      </dsp:spPr>
      <dsp:style>
        <a:lnRef idx="0">
          <a:scrgbClr r="0" g="0" b="0"/>
        </a:lnRef>
        <a:fillRef idx="1">
          <a:scrgbClr r="0" g="0" b="0"/>
        </a:fillRef>
        <a:effectRef idx="2">
          <a:scrgbClr r="0" g="0" b="0"/>
        </a:effectRef>
        <a:fontRef idx="minor">
          <a:schemeClr val="lt1"/>
        </a:fontRef>
      </dsp:style>
    </dsp:sp>
    <dsp:sp modelId="{3E2C5646-8D24-4AA9-9663-626C4FB33968}">
      <dsp:nvSpPr>
        <dsp:cNvPr id="0" name=""/>
        <dsp:cNvSpPr/>
      </dsp:nvSpPr>
      <dsp:spPr>
        <a:xfrm>
          <a:off x="2781867" y="-231776"/>
          <a:ext cx="2988394" cy="2988394"/>
        </a:xfrm>
        <a:prstGeom prst="circularArrow">
          <a:avLst>
            <a:gd name="adj1" fmla="val 5984"/>
            <a:gd name="adj2" fmla="val 394124"/>
            <a:gd name="adj3" fmla="val 13313824"/>
            <a:gd name="adj4" fmla="val 10508221"/>
            <a:gd name="adj5" fmla="val 6981"/>
          </a:avLst>
        </a:prstGeom>
        <a:solidFill>
          <a:schemeClr val="accent1">
            <a:tint val="60000"/>
            <a:hueOff val="0"/>
            <a:satOff val="0"/>
            <a:lumOff val="0"/>
            <a:alphaOff val="0"/>
          </a:schemeClr>
        </a:solidFill>
        <a:ln>
          <a:noFill/>
        </a:ln>
        <a:effectLst/>
        <a:sp3d z="-60000" extrusionH="63500" prstMaterial="matte">
          <a:bevelT w="50800" h="19050" prst="relaxedInset"/>
          <a:contourClr>
            <a:schemeClr val="bg1"/>
          </a:contourClr>
        </a:sp3d>
      </dsp:spPr>
      <dsp:style>
        <a:lnRef idx="0">
          <a:scrgbClr r="0" g="0" b="0"/>
        </a:lnRef>
        <a:fillRef idx="1">
          <a:scrgbClr r="0" g="0" b="0"/>
        </a:fillRef>
        <a:effectRef idx="2">
          <a:scrgbClr r="0" g="0" b="0"/>
        </a:effectRef>
        <a:fontRef idx="minor">
          <a:schemeClr val="lt1"/>
        </a:fontRef>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F655C8-248E-4CF0-80EE-42E54BE0BE99}">
      <dsp:nvSpPr>
        <dsp:cNvPr id="0" name=""/>
        <dsp:cNvSpPr/>
      </dsp:nvSpPr>
      <dsp:spPr>
        <a:xfrm>
          <a:off x="2870623" y="1174359"/>
          <a:ext cx="1435327" cy="1435327"/>
        </a:xfrm>
        <a:prstGeom prst="gear9">
          <a:avLst/>
        </a:prstGeom>
        <a:solidFill>
          <a:schemeClr val="accent1">
            <a:hueOff val="0"/>
            <a:satOff val="0"/>
            <a:lumOff val="0"/>
            <a:alphaOff val="0"/>
          </a:schemeClr>
        </a:solidFill>
        <a:ln>
          <a:noFill/>
        </a:ln>
        <a:effectLst/>
        <a:sp3d extrusionH="190500" prstMaterial="matte">
          <a:bevelT w="120650" h="38100" prst="relaxedInset"/>
          <a:bevelB w="120650" h="571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de-DE" sz="1100" kern="1200" dirty="0"/>
            <a:t>Hausarzt</a:t>
          </a:r>
        </a:p>
      </dsp:txBody>
      <dsp:txXfrm>
        <a:off x="3159188" y="1510577"/>
        <a:ext cx="858197" cy="737788"/>
      </dsp:txXfrm>
    </dsp:sp>
    <dsp:sp modelId="{8C549A58-0887-45E5-9692-5FB58C1F811D}">
      <dsp:nvSpPr>
        <dsp:cNvPr id="0" name=""/>
        <dsp:cNvSpPr/>
      </dsp:nvSpPr>
      <dsp:spPr>
        <a:xfrm>
          <a:off x="2035523" y="835099"/>
          <a:ext cx="1043874" cy="1043874"/>
        </a:xfrm>
        <a:prstGeom prst="gear6">
          <a:avLst/>
        </a:prstGeom>
        <a:solidFill>
          <a:schemeClr val="accent1">
            <a:hueOff val="0"/>
            <a:satOff val="0"/>
            <a:lumOff val="0"/>
            <a:alphaOff val="0"/>
          </a:schemeClr>
        </a:solidFill>
        <a:ln>
          <a:noFill/>
        </a:ln>
        <a:effectLst/>
        <a:sp3d extrusionH="190500" prstMaterial="matte">
          <a:bevelT w="120650" h="38100" prst="relaxedInset"/>
          <a:bevelB w="120650" h="571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de-DE" sz="1100" kern="1200" dirty="0"/>
            <a:t>Facharzt 1</a:t>
          </a:r>
        </a:p>
      </dsp:txBody>
      <dsp:txXfrm>
        <a:off x="2298321" y="1099486"/>
        <a:ext cx="518278" cy="515100"/>
      </dsp:txXfrm>
    </dsp:sp>
    <dsp:sp modelId="{BC3747B7-C2D0-4851-AE8E-0E78064226FE}">
      <dsp:nvSpPr>
        <dsp:cNvPr id="0" name=""/>
        <dsp:cNvSpPr/>
      </dsp:nvSpPr>
      <dsp:spPr>
        <a:xfrm rot="20700000">
          <a:off x="2620200" y="114932"/>
          <a:ext cx="1022784" cy="1022784"/>
        </a:xfrm>
        <a:prstGeom prst="gear6">
          <a:avLst/>
        </a:prstGeom>
        <a:solidFill>
          <a:schemeClr val="accent1">
            <a:hueOff val="0"/>
            <a:satOff val="0"/>
            <a:lumOff val="0"/>
            <a:alphaOff val="0"/>
          </a:schemeClr>
        </a:solidFill>
        <a:ln>
          <a:noFill/>
        </a:ln>
        <a:effectLst/>
        <a:sp3d extrusionH="190500" prstMaterial="matte">
          <a:bevelT w="120650" h="38100" prst="relaxedInset"/>
          <a:bevelB w="120650" h="571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de-DE" sz="1100" kern="1200" dirty="0"/>
            <a:t>Facharzt 2</a:t>
          </a:r>
        </a:p>
      </dsp:txBody>
      <dsp:txXfrm rot="-20700000">
        <a:off x="2844526" y="339259"/>
        <a:ext cx="574131" cy="574131"/>
      </dsp:txXfrm>
    </dsp:sp>
    <dsp:sp modelId="{6A33011A-D76D-4698-B405-93B255563D24}">
      <dsp:nvSpPr>
        <dsp:cNvPr id="0" name=""/>
        <dsp:cNvSpPr/>
      </dsp:nvSpPr>
      <dsp:spPr>
        <a:xfrm>
          <a:off x="2743752" y="966993"/>
          <a:ext cx="1837219" cy="1837219"/>
        </a:xfrm>
        <a:prstGeom prst="circularArrow">
          <a:avLst>
            <a:gd name="adj1" fmla="val 4688"/>
            <a:gd name="adj2" fmla="val 299029"/>
            <a:gd name="adj3" fmla="val 2460482"/>
            <a:gd name="adj4" fmla="val 15986916"/>
            <a:gd name="adj5" fmla="val 5469"/>
          </a:avLst>
        </a:prstGeom>
        <a:solidFill>
          <a:schemeClr val="accent1">
            <a:tint val="60000"/>
            <a:hueOff val="0"/>
            <a:satOff val="0"/>
            <a:lumOff val="0"/>
            <a:alphaOff val="0"/>
          </a:schemeClr>
        </a:solidFill>
        <a:ln>
          <a:noFill/>
        </a:ln>
        <a:effectLst/>
        <a:sp3d z="-60000" extrusionH="63500" prstMaterial="matte">
          <a:bevelT w="50800" h="19050" prst="relaxedInset"/>
          <a:contourClr>
            <a:schemeClr val="bg1"/>
          </a:contourClr>
        </a:sp3d>
      </dsp:spPr>
      <dsp:style>
        <a:lnRef idx="0">
          <a:scrgbClr r="0" g="0" b="0"/>
        </a:lnRef>
        <a:fillRef idx="1">
          <a:scrgbClr r="0" g="0" b="0"/>
        </a:fillRef>
        <a:effectRef idx="2">
          <a:scrgbClr r="0" g="0" b="0"/>
        </a:effectRef>
        <a:fontRef idx="minor">
          <a:schemeClr val="lt1"/>
        </a:fontRef>
      </dsp:style>
    </dsp:sp>
    <dsp:sp modelId="{3FB62F68-AB6D-46FC-9619-E0C7088C9596}">
      <dsp:nvSpPr>
        <dsp:cNvPr id="0" name=""/>
        <dsp:cNvSpPr/>
      </dsp:nvSpPr>
      <dsp:spPr>
        <a:xfrm>
          <a:off x="1850655" y="610930"/>
          <a:ext cx="1334854" cy="1334854"/>
        </a:xfrm>
        <a:prstGeom prst="leftCircularArrow">
          <a:avLst>
            <a:gd name="adj1" fmla="val 6452"/>
            <a:gd name="adj2" fmla="val 429999"/>
            <a:gd name="adj3" fmla="val 10489124"/>
            <a:gd name="adj4" fmla="val 14837806"/>
            <a:gd name="adj5" fmla="val 7527"/>
          </a:avLst>
        </a:prstGeom>
        <a:solidFill>
          <a:schemeClr val="accent1">
            <a:tint val="60000"/>
            <a:hueOff val="0"/>
            <a:satOff val="0"/>
            <a:lumOff val="0"/>
            <a:alphaOff val="0"/>
          </a:schemeClr>
        </a:solidFill>
        <a:ln>
          <a:noFill/>
        </a:ln>
        <a:effectLst/>
        <a:sp3d z="-60000" extrusionH="63500" prstMaterial="matte">
          <a:bevelT w="50800" h="19050" prst="relaxedInset"/>
          <a:contourClr>
            <a:schemeClr val="bg1"/>
          </a:contourClr>
        </a:sp3d>
      </dsp:spPr>
      <dsp:style>
        <a:lnRef idx="0">
          <a:scrgbClr r="0" g="0" b="0"/>
        </a:lnRef>
        <a:fillRef idx="1">
          <a:scrgbClr r="0" g="0" b="0"/>
        </a:fillRef>
        <a:effectRef idx="2">
          <a:scrgbClr r="0" g="0" b="0"/>
        </a:effectRef>
        <a:fontRef idx="minor">
          <a:schemeClr val="lt1"/>
        </a:fontRef>
      </dsp:style>
    </dsp:sp>
    <dsp:sp modelId="{ADF650F0-87EF-4802-B125-8C48A66BE87C}">
      <dsp:nvSpPr>
        <dsp:cNvPr id="0" name=""/>
        <dsp:cNvSpPr/>
      </dsp:nvSpPr>
      <dsp:spPr>
        <a:xfrm>
          <a:off x="2383619" y="-102295"/>
          <a:ext cx="1439242" cy="1439242"/>
        </a:xfrm>
        <a:prstGeom prst="circularArrow">
          <a:avLst>
            <a:gd name="adj1" fmla="val 5984"/>
            <a:gd name="adj2" fmla="val 394124"/>
            <a:gd name="adj3" fmla="val 13313824"/>
            <a:gd name="adj4" fmla="val 10508221"/>
            <a:gd name="adj5" fmla="val 6981"/>
          </a:avLst>
        </a:prstGeom>
        <a:solidFill>
          <a:schemeClr val="accent1">
            <a:tint val="60000"/>
            <a:hueOff val="0"/>
            <a:satOff val="0"/>
            <a:lumOff val="0"/>
            <a:alphaOff val="0"/>
          </a:schemeClr>
        </a:solidFill>
        <a:ln>
          <a:noFill/>
        </a:ln>
        <a:effectLst/>
        <a:sp3d z="-60000" extrusionH="63500" prstMaterial="matte">
          <a:bevelT w="50800" h="19050" prst="relaxedInset"/>
          <a:contourClr>
            <a:schemeClr val="bg1"/>
          </a:contourClr>
        </a:sp3d>
      </dsp:spPr>
      <dsp:style>
        <a:lnRef idx="0">
          <a:scrgbClr r="0" g="0" b="0"/>
        </a:lnRef>
        <a:fillRef idx="1">
          <a:scrgbClr r="0" g="0" b="0"/>
        </a:fillRef>
        <a:effectRef idx="2">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5.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9/2/quickstyle/3d8">
  <dgm:title val=""/>
  <dgm:desc val=""/>
  <dgm:catLst>
    <dgm:cat type="3D" pri="11800"/>
  </dgm:catLst>
  <dgm:scene3d>
    <a:camera prst="perspectiveHeroicExtremeRightFacing" zoom="82000">
      <a:rot lat="21300000" lon="20400000" rev="180000"/>
    </a:camera>
    <a:lightRig rig="morning" dir="t">
      <a:rot lat="0" lon="0" rev="20400000"/>
    </a:lightRig>
  </dgm:scene3d>
  <dgm:styleLbl name="node0">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lnNode1">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vennNode1">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tx1"/>
      </a:fontRef>
    </dgm:style>
  </dgm:styleLbl>
  <dgm:styleLbl name="alignNode1">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node3">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node4">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ImgPlace1">
    <dgm:scene3d>
      <a:camera prst="orthographicFront"/>
      <a:lightRig rig="threePt" dir="t"/>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dgm:scene3d>
    <dgm:sp3d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dgm:scene3d>
    <dgm:sp3d z="-30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dgm:scene3d>
    <dgm:sp3d z="-600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dgm:scene3d>
    <dgm:sp3d z="635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dgm:scene3d>
    <dgm:sp3d z="-1520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asst1">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asst2">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asst3">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1">
    <dgm:scene3d>
      <a:camera prst="orthographicFront"/>
      <a:lightRig rig="threePt" dir="t"/>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z="60000" prstMaterial="flat">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dgm:scene3d>
    <dgm:sp3d z="60000" prstMaterial="flat">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dgm:style>
  </dgm:styleLbl>
  <dgm:styleLbl name="conFgAcc1">
    <dgm:scene3d>
      <a:camera prst="orthographicFront"/>
      <a:lightRig rig="threePt" dir="t"/>
    </dgm:scene3d>
    <dgm:sp3d z="-152400" extrusionH="63500" prstMaterial="matte">
      <a:bevelT w="44450" h="6350" prst="relaxedInset"/>
      <a:contourClr>
        <a:schemeClr val="bg1"/>
      </a:contourClr>
    </dgm:sp3d>
    <dgm:txPr/>
    <dgm:style>
      <a:lnRef idx="0">
        <a:scrgbClr r="0" g="0" b="0"/>
      </a:lnRef>
      <a:fillRef idx="1">
        <a:scrgbClr r="0" g="0" b="0"/>
      </a:fillRef>
      <a:effectRef idx="0">
        <a:scrgbClr r="0" g="0" b="0"/>
      </a:effectRef>
      <a:fontRef idx="minor"/>
    </dgm:style>
  </dgm:styleLbl>
  <dgm:styleLbl name="alignAcc1">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dgm:style>
  </dgm:styleLbl>
  <dgm:styleLbl name="trAlignAcc1">
    <dgm:scene3d>
      <a:camera prst="orthographicFront"/>
      <a:lightRig rig="threePt" dir="t"/>
    </dgm:scene3d>
    <dgm:sp3d extrusionH="190500" prstMaterial="matte">
      <a:bevelT w="120650" h="38100"/>
      <a:bevelB w="120650" h="57150" prst="relaxedInset"/>
      <a:contourClr>
        <a:schemeClr val="bg1"/>
      </a:contourClr>
    </dgm:sp3d>
    <dgm:txPr/>
    <dgm:style>
      <a:lnRef idx="0">
        <a:scrgbClr r="0" g="0" b="0"/>
      </a:lnRef>
      <a:fillRef idx="1">
        <a:scrgbClr r="0" g="0" b="0"/>
      </a:fillRef>
      <a:effectRef idx="2">
        <a:scrgbClr r="0" g="0" b="0"/>
      </a:effectRef>
      <a:fontRef idx="minor"/>
    </dgm:style>
  </dgm:styleLbl>
  <dgm:styleLbl name="bgAcc1">
    <dgm:scene3d>
      <a:camera prst="orthographicFront"/>
      <a:lightRig rig="threePt" dir="t"/>
    </dgm:scene3d>
    <dgm:sp3d z="-152400" extrusionH="63500" prstMaterial="matte">
      <a:bevelT w="44450" h="6350" prst="relaxedInset"/>
      <a:contourClr>
        <a:schemeClr val="bg1"/>
      </a:contourClr>
    </dgm:sp3d>
    <dgm:txPr/>
    <dgm:style>
      <a:lnRef idx="0">
        <a:scrgbClr r="0" g="0" b="0"/>
      </a:lnRef>
      <a:fillRef idx="1">
        <a:scrgbClr r="0" g="0" b="0"/>
      </a:fillRef>
      <a:effectRef idx="0">
        <a:scrgbClr r="0" g="0" b="0"/>
      </a:effectRef>
      <a:fontRef idx="minor"/>
    </dgm:style>
  </dgm:styleLbl>
  <dgm:styleLbl name="solidFgAcc1">
    <dgm:scene3d>
      <a:camera prst="orthographicFront"/>
      <a:lightRig rig="threePt" dir="t"/>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dgm:style>
  </dgm:styleLbl>
  <dgm:styleLbl name="solidAlignAcc1">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dgm:style>
  </dgm:styleLbl>
  <dgm:styleLbl name="solidBgAcc1">
    <dgm:scene3d>
      <a:camera prst="orthographicFront"/>
      <a:lightRig rig="threePt" dir="t"/>
    </dgm:scene3d>
    <dgm:sp3d z="-152400" extrusionH="63500" prstMaterial="matte">
      <a:bevelT w="44450" h="6350" prst="relaxedInset"/>
      <a:contourClr>
        <a:schemeClr val="bg1"/>
      </a:contourClr>
    </dgm:sp3d>
    <dgm:txPr/>
    <dgm:style>
      <a:lnRef idx="0">
        <a:scrgbClr r="0" g="0" b="0"/>
      </a:lnRef>
      <a:fillRef idx="1">
        <a:scrgbClr r="0" g="0" b="0"/>
      </a:fillRef>
      <a:effectRef idx="0">
        <a:scrgbClr r="0" g="0" b="0"/>
      </a:effectRef>
      <a:fontRef idx="minor"/>
    </dgm:style>
  </dgm:styleLbl>
  <dgm:styleLbl name="fgAccFollowNode1">
    <dgm:scene3d>
      <a:camera prst="orthographicFront"/>
      <a:lightRig rig="threePt" dir="t"/>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AccFollowNode1">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dgm:style>
  </dgm:styleLbl>
  <dgm:styleLbl name="bgAccFollowNode1">
    <dgm:scene3d>
      <a:camera prst="orthographicFront"/>
      <a:lightRig rig="threePt" dir="t"/>
    </dgm:scene3d>
    <dgm:sp3d z="-152400" extrusionH="63500" prstMaterial="matte">
      <a:bevelT w="44450" h="6350" prst="relaxedInset"/>
      <a:contourClr>
        <a:schemeClr val="bg1"/>
      </a:contourClr>
    </dgm:sp3d>
    <dgm:txPr/>
    <dgm:style>
      <a:lnRef idx="0">
        <a:scrgbClr r="0" g="0" b="0"/>
      </a:lnRef>
      <a:fillRef idx="1">
        <a:scrgbClr r="0" g="0" b="0"/>
      </a:fillRef>
      <a:effectRef idx="2">
        <a:scrgbClr r="0" g="0" b="0"/>
      </a:effectRef>
      <a:fontRef idx="minor"/>
    </dgm:style>
  </dgm:styleLbl>
  <dgm:styleLbl name="fgAcc0">
    <dgm:scene3d>
      <a:camera prst="orthographicFront"/>
      <a:lightRig rig="threePt" dir="t"/>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fgAcc2">
    <dgm:scene3d>
      <a:camera prst="orthographicFront"/>
      <a:lightRig rig="threePt" dir="t"/>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fgAcc3">
    <dgm:scene3d>
      <a:camera prst="orthographicFront"/>
      <a:lightRig rig="threePt" dir="t"/>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fgAcc4">
    <dgm:scene3d>
      <a:camera prst="orthographicFront"/>
      <a:lightRig rig="threePt" dir="t"/>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bgShp">
    <dgm:scene3d>
      <a:camera prst="orthographicFront"/>
      <a:lightRig rig="threePt" dir="t"/>
    </dgm:scene3d>
    <dgm:sp3d z="-152400" extrusionH="63500" prstMaterial="matte">
      <a:bevelT w="44450" h="6350" prst="relaxedInset"/>
      <a:contourClr>
        <a:schemeClr val="bg1"/>
      </a:contourClr>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9/2/quickstyle/3d8">
  <dgm:title val=""/>
  <dgm:desc val=""/>
  <dgm:catLst>
    <dgm:cat type="3D" pri="11800"/>
  </dgm:catLst>
  <dgm:scene3d>
    <a:camera prst="perspectiveHeroicExtremeRightFacing" zoom="82000">
      <a:rot lat="21300000" lon="20400000" rev="180000"/>
    </a:camera>
    <a:lightRig rig="morning" dir="t">
      <a:rot lat="0" lon="0" rev="20400000"/>
    </a:lightRig>
  </dgm:scene3d>
  <dgm:styleLbl name="node0">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lnNode1">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vennNode1">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tx1"/>
      </a:fontRef>
    </dgm:style>
  </dgm:styleLbl>
  <dgm:styleLbl name="alignNode1">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node3">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node4">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ImgPlace1">
    <dgm:scene3d>
      <a:camera prst="orthographicFront"/>
      <a:lightRig rig="threePt" dir="t"/>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dgm:scene3d>
    <dgm:sp3d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dgm:scene3d>
    <dgm:sp3d z="-30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dgm:scene3d>
    <dgm:sp3d z="-600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dgm:scene3d>
    <dgm:sp3d z="635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dgm:scene3d>
    <dgm:sp3d z="-1520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asst1">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asst2">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asst3">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1">
    <dgm:scene3d>
      <a:camera prst="orthographicFront"/>
      <a:lightRig rig="threePt" dir="t"/>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z="60000" prstMaterial="flat">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dgm:scene3d>
    <dgm:sp3d z="60000" prstMaterial="flat">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dgm:style>
  </dgm:styleLbl>
  <dgm:styleLbl name="conFgAcc1">
    <dgm:scene3d>
      <a:camera prst="orthographicFront"/>
      <a:lightRig rig="threePt" dir="t"/>
    </dgm:scene3d>
    <dgm:sp3d z="-152400" extrusionH="63500" prstMaterial="matte">
      <a:bevelT w="44450" h="6350" prst="relaxedInset"/>
      <a:contourClr>
        <a:schemeClr val="bg1"/>
      </a:contourClr>
    </dgm:sp3d>
    <dgm:txPr/>
    <dgm:style>
      <a:lnRef idx="0">
        <a:scrgbClr r="0" g="0" b="0"/>
      </a:lnRef>
      <a:fillRef idx="1">
        <a:scrgbClr r="0" g="0" b="0"/>
      </a:fillRef>
      <a:effectRef idx="0">
        <a:scrgbClr r="0" g="0" b="0"/>
      </a:effectRef>
      <a:fontRef idx="minor"/>
    </dgm:style>
  </dgm:styleLbl>
  <dgm:styleLbl name="alignAcc1">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dgm:style>
  </dgm:styleLbl>
  <dgm:styleLbl name="trAlignAcc1">
    <dgm:scene3d>
      <a:camera prst="orthographicFront"/>
      <a:lightRig rig="threePt" dir="t"/>
    </dgm:scene3d>
    <dgm:sp3d extrusionH="190500" prstMaterial="matte">
      <a:bevelT w="120650" h="38100"/>
      <a:bevelB w="120650" h="57150" prst="relaxedInset"/>
      <a:contourClr>
        <a:schemeClr val="bg1"/>
      </a:contourClr>
    </dgm:sp3d>
    <dgm:txPr/>
    <dgm:style>
      <a:lnRef idx="0">
        <a:scrgbClr r="0" g="0" b="0"/>
      </a:lnRef>
      <a:fillRef idx="1">
        <a:scrgbClr r="0" g="0" b="0"/>
      </a:fillRef>
      <a:effectRef idx="2">
        <a:scrgbClr r="0" g="0" b="0"/>
      </a:effectRef>
      <a:fontRef idx="minor"/>
    </dgm:style>
  </dgm:styleLbl>
  <dgm:styleLbl name="bgAcc1">
    <dgm:scene3d>
      <a:camera prst="orthographicFront"/>
      <a:lightRig rig="threePt" dir="t"/>
    </dgm:scene3d>
    <dgm:sp3d z="-152400" extrusionH="63500" prstMaterial="matte">
      <a:bevelT w="44450" h="6350" prst="relaxedInset"/>
      <a:contourClr>
        <a:schemeClr val="bg1"/>
      </a:contourClr>
    </dgm:sp3d>
    <dgm:txPr/>
    <dgm:style>
      <a:lnRef idx="0">
        <a:scrgbClr r="0" g="0" b="0"/>
      </a:lnRef>
      <a:fillRef idx="1">
        <a:scrgbClr r="0" g="0" b="0"/>
      </a:fillRef>
      <a:effectRef idx="0">
        <a:scrgbClr r="0" g="0" b="0"/>
      </a:effectRef>
      <a:fontRef idx="minor"/>
    </dgm:style>
  </dgm:styleLbl>
  <dgm:styleLbl name="solidFgAcc1">
    <dgm:scene3d>
      <a:camera prst="orthographicFront"/>
      <a:lightRig rig="threePt" dir="t"/>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dgm:style>
  </dgm:styleLbl>
  <dgm:styleLbl name="solidAlignAcc1">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dgm:style>
  </dgm:styleLbl>
  <dgm:styleLbl name="solidBgAcc1">
    <dgm:scene3d>
      <a:camera prst="orthographicFront"/>
      <a:lightRig rig="threePt" dir="t"/>
    </dgm:scene3d>
    <dgm:sp3d z="-152400" extrusionH="63500" prstMaterial="matte">
      <a:bevelT w="44450" h="6350" prst="relaxedInset"/>
      <a:contourClr>
        <a:schemeClr val="bg1"/>
      </a:contourClr>
    </dgm:sp3d>
    <dgm:txPr/>
    <dgm:style>
      <a:lnRef idx="0">
        <a:scrgbClr r="0" g="0" b="0"/>
      </a:lnRef>
      <a:fillRef idx="1">
        <a:scrgbClr r="0" g="0" b="0"/>
      </a:fillRef>
      <a:effectRef idx="0">
        <a:scrgbClr r="0" g="0" b="0"/>
      </a:effectRef>
      <a:fontRef idx="minor"/>
    </dgm:style>
  </dgm:styleLbl>
  <dgm:styleLbl name="fgAccFollowNode1">
    <dgm:scene3d>
      <a:camera prst="orthographicFront"/>
      <a:lightRig rig="threePt" dir="t"/>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AccFollowNode1">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dgm:style>
  </dgm:styleLbl>
  <dgm:styleLbl name="bgAccFollowNode1">
    <dgm:scene3d>
      <a:camera prst="orthographicFront"/>
      <a:lightRig rig="threePt" dir="t"/>
    </dgm:scene3d>
    <dgm:sp3d z="-152400" extrusionH="63500" prstMaterial="matte">
      <a:bevelT w="44450" h="6350" prst="relaxedInset"/>
      <a:contourClr>
        <a:schemeClr val="bg1"/>
      </a:contourClr>
    </dgm:sp3d>
    <dgm:txPr/>
    <dgm:style>
      <a:lnRef idx="0">
        <a:scrgbClr r="0" g="0" b="0"/>
      </a:lnRef>
      <a:fillRef idx="1">
        <a:scrgbClr r="0" g="0" b="0"/>
      </a:fillRef>
      <a:effectRef idx="2">
        <a:scrgbClr r="0" g="0" b="0"/>
      </a:effectRef>
      <a:fontRef idx="minor"/>
    </dgm:style>
  </dgm:styleLbl>
  <dgm:styleLbl name="fgAcc0">
    <dgm:scene3d>
      <a:camera prst="orthographicFront"/>
      <a:lightRig rig="threePt" dir="t"/>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fgAcc2">
    <dgm:scene3d>
      <a:camera prst="orthographicFront"/>
      <a:lightRig rig="threePt" dir="t"/>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fgAcc3">
    <dgm:scene3d>
      <a:camera prst="orthographicFront"/>
      <a:lightRig rig="threePt" dir="t"/>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fgAcc4">
    <dgm:scene3d>
      <a:camera prst="orthographicFront"/>
      <a:lightRig rig="threePt" dir="t"/>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bgShp">
    <dgm:scene3d>
      <a:camera prst="orthographicFront"/>
      <a:lightRig rig="threePt" dir="t"/>
    </dgm:scene3d>
    <dgm:sp3d z="-152400" extrusionH="63500" prstMaterial="matte">
      <a:bevelT w="44450" h="6350" prst="relaxedInset"/>
      <a:contourClr>
        <a:schemeClr val="bg1"/>
      </a:contourClr>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Segnaposto intestazione 1">
            <a:extLst>
              <a:ext uri="{FF2B5EF4-FFF2-40B4-BE49-F238E27FC236}">
                <a16:creationId xmlns:a16="http://schemas.microsoft.com/office/drawing/2014/main" id="{35192A2E-7B03-D04A-AC77-7121298548F6}"/>
              </a:ext>
            </a:extLst>
          </p:cNvPr>
          <p:cNvSpPr>
            <a:spLocks noGrp="1"/>
          </p:cNvSpPr>
          <p:nvPr>
            <p:ph type="hdr" sz="quarter"/>
          </p:nvPr>
        </p:nvSpPr>
        <p:spPr>
          <a:xfrm>
            <a:off x="0" y="0"/>
            <a:ext cx="3078427" cy="513508"/>
          </a:xfrm>
          <a:prstGeom prst="rect">
            <a:avLst/>
          </a:prstGeom>
        </p:spPr>
        <p:txBody>
          <a:bodyPr vert="horz" lIns="99075" tIns="49538" rIns="99075" bIns="49538" rtlCol="0"/>
          <a:lstStyle>
            <a:lvl1pPr algn="l" eaLnBrk="1" fontAlgn="auto" hangingPunct="1">
              <a:spcBef>
                <a:spcPts val="0"/>
              </a:spcBef>
              <a:spcAft>
                <a:spcPts val="0"/>
              </a:spcAft>
              <a:defRPr sz="1300">
                <a:latin typeface="Montserrat Medium" pitchFamily="2" charset="77"/>
              </a:defRPr>
            </a:lvl1pPr>
          </a:lstStyle>
          <a:p>
            <a:pPr>
              <a:defRPr/>
            </a:pPr>
            <a:endParaRPr lang="it-IT"/>
          </a:p>
        </p:txBody>
      </p:sp>
      <p:sp>
        <p:nvSpPr>
          <p:cNvPr id="3" name="Segnaposto data 2">
            <a:extLst>
              <a:ext uri="{FF2B5EF4-FFF2-40B4-BE49-F238E27FC236}">
                <a16:creationId xmlns:a16="http://schemas.microsoft.com/office/drawing/2014/main" id="{82CEA613-9ADF-F54D-BAA4-06F96C99E0A7}"/>
              </a:ext>
            </a:extLst>
          </p:cNvPr>
          <p:cNvSpPr>
            <a:spLocks noGrp="1"/>
          </p:cNvSpPr>
          <p:nvPr>
            <p:ph type="dt" sz="quarter" idx="1"/>
          </p:nvPr>
        </p:nvSpPr>
        <p:spPr>
          <a:xfrm>
            <a:off x="4023992" y="0"/>
            <a:ext cx="3078427" cy="513508"/>
          </a:xfrm>
          <a:prstGeom prst="rect">
            <a:avLst/>
          </a:prstGeom>
        </p:spPr>
        <p:txBody>
          <a:bodyPr vert="horz" lIns="99075" tIns="49538" rIns="99075" bIns="49538" rtlCol="0"/>
          <a:lstStyle>
            <a:lvl1pPr algn="r" eaLnBrk="1" fontAlgn="auto" hangingPunct="1">
              <a:spcBef>
                <a:spcPts val="0"/>
              </a:spcBef>
              <a:spcAft>
                <a:spcPts val="0"/>
              </a:spcAft>
              <a:defRPr sz="1300">
                <a:latin typeface="Montserrat Medium" pitchFamily="2" charset="77"/>
              </a:defRPr>
            </a:lvl1pPr>
          </a:lstStyle>
          <a:p>
            <a:pPr>
              <a:defRPr/>
            </a:pPr>
            <a:fld id="{903FC7FE-252D-5143-A21D-47B7E1BE1659}" type="datetimeFigureOut">
              <a:rPr lang="it-IT"/>
              <a:pPr>
                <a:defRPr/>
              </a:pPr>
              <a:t>23/11/2023</a:t>
            </a:fld>
            <a:endParaRPr lang="it-IT"/>
          </a:p>
        </p:txBody>
      </p:sp>
      <p:sp>
        <p:nvSpPr>
          <p:cNvPr id="4" name="Segnaposto piè di pagina 3">
            <a:extLst>
              <a:ext uri="{FF2B5EF4-FFF2-40B4-BE49-F238E27FC236}">
                <a16:creationId xmlns:a16="http://schemas.microsoft.com/office/drawing/2014/main" id="{C7B9A50E-B08D-0D45-A62D-102EBC46126A}"/>
              </a:ext>
            </a:extLst>
          </p:cNvPr>
          <p:cNvSpPr>
            <a:spLocks noGrp="1"/>
          </p:cNvSpPr>
          <p:nvPr>
            <p:ph type="ftr" sz="quarter" idx="2"/>
          </p:nvPr>
        </p:nvSpPr>
        <p:spPr>
          <a:xfrm>
            <a:off x="0" y="9721107"/>
            <a:ext cx="3078427" cy="513507"/>
          </a:xfrm>
          <a:prstGeom prst="rect">
            <a:avLst/>
          </a:prstGeom>
        </p:spPr>
        <p:txBody>
          <a:bodyPr vert="horz" lIns="99075" tIns="49538" rIns="99075" bIns="49538" rtlCol="0" anchor="b"/>
          <a:lstStyle>
            <a:lvl1pPr algn="l" eaLnBrk="1" fontAlgn="auto" hangingPunct="1">
              <a:spcBef>
                <a:spcPts val="0"/>
              </a:spcBef>
              <a:spcAft>
                <a:spcPts val="0"/>
              </a:spcAft>
              <a:defRPr sz="1300">
                <a:latin typeface="Montserrat Medium" pitchFamily="2" charset="77"/>
              </a:defRPr>
            </a:lvl1pPr>
          </a:lstStyle>
          <a:p>
            <a:pPr>
              <a:defRPr/>
            </a:pPr>
            <a:endParaRPr lang="it-IT"/>
          </a:p>
        </p:txBody>
      </p:sp>
      <p:sp>
        <p:nvSpPr>
          <p:cNvPr id="5" name="Segnaposto numero diapositiva 4">
            <a:extLst>
              <a:ext uri="{FF2B5EF4-FFF2-40B4-BE49-F238E27FC236}">
                <a16:creationId xmlns:a16="http://schemas.microsoft.com/office/drawing/2014/main" id="{C1882ED7-7CB3-DE48-A89F-2849D8C38C9A}"/>
              </a:ext>
            </a:extLst>
          </p:cNvPr>
          <p:cNvSpPr>
            <a:spLocks noGrp="1"/>
          </p:cNvSpPr>
          <p:nvPr>
            <p:ph type="sldNum" sz="quarter" idx="3"/>
          </p:nvPr>
        </p:nvSpPr>
        <p:spPr>
          <a:xfrm>
            <a:off x="4023992" y="9721107"/>
            <a:ext cx="3078427" cy="513507"/>
          </a:xfrm>
          <a:prstGeom prst="rect">
            <a:avLst/>
          </a:prstGeom>
        </p:spPr>
        <p:txBody>
          <a:bodyPr vert="horz" lIns="99075" tIns="49538" rIns="99075" bIns="49538" rtlCol="0" anchor="b"/>
          <a:lstStyle>
            <a:lvl1pPr algn="r" eaLnBrk="1" fontAlgn="auto" hangingPunct="1">
              <a:spcBef>
                <a:spcPts val="0"/>
              </a:spcBef>
              <a:spcAft>
                <a:spcPts val="0"/>
              </a:spcAft>
              <a:defRPr sz="1300">
                <a:latin typeface="Montserrat Medium" pitchFamily="2" charset="77"/>
              </a:defRPr>
            </a:lvl1pPr>
          </a:lstStyle>
          <a:p>
            <a:pPr>
              <a:defRPr/>
            </a:pPr>
            <a:fld id="{57C1681C-E851-6B49-B24A-1D3D5D4DB005}" type="slidenum">
              <a:rPr lang="it-IT"/>
              <a:pPr>
                <a:defRPr/>
              </a:pPr>
              <a:t>‹Nr.›</a:t>
            </a:fld>
            <a:endParaRPr lang="it-IT"/>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Segnaposto intestazione 1">
            <a:extLst>
              <a:ext uri="{FF2B5EF4-FFF2-40B4-BE49-F238E27FC236}">
                <a16:creationId xmlns:a16="http://schemas.microsoft.com/office/drawing/2014/main" id="{8C57B2BE-8AE1-A440-9CAF-4FC62EA24642}"/>
              </a:ext>
            </a:extLst>
          </p:cNvPr>
          <p:cNvSpPr>
            <a:spLocks noGrp="1"/>
          </p:cNvSpPr>
          <p:nvPr>
            <p:ph type="hdr" sz="quarter"/>
          </p:nvPr>
        </p:nvSpPr>
        <p:spPr>
          <a:xfrm>
            <a:off x="0" y="0"/>
            <a:ext cx="3078427" cy="513508"/>
          </a:xfrm>
          <a:prstGeom prst="rect">
            <a:avLst/>
          </a:prstGeom>
        </p:spPr>
        <p:txBody>
          <a:bodyPr vert="horz" lIns="99075" tIns="49538" rIns="99075" bIns="49538" rtlCol="0"/>
          <a:lstStyle>
            <a:lvl1pPr algn="l" eaLnBrk="1" fontAlgn="auto" hangingPunct="1">
              <a:spcBef>
                <a:spcPts val="0"/>
              </a:spcBef>
              <a:spcAft>
                <a:spcPts val="0"/>
              </a:spcAft>
              <a:defRPr sz="1300" b="0" i="0">
                <a:latin typeface="Montserrat Medium" pitchFamily="2" charset="77"/>
              </a:defRPr>
            </a:lvl1pPr>
          </a:lstStyle>
          <a:p>
            <a:pPr>
              <a:defRPr/>
            </a:pPr>
            <a:endParaRPr lang="it-IT"/>
          </a:p>
        </p:txBody>
      </p:sp>
      <p:sp>
        <p:nvSpPr>
          <p:cNvPr id="3" name="Segnaposto data 2">
            <a:extLst>
              <a:ext uri="{FF2B5EF4-FFF2-40B4-BE49-F238E27FC236}">
                <a16:creationId xmlns:a16="http://schemas.microsoft.com/office/drawing/2014/main" id="{794A0E54-3832-E74D-B0AE-A812468F303F}"/>
              </a:ext>
            </a:extLst>
          </p:cNvPr>
          <p:cNvSpPr>
            <a:spLocks noGrp="1"/>
          </p:cNvSpPr>
          <p:nvPr>
            <p:ph type="dt" idx="1"/>
          </p:nvPr>
        </p:nvSpPr>
        <p:spPr>
          <a:xfrm>
            <a:off x="4023992" y="0"/>
            <a:ext cx="3078427" cy="513508"/>
          </a:xfrm>
          <a:prstGeom prst="rect">
            <a:avLst/>
          </a:prstGeom>
        </p:spPr>
        <p:txBody>
          <a:bodyPr vert="horz" lIns="99075" tIns="49538" rIns="99075" bIns="49538" rtlCol="0"/>
          <a:lstStyle>
            <a:lvl1pPr algn="r" eaLnBrk="1" fontAlgn="auto" hangingPunct="1">
              <a:spcBef>
                <a:spcPts val="0"/>
              </a:spcBef>
              <a:spcAft>
                <a:spcPts val="0"/>
              </a:spcAft>
              <a:defRPr sz="1300" b="0" i="0">
                <a:latin typeface="Montserrat Medium" pitchFamily="2" charset="77"/>
              </a:defRPr>
            </a:lvl1pPr>
          </a:lstStyle>
          <a:p>
            <a:pPr>
              <a:defRPr/>
            </a:pPr>
            <a:fld id="{9E9479ED-9E75-F644-B004-51F8CAD37EE0}" type="datetimeFigureOut">
              <a:rPr lang="it-IT"/>
              <a:pPr>
                <a:defRPr/>
              </a:pPr>
              <a:t>23/11/2023</a:t>
            </a:fld>
            <a:endParaRPr lang="it-IT"/>
          </a:p>
        </p:txBody>
      </p:sp>
      <p:sp>
        <p:nvSpPr>
          <p:cNvPr id="4" name="Segnaposto immagine diapositiva 3">
            <a:extLst>
              <a:ext uri="{FF2B5EF4-FFF2-40B4-BE49-F238E27FC236}">
                <a16:creationId xmlns:a16="http://schemas.microsoft.com/office/drawing/2014/main" id="{5FC28909-520E-C040-AF04-8B7A06D3B01B}"/>
              </a:ext>
            </a:extLst>
          </p:cNvPr>
          <p:cNvSpPr>
            <a:spLocks noGrp="1" noRot="1" noChangeAspect="1"/>
          </p:cNvSpPr>
          <p:nvPr>
            <p:ph type="sldImg" idx="2"/>
          </p:nvPr>
        </p:nvSpPr>
        <p:spPr>
          <a:xfrm>
            <a:off x="482600" y="1279525"/>
            <a:ext cx="6140450" cy="3454400"/>
          </a:xfrm>
          <a:prstGeom prst="rect">
            <a:avLst/>
          </a:prstGeom>
          <a:noFill/>
          <a:ln w="12700">
            <a:solidFill>
              <a:prstClr val="black"/>
            </a:solidFill>
          </a:ln>
        </p:spPr>
        <p:txBody>
          <a:bodyPr vert="horz" lIns="99075" tIns="49538" rIns="99075" bIns="49538" rtlCol="0" anchor="ctr"/>
          <a:lstStyle/>
          <a:p>
            <a:pPr lvl="0"/>
            <a:endParaRPr lang="it-IT" noProof="0"/>
          </a:p>
        </p:txBody>
      </p:sp>
      <p:sp>
        <p:nvSpPr>
          <p:cNvPr id="5" name="Segnaposto note 4">
            <a:extLst>
              <a:ext uri="{FF2B5EF4-FFF2-40B4-BE49-F238E27FC236}">
                <a16:creationId xmlns:a16="http://schemas.microsoft.com/office/drawing/2014/main" id="{F01B3513-3328-F84F-92BC-F1A3ED456271}"/>
              </a:ext>
            </a:extLst>
          </p:cNvPr>
          <p:cNvSpPr>
            <a:spLocks noGrp="1"/>
          </p:cNvSpPr>
          <p:nvPr>
            <p:ph type="body" sz="quarter" idx="3"/>
          </p:nvPr>
        </p:nvSpPr>
        <p:spPr>
          <a:xfrm>
            <a:off x="710407" y="4925407"/>
            <a:ext cx="5683250" cy="4029879"/>
          </a:xfrm>
          <a:prstGeom prst="rect">
            <a:avLst/>
          </a:prstGeom>
        </p:spPr>
        <p:txBody>
          <a:bodyPr vert="horz" lIns="99075" tIns="49538" rIns="99075" bIns="49538" rtlCol="0"/>
          <a:lstStyle/>
          <a:p>
            <a:pPr lvl="0"/>
            <a:r>
              <a:rPr lang="it-IT" noProof="0"/>
              <a:t>Fare clic per modificare gli stili del testo dello schema</a:t>
            </a:r>
          </a:p>
          <a:p>
            <a:pPr lvl="1"/>
            <a:r>
              <a:rPr lang="it-IT" noProof="0"/>
              <a:t>Secondo livello</a:t>
            </a:r>
          </a:p>
          <a:p>
            <a:pPr lvl="2"/>
            <a:r>
              <a:rPr lang="it-IT" noProof="0"/>
              <a:t>Terzo livello</a:t>
            </a:r>
          </a:p>
          <a:p>
            <a:pPr lvl="3"/>
            <a:r>
              <a:rPr lang="it-IT" noProof="0"/>
              <a:t>Quarto livello</a:t>
            </a:r>
          </a:p>
          <a:p>
            <a:pPr lvl="4"/>
            <a:r>
              <a:rPr lang="it-IT" noProof="0"/>
              <a:t>Quinto livello</a:t>
            </a:r>
          </a:p>
        </p:txBody>
      </p:sp>
      <p:sp>
        <p:nvSpPr>
          <p:cNvPr id="6" name="Segnaposto piè di pagina 5">
            <a:extLst>
              <a:ext uri="{FF2B5EF4-FFF2-40B4-BE49-F238E27FC236}">
                <a16:creationId xmlns:a16="http://schemas.microsoft.com/office/drawing/2014/main" id="{7A328447-5EC9-B44E-AD9A-B6988ECB4299}"/>
              </a:ext>
            </a:extLst>
          </p:cNvPr>
          <p:cNvSpPr>
            <a:spLocks noGrp="1"/>
          </p:cNvSpPr>
          <p:nvPr>
            <p:ph type="ftr" sz="quarter" idx="4"/>
          </p:nvPr>
        </p:nvSpPr>
        <p:spPr>
          <a:xfrm>
            <a:off x="0" y="9721107"/>
            <a:ext cx="3078427" cy="513507"/>
          </a:xfrm>
          <a:prstGeom prst="rect">
            <a:avLst/>
          </a:prstGeom>
        </p:spPr>
        <p:txBody>
          <a:bodyPr vert="horz" lIns="99075" tIns="49538" rIns="99075" bIns="49538" rtlCol="0" anchor="b"/>
          <a:lstStyle>
            <a:lvl1pPr algn="l" eaLnBrk="1" fontAlgn="auto" hangingPunct="1">
              <a:spcBef>
                <a:spcPts val="0"/>
              </a:spcBef>
              <a:spcAft>
                <a:spcPts val="0"/>
              </a:spcAft>
              <a:defRPr sz="1300" b="0" i="0">
                <a:latin typeface="Montserrat Medium" pitchFamily="2" charset="77"/>
              </a:defRPr>
            </a:lvl1pPr>
          </a:lstStyle>
          <a:p>
            <a:pPr>
              <a:defRPr/>
            </a:pPr>
            <a:endParaRPr lang="it-IT"/>
          </a:p>
        </p:txBody>
      </p:sp>
      <p:sp>
        <p:nvSpPr>
          <p:cNvPr id="7" name="Segnaposto numero diapositiva 6">
            <a:extLst>
              <a:ext uri="{FF2B5EF4-FFF2-40B4-BE49-F238E27FC236}">
                <a16:creationId xmlns:a16="http://schemas.microsoft.com/office/drawing/2014/main" id="{5F24DDB7-E3E7-8145-A76F-CF0FF843BB42}"/>
              </a:ext>
            </a:extLst>
          </p:cNvPr>
          <p:cNvSpPr>
            <a:spLocks noGrp="1"/>
          </p:cNvSpPr>
          <p:nvPr>
            <p:ph type="sldNum" sz="quarter" idx="5"/>
          </p:nvPr>
        </p:nvSpPr>
        <p:spPr>
          <a:xfrm>
            <a:off x="4023992" y="9721107"/>
            <a:ext cx="3078427" cy="513507"/>
          </a:xfrm>
          <a:prstGeom prst="rect">
            <a:avLst/>
          </a:prstGeom>
        </p:spPr>
        <p:txBody>
          <a:bodyPr vert="horz" lIns="99075" tIns="49538" rIns="99075" bIns="49538" rtlCol="0" anchor="b"/>
          <a:lstStyle>
            <a:lvl1pPr algn="r" eaLnBrk="1" fontAlgn="auto" hangingPunct="1">
              <a:spcBef>
                <a:spcPts val="0"/>
              </a:spcBef>
              <a:spcAft>
                <a:spcPts val="0"/>
              </a:spcAft>
              <a:defRPr sz="1300" b="0" i="0">
                <a:latin typeface="Montserrat Medium" pitchFamily="2" charset="77"/>
              </a:defRPr>
            </a:lvl1pPr>
          </a:lstStyle>
          <a:p>
            <a:pPr>
              <a:defRPr/>
            </a:pPr>
            <a:fld id="{9D8371CD-2A07-BE42-9985-88450FD92ECB}" type="slidenum">
              <a:rPr lang="it-IT"/>
              <a:pPr>
                <a:defRPr/>
              </a:pPr>
              <a:t>‹Nr.›</a:t>
            </a:fld>
            <a:endParaRPr lang="it-IT"/>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ontserrat Medium" pitchFamily="2" charset="77"/>
        <a:ea typeface="+mn-ea"/>
        <a:cs typeface="+mn-cs"/>
      </a:defRPr>
    </a:lvl1pPr>
    <a:lvl2pPr marL="457200" algn="l" rtl="0" eaLnBrk="0" fontAlgn="base" hangingPunct="0">
      <a:spcBef>
        <a:spcPct val="30000"/>
      </a:spcBef>
      <a:spcAft>
        <a:spcPct val="0"/>
      </a:spcAft>
      <a:defRPr sz="1200" kern="1200">
        <a:solidFill>
          <a:schemeClr val="tx1"/>
        </a:solidFill>
        <a:latin typeface="Montserrat Medium" pitchFamily="2" charset="77"/>
        <a:ea typeface="+mn-ea"/>
        <a:cs typeface="+mn-cs"/>
      </a:defRPr>
    </a:lvl2pPr>
    <a:lvl3pPr marL="914400" algn="l" rtl="0" eaLnBrk="0" fontAlgn="base" hangingPunct="0">
      <a:spcBef>
        <a:spcPct val="30000"/>
      </a:spcBef>
      <a:spcAft>
        <a:spcPct val="0"/>
      </a:spcAft>
      <a:defRPr sz="1200" kern="1200">
        <a:solidFill>
          <a:schemeClr val="tx1"/>
        </a:solidFill>
        <a:latin typeface="Montserrat Medium" pitchFamily="2" charset="77"/>
        <a:ea typeface="+mn-ea"/>
        <a:cs typeface="+mn-cs"/>
      </a:defRPr>
    </a:lvl3pPr>
    <a:lvl4pPr marL="1371600" algn="l" rtl="0" eaLnBrk="0" fontAlgn="base" hangingPunct="0">
      <a:spcBef>
        <a:spcPct val="30000"/>
      </a:spcBef>
      <a:spcAft>
        <a:spcPct val="0"/>
      </a:spcAft>
      <a:defRPr sz="1200" kern="1200">
        <a:solidFill>
          <a:schemeClr val="tx1"/>
        </a:solidFill>
        <a:latin typeface="Montserrat Medium" pitchFamily="2" charset="77"/>
        <a:ea typeface="+mn-ea"/>
        <a:cs typeface="+mn-cs"/>
      </a:defRPr>
    </a:lvl4pPr>
    <a:lvl5pPr marL="1828800" algn="l" rtl="0" eaLnBrk="0" fontAlgn="base" hangingPunct="0">
      <a:spcBef>
        <a:spcPct val="30000"/>
      </a:spcBef>
      <a:spcAft>
        <a:spcPct val="0"/>
      </a:spcAft>
      <a:defRPr sz="1200" kern="1200">
        <a:solidFill>
          <a:schemeClr val="tx1"/>
        </a:solidFill>
        <a:latin typeface="Montserrat Medium" pitchFamily="2" charset="77"/>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9D8371CD-2A07-BE42-9985-88450FD92ECB}" type="slidenum">
              <a:rPr lang="it-IT" smtClean="0"/>
              <a:pPr>
                <a:defRPr/>
              </a:pPr>
              <a:t>4</a:t>
            </a:fld>
            <a:endParaRPr lang="it-IT"/>
          </a:p>
        </p:txBody>
      </p:sp>
    </p:spTree>
    <p:extLst>
      <p:ext uri="{BB962C8B-B14F-4D97-AF65-F5344CB8AC3E}">
        <p14:creationId xmlns:p14="http://schemas.microsoft.com/office/powerpoint/2010/main" val="374532296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pPr>
              <a:defRPr/>
            </a:pPr>
            <a:fld id="{9D8371CD-2A07-BE42-9985-88450FD92ECB}" type="slidenum">
              <a:rPr lang="it-IT" smtClean="0"/>
              <a:pPr>
                <a:defRPr/>
              </a:pPr>
              <a:t>17</a:t>
            </a:fld>
            <a:endParaRPr lang="it-IT"/>
          </a:p>
        </p:txBody>
      </p:sp>
    </p:spTree>
    <p:extLst>
      <p:ext uri="{BB962C8B-B14F-4D97-AF65-F5344CB8AC3E}">
        <p14:creationId xmlns:p14="http://schemas.microsoft.com/office/powerpoint/2010/main" val="215140757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a:defRPr/>
            </a:pPr>
            <a:fld id="{9D8371CD-2A07-BE42-9985-88450FD92ECB}" type="slidenum">
              <a:rPr lang="it-IT" smtClean="0"/>
              <a:pPr>
                <a:defRPr/>
              </a:pPr>
              <a:t>18</a:t>
            </a:fld>
            <a:endParaRPr lang="it-IT"/>
          </a:p>
        </p:txBody>
      </p:sp>
    </p:spTree>
    <p:extLst>
      <p:ext uri="{BB962C8B-B14F-4D97-AF65-F5344CB8AC3E}">
        <p14:creationId xmlns:p14="http://schemas.microsoft.com/office/powerpoint/2010/main" val="228057056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de-CH" sz="1200" kern="1200" dirty="0">
              <a:solidFill>
                <a:schemeClr val="tx1"/>
              </a:solidFill>
              <a:effectLst/>
              <a:latin typeface="+mn-lt"/>
              <a:ea typeface="+mn-ea"/>
              <a:cs typeface="+mn-cs"/>
            </a:endParaRP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D8371CD-2A07-BE42-9985-88450FD92ECB}" type="slidenum">
              <a:rPr kumimoji="0" lang="it-IT" sz="1200" b="0" i="0" u="none" strike="noStrike" kern="1200" cap="none" spc="0" normalizeH="0" baseline="0" noProof="0" smtClean="0">
                <a:ln>
                  <a:noFill/>
                </a:ln>
                <a:solidFill>
                  <a:prstClr val="black"/>
                </a:solidFill>
                <a:effectLst/>
                <a:uLnTx/>
                <a:uFillTx/>
                <a:latin typeface="Montserrat Medium"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it-IT" sz="1200" b="0" i="0" u="none" strike="noStrike" kern="1200" cap="none" spc="0" normalizeH="0" baseline="0" noProof="0">
              <a:ln>
                <a:noFill/>
              </a:ln>
              <a:solidFill>
                <a:prstClr val="black"/>
              </a:solidFill>
              <a:effectLst/>
              <a:uLnTx/>
              <a:uFillTx/>
              <a:latin typeface="Montserrat Medium" pitchFamily="2" charset="77"/>
              <a:ea typeface="+mn-ea"/>
              <a:cs typeface="+mn-cs"/>
            </a:endParaRPr>
          </a:p>
        </p:txBody>
      </p:sp>
    </p:spTree>
    <p:extLst>
      <p:ext uri="{BB962C8B-B14F-4D97-AF65-F5344CB8AC3E}">
        <p14:creationId xmlns:p14="http://schemas.microsoft.com/office/powerpoint/2010/main" val="309097755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D8371CD-2A07-BE42-9985-88450FD92ECB}" type="slidenum">
              <a:rPr kumimoji="0" lang="it-IT" sz="1200" b="0" i="0" u="none" strike="noStrike" kern="1200" cap="none" spc="0" normalizeH="0" baseline="0" noProof="0" smtClean="0">
                <a:ln>
                  <a:noFill/>
                </a:ln>
                <a:solidFill>
                  <a:prstClr val="black"/>
                </a:solidFill>
                <a:effectLst/>
                <a:uLnTx/>
                <a:uFillTx/>
                <a:latin typeface="Montserrat Medium"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it-IT" sz="1200" b="0" i="0" u="none" strike="noStrike" kern="1200" cap="none" spc="0" normalizeH="0" baseline="0" noProof="0">
              <a:ln>
                <a:noFill/>
              </a:ln>
              <a:solidFill>
                <a:prstClr val="black"/>
              </a:solidFill>
              <a:effectLst/>
              <a:uLnTx/>
              <a:uFillTx/>
              <a:latin typeface="Montserrat Medium" pitchFamily="2" charset="77"/>
              <a:ea typeface="+mn-ea"/>
              <a:cs typeface="+mn-cs"/>
            </a:endParaRPr>
          </a:p>
        </p:txBody>
      </p:sp>
    </p:spTree>
    <p:extLst>
      <p:ext uri="{BB962C8B-B14F-4D97-AF65-F5344CB8AC3E}">
        <p14:creationId xmlns:p14="http://schemas.microsoft.com/office/powerpoint/2010/main" val="194860508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GB" dirty="0"/>
          </a:p>
          <a:p>
            <a:endParaRPr lang="fr-FR" dirty="0"/>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D8371CD-2A07-BE42-9985-88450FD92ECB}" type="slidenum">
              <a:rPr kumimoji="0" lang="it-IT" sz="1200" b="0" i="0" u="none" strike="noStrike" kern="1200" cap="none" spc="0" normalizeH="0" baseline="0" noProof="0" smtClean="0">
                <a:ln>
                  <a:noFill/>
                </a:ln>
                <a:solidFill>
                  <a:prstClr val="black"/>
                </a:solidFill>
                <a:effectLst/>
                <a:uLnTx/>
                <a:uFillTx/>
                <a:latin typeface="Montserrat Medium"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it-IT" sz="1200" b="0" i="0" u="none" strike="noStrike" kern="1200" cap="none" spc="0" normalizeH="0" baseline="0" noProof="0">
              <a:ln>
                <a:noFill/>
              </a:ln>
              <a:solidFill>
                <a:prstClr val="black"/>
              </a:solidFill>
              <a:effectLst/>
              <a:uLnTx/>
              <a:uFillTx/>
              <a:latin typeface="Montserrat Medium" pitchFamily="2" charset="77"/>
              <a:ea typeface="+mn-ea"/>
              <a:cs typeface="+mn-cs"/>
            </a:endParaRPr>
          </a:p>
        </p:txBody>
      </p:sp>
    </p:spTree>
    <p:extLst>
      <p:ext uri="{BB962C8B-B14F-4D97-AF65-F5344CB8AC3E}">
        <p14:creationId xmlns:p14="http://schemas.microsoft.com/office/powerpoint/2010/main" val="99796445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a:defRPr/>
            </a:pPr>
            <a:fld id="{9D8371CD-2A07-BE42-9985-88450FD92ECB}" type="slidenum">
              <a:rPr lang="it-IT" smtClean="0"/>
              <a:pPr>
                <a:defRPr/>
              </a:pPr>
              <a:t>23</a:t>
            </a:fld>
            <a:endParaRPr lang="it-IT"/>
          </a:p>
        </p:txBody>
      </p:sp>
    </p:spTree>
    <p:extLst>
      <p:ext uri="{BB962C8B-B14F-4D97-AF65-F5344CB8AC3E}">
        <p14:creationId xmlns:p14="http://schemas.microsoft.com/office/powerpoint/2010/main" val="419933634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a:defRPr/>
            </a:pPr>
            <a:fld id="{9D8371CD-2A07-BE42-9985-88450FD92ECB}" type="slidenum">
              <a:rPr lang="it-IT" smtClean="0"/>
              <a:pPr>
                <a:defRPr/>
              </a:pPr>
              <a:t>24</a:t>
            </a:fld>
            <a:endParaRPr lang="it-IT"/>
          </a:p>
        </p:txBody>
      </p:sp>
    </p:spTree>
    <p:extLst>
      <p:ext uri="{BB962C8B-B14F-4D97-AF65-F5344CB8AC3E}">
        <p14:creationId xmlns:p14="http://schemas.microsoft.com/office/powerpoint/2010/main" val="302907378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a:defRPr/>
            </a:pPr>
            <a:fld id="{9D8371CD-2A07-BE42-9985-88450FD92ECB}" type="slidenum">
              <a:rPr lang="it-IT" smtClean="0"/>
              <a:pPr>
                <a:defRPr/>
              </a:pPr>
              <a:t>25</a:t>
            </a:fld>
            <a:endParaRPr lang="it-IT"/>
          </a:p>
        </p:txBody>
      </p:sp>
    </p:spTree>
    <p:extLst>
      <p:ext uri="{BB962C8B-B14F-4D97-AF65-F5344CB8AC3E}">
        <p14:creationId xmlns:p14="http://schemas.microsoft.com/office/powerpoint/2010/main" val="272389798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pPr>
              <a:defRPr/>
            </a:pPr>
            <a:fld id="{9D8371CD-2A07-BE42-9985-88450FD92ECB}" type="slidenum">
              <a:rPr lang="it-IT" smtClean="0"/>
              <a:pPr>
                <a:defRPr/>
              </a:pPr>
              <a:t>26</a:t>
            </a:fld>
            <a:endParaRPr lang="it-IT"/>
          </a:p>
        </p:txBody>
      </p:sp>
    </p:spTree>
    <p:extLst>
      <p:ext uri="{BB962C8B-B14F-4D97-AF65-F5344CB8AC3E}">
        <p14:creationId xmlns:p14="http://schemas.microsoft.com/office/powerpoint/2010/main" val="348404543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FFFFFF"/>
                </a:solidFill>
                <a:effectLst/>
                <a:latin typeface="-apple-system"/>
              </a:rPr>
              <a:t>Specifically for accounting/controlling -- ISAE 3000 „Assurance Engagements Other Than Audits or Reviews of Historical Financial Information“ - </a:t>
            </a:r>
            <a:r>
              <a:rPr lang="en-GB" dirty="0"/>
              <a:t>IDW-880 is German specific version of it</a:t>
            </a:r>
          </a:p>
        </p:txBody>
      </p:sp>
      <p:sp>
        <p:nvSpPr>
          <p:cNvPr id="4" name="Slide Number Placeholder 3"/>
          <p:cNvSpPr>
            <a:spLocks noGrp="1"/>
          </p:cNvSpPr>
          <p:nvPr>
            <p:ph type="sldNum" sz="quarter" idx="5"/>
          </p:nvPr>
        </p:nvSpPr>
        <p:spPr/>
        <p:txBody>
          <a:bodyPr/>
          <a:lstStyle/>
          <a:p>
            <a:pPr>
              <a:defRPr/>
            </a:pPr>
            <a:fld id="{9D8371CD-2A07-BE42-9985-88450FD92ECB}" type="slidenum">
              <a:rPr lang="it-IT" smtClean="0"/>
              <a:pPr>
                <a:defRPr/>
              </a:pPr>
              <a:t>27</a:t>
            </a:fld>
            <a:endParaRPr lang="it-IT"/>
          </a:p>
        </p:txBody>
      </p:sp>
    </p:spTree>
    <p:extLst>
      <p:ext uri="{BB962C8B-B14F-4D97-AF65-F5344CB8AC3E}">
        <p14:creationId xmlns:p14="http://schemas.microsoft.com/office/powerpoint/2010/main" val="21893984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9D8371CD-2A07-BE42-9985-88450FD92ECB}" type="slidenum">
              <a:rPr lang="it-IT" smtClean="0"/>
              <a:pPr>
                <a:defRPr/>
              </a:pPr>
              <a:t>5</a:t>
            </a:fld>
            <a:endParaRPr lang="it-IT"/>
          </a:p>
        </p:txBody>
      </p:sp>
    </p:spTree>
    <p:extLst>
      <p:ext uri="{BB962C8B-B14F-4D97-AF65-F5344CB8AC3E}">
        <p14:creationId xmlns:p14="http://schemas.microsoft.com/office/powerpoint/2010/main" val="214709758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pPr>
              <a:defRPr/>
            </a:pPr>
            <a:fld id="{9D8371CD-2A07-BE42-9985-88450FD92ECB}" type="slidenum">
              <a:rPr lang="it-IT" smtClean="0"/>
              <a:pPr>
                <a:defRPr/>
              </a:pPr>
              <a:t>28</a:t>
            </a:fld>
            <a:endParaRPr lang="it-IT"/>
          </a:p>
        </p:txBody>
      </p:sp>
    </p:spTree>
    <p:extLst>
      <p:ext uri="{BB962C8B-B14F-4D97-AF65-F5344CB8AC3E}">
        <p14:creationId xmlns:p14="http://schemas.microsoft.com/office/powerpoint/2010/main" val="30579271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9D8371CD-2A07-BE42-9985-88450FD92ECB}" type="slidenum">
              <a:rPr lang="it-IT" smtClean="0"/>
              <a:pPr>
                <a:defRPr/>
              </a:pPr>
              <a:t>6</a:t>
            </a:fld>
            <a:endParaRPr lang="it-IT"/>
          </a:p>
        </p:txBody>
      </p:sp>
    </p:spTree>
    <p:extLst>
      <p:ext uri="{BB962C8B-B14F-4D97-AF65-F5344CB8AC3E}">
        <p14:creationId xmlns:p14="http://schemas.microsoft.com/office/powerpoint/2010/main" val="2195541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9D8371CD-2A07-BE42-9985-88450FD92ECB}" type="slidenum">
              <a:rPr lang="it-IT" smtClean="0"/>
              <a:pPr>
                <a:defRPr/>
              </a:pPr>
              <a:t>7</a:t>
            </a:fld>
            <a:endParaRPr lang="it-IT"/>
          </a:p>
        </p:txBody>
      </p:sp>
    </p:spTree>
    <p:extLst>
      <p:ext uri="{BB962C8B-B14F-4D97-AF65-F5344CB8AC3E}">
        <p14:creationId xmlns:p14="http://schemas.microsoft.com/office/powerpoint/2010/main" val="348943264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a:defRPr/>
            </a:pPr>
            <a:fld id="{9D8371CD-2A07-BE42-9985-88450FD92ECB}" type="slidenum">
              <a:rPr lang="it-IT" smtClean="0"/>
              <a:pPr>
                <a:defRPr/>
              </a:pPr>
              <a:t>8</a:t>
            </a:fld>
            <a:endParaRPr lang="it-IT"/>
          </a:p>
        </p:txBody>
      </p:sp>
    </p:spTree>
    <p:extLst>
      <p:ext uri="{BB962C8B-B14F-4D97-AF65-F5344CB8AC3E}">
        <p14:creationId xmlns:p14="http://schemas.microsoft.com/office/powerpoint/2010/main" val="287699733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a:defRPr/>
            </a:pPr>
            <a:fld id="{9D8371CD-2A07-BE42-9985-88450FD92ECB}" type="slidenum">
              <a:rPr lang="it-IT" smtClean="0"/>
              <a:pPr>
                <a:defRPr/>
              </a:pPr>
              <a:t>10</a:t>
            </a:fld>
            <a:endParaRPr lang="it-IT"/>
          </a:p>
        </p:txBody>
      </p:sp>
    </p:spTree>
    <p:extLst>
      <p:ext uri="{BB962C8B-B14F-4D97-AF65-F5344CB8AC3E}">
        <p14:creationId xmlns:p14="http://schemas.microsoft.com/office/powerpoint/2010/main" val="396497755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pPr>
              <a:defRPr/>
            </a:pPr>
            <a:fld id="{9D8371CD-2A07-BE42-9985-88450FD92ECB}" type="slidenum">
              <a:rPr lang="it-IT" smtClean="0"/>
              <a:pPr>
                <a:defRPr/>
              </a:pPr>
              <a:t>14</a:t>
            </a:fld>
            <a:endParaRPr lang="it-IT" dirty="0"/>
          </a:p>
        </p:txBody>
      </p:sp>
    </p:spTree>
    <p:extLst>
      <p:ext uri="{BB962C8B-B14F-4D97-AF65-F5344CB8AC3E}">
        <p14:creationId xmlns:p14="http://schemas.microsoft.com/office/powerpoint/2010/main" val="203308945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pPr>
              <a:defRPr/>
            </a:pPr>
            <a:fld id="{9D8371CD-2A07-BE42-9985-88450FD92ECB}" type="slidenum">
              <a:rPr lang="it-IT" smtClean="0"/>
              <a:pPr>
                <a:defRPr/>
              </a:pPr>
              <a:t>15</a:t>
            </a:fld>
            <a:endParaRPr lang="it-IT"/>
          </a:p>
        </p:txBody>
      </p:sp>
    </p:spTree>
    <p:extLst>
      <p:ext uri="{BB962C8B-B14F-4D97-AF65-F5344CB8AC3E}">
        <p14:creationId xmlns:p14="http://schemas.microsoft.com/office/powerpoint/2010/main" val="57282661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pPr>
              <a:defRPr/>
            </a:pPr>
            <a:fld id="{9D8371CD-2A07-BE42-9985-88450FD92ECB}" type="slidenum">
              <a:rPr lang="it-IT" smtClean="0"/>
              <a:pPr>
                <a:defRPr/>
              </a:pPr>
              <a:t>16</a:t>
            </a:fld>
            <a:endParaRPr lang="it-IT"/>
          </a:p>
        </p:txBody>
      </p:sp>
    </p:spTree>
    <p:extLst>
      <p:ext uri="{BB962C8B-B14F-4D97-AF65-F5344CB8AC3E}">
        <p14:creationId xmlns:p14="http://schemas.microsoft.com/office/powerpoint/2010/main" val="113273923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6.jpeg"/><Relationship Id="rId1" Type="http://schemas.openxmlformats.org/officeDocument/2006/relationships/slideMaster" Target="../slideMasters/slideMaster2.xml"/><Relationship Id="rId5" Type="http://schemas.openxmlformats.org/officeDocument/2006/relationships/image" Target="../media/image7.png"/><Relationship Id="rId4" Type="http://schemas.openxmlformats.org/officeDocument/2006/relationships/image" Target="../media/image3.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6.jpeg"/><Relationship Id="rId1" Type="http://schemas.openxmlformats.org/officeDocument/2006/relationships/slideMaster" Target="../slideMasters/slideMaster2.xml"/><Relationship Id="rId4" Type="http://schemas.openxmlformats.org/officeDocument/2006/relationships/image" Target="../media/image7.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7.jpeg"/><Relationship Id="rId1" Type="http://schemas.openxmlformats.org/officeDocument/2006/relationships/slideMaster" Target="../slideMasters/slideMaster2.xml"/><Relationship Id="rId5" Type="http://schemas.openxmlformats.org/officeDocument/2006/relationships/image" Target="../media/image3.png"/><Relationship Id="rId4" Type="http://schemas.openxmlformats.org/officeDocument/2006/relationships/image" Target="../media/image4.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8.jpeg"/><Relationship Id="rId1" Type="http://schemas.openxmlformats.org/officeDocument/2006/relationships/slideMaster" Target="../slideMasters/slideMaster2.xml"/><Relationship Id="rId5" Type="http://schemas.openxmlformats.org/officeDocument/2006/relationships/image" Target="../media/image2.png"/><Relationship Id="rId4" Type="http://schemas.openxmlformats.org/officeDocument/2006/relationships/image" Target="../media/image4.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8.jpeg"/><Relationship Id="rId1" Type="http://schemas.openxmlformats.org/officeDocument/2006/relationships/slideMaster" Target="../slideMasters/slideMaster2.xml"/><Relationship Id="rId5" Type="http://schemas.openxmlformats.org/officeDocument/2006/relationships/image" Target="../media/image2.png"/><Relationship Id="rId4" Type="http://schemas.openxmlformats.org/officeDocument/2006/relationships/image" Target="../media/image4.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2.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7.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9.jpeg"/><Relationship Id="rId1" Type="http://schemas.openxmlformats.org/officeDocument/2006/relationships/slideMaster" Target="../slideMasters/slideMaster2.xml"/><Relationship Id="rId5" Type="http://schemas.openxmlformats.org/officeDocument/2006/relationships/image" Target="../media/image20.png"/><Relationship Id="rId4" Type="http://schemas.openxmlformats.org/officeDocument/2006/relationships/image" Target="../media/image4.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1.jpeg"/><Relationship Id="rId1" Type="http://schemas.openxmlformats.org/officeDocument/2006/relationships/slideMaster" Target="../slideMasters/slideMaster2.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2.jpeg"/><Relationship Id="rId1" Type="http://schemas.openxmlformats.org/officeDocument/2006/relationships/slideMaster" Target="../slideMasters/slideMaster2.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Master" Target="../slideMasters/slideMaster2.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3.png"/><Relationship Id="rId1" Type="http://schemas.openxmlformats.org/officeDocument/2006/relationships/slideMaster" Target="../slideMasters/slideMaster2.xml"/><Relationship Id="rId4" Type="http://schemas.openxmlformats.org/officeDocument/2006/relationships/image" Target="../media/image7.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2.xml"/><Relationship Id="rId4" Type="http://schemas.openxmlformats.org/officeDocument/2006/relationships/image" Target="../media/image26.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5.png"/><Relationship Id="rId1" Type="http://schemas.openxmlformats.org/officeDocument/2006/relationships/slideMaster" Target="../slideMasters/slideMaster2.xml"/><Relationship Id="rId4" Type="http://schemas.openxmlformats.org/officeDocument/2006/relationships/image" Target="../media/image26.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2.xml"/><Relationship Id="rId4" Type="http://schemas.openxmlformats.org/officeDocument/2006/relationships/image" Target="../media/image26.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image" Target="../media/image5.png"/><Relationship Id="rId4" Type="http://schemas.openxmlformats.org/officeDocument/2006/relationships/image" Target="../media/image6.png"/></Relationships>
</file>

<file path=ppt/slideLayouts/_rels/slideLayout6.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Master" Target="../slideMasters/slideMaster1.xml"/><Relationship Id="rId7" Type="http://schemas.openxmlformats.org/officeDocument/2006/relationships/image" Target="../media/image9.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8.jpeg"/><Relationship Id="rId11" Type="http://schemas.openxmlformats.org/officeDocument/2006/relationships/image" Target="../media/image4.png"/><Relationship Id="rId5" Type="http://schemas.openxmlformats.org/officeDocument/2006/relationships/image" Target="../media/image1.emf"/><Relationship Id="rId10" Type="http://schemas.openxmlformats.org/officeDocument/2006/relationships/image" Target="../media/image3.png"/><Relationship Id="rId4" Type="http://schemas.openxmlformats.org/officeDocument/2006/relationships/oleObject" Target="../embeddings/oleObject3.bin"/><Relationship Id="rId9" Type="http://schemas.openxmlformats.org/officeDocument/2006/relationships/image" Target="../media/image2.png"/></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0.jpeg"/><Relationship Id="rId5" Type="http://schemas.openxmlformats.org/officeDocument/2006/relationships/image" Target="../media/image1.emf"/><Relationship Id="rId4" Type="http://schemas.openxmlformats.org/officeDocument/2006/relationships/oleObject" Target="../embeddings/oleObject4.bin"/><Relationship Id="rId9" Type="http://schemas.openxmlformats.org/officeDocument/2006/relationships/image" Target="../media/image4.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xml"/><Relationship Id="rId4" Type="http://schemas.openxmlformats.org/officeDocument/2006/relationships/image" Target="../media/image13.sv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hart multi contents">
    <p:spTree>
      <p:nvGrpSpPr>
        <p:cNvPr id="1" name=""/>
        <p:cNvGrpSpPr/>
        <p:nvPr/>
      </p:nvGrpSpPr>
      <p:grpSpPr>
        <a:xfrm>
          <a:off x="0" y="0"/>
          <a:ext cx="0" cy="0"/>
          <a:chOff x="0" y="0"/>
          <a:chExt cx="0" cy="0"/>
        </a:xfrm>
      </p:grpSpPr>
      <p:pic>
        <p:nvPicPr>
          <p:cNvPr id="11" name="Immagine 4" descr="Immagine che contiene freccia&#10;&#10;Descrizione generata automaticamente">
            <a:extLst>
              <a:ext uri="{FF2B5EF4-FFF2-40B4-BE49-F238E27FC236}">
                <a16:creationId xmlns:a16="http://schemas.microsoft.com/office/drawing/2014/main" id="{D8E14485-B979-A247-9DEA-146D3E0CF637}"/>
              </a:ext>
            </a:extLst>
          </p:cNvPr>
          <p:cNvPicPr>
            <a:picLocks noChangeAspect="1" noChangeArrowheads="1"/>
          </p:cNvPicPr>
          <p:nvPr userDrawn="1"/>
        </p:nvPicPr>
        <p:blipFill>
          <a:blip r:embed="rId2" cstate="screen">
            <a:alphaModFix amt="10000"/>
            <a:extLst>
              <a:ext uri="{28A0092B-C50C-407E-A947-70E740481C1C}">
                <a14:useLocalDpi xmlns:a14="http://schemas.microsoft.com/office/drawing/2010/main"/>
              </a:ext>
            </a:extLst>
          </a:blip>
          <a:srcRect t="-5206" r="-22588"/>
          <a:stretch>
            <a:fillRect/>
          </a:stretch>
        </p:blipFill>
        <p:spPr bwMode="auto">
          <a:xfrm>
            <a:off x="8344" y="3582988"/>
            <a:ext cx="3551238" cy="3275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Immagine 1">
            <a:extLst>
              <a:ext uri="{FF2B5EF4-FFF2-40B4-BE49-F238E27FC236}">
                <a16:creationId xmlns:a16="http://schemas.microsoft.com/office/drawing/2014/main" id="{BAC01275-D208-FA40-BFFB-CDFAE06FCC7C}"/>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5030788" y="6488113"/>
            <a:ext cx="213042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Immagine 2">
            <a:extLst>
              <a:ext uri="{FF2B5EF4-FFF2-40B4-BE49-F238E27FC236}">
                <a16:creationId xmlns:a16="http://schemas.microsoft.com/office/drawing/2014/main" id="{D07A18DD-24B7-3540-935C-1C71CC6B3344}"/>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10477500" y="265113"/>
            <a:ext cx="1352550" cy="506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Segnaposto numero diapositiva 5">
            <a:extLst>
              <a:ext uri="{FF2B5EF4-FFF2-40B4-BE49-F238E27FC236}">
                <a16:creationId xmlns:a16="http://schemas.microsoft.com/office/drawing/2014/main" id="{8953AC5F-B5AC-8448-962D-952F5C29A972}"/>
              </a:ext>
            </a:extLst>
          </p:cNvPr>
          <p:cNvSpPr txBox="1">
            <a:spLocks/>
          </p:cNvSpPr>
          <p:nvPr/>
        </p:nvSpPr>
        <p:spPr>
          <a:xfrm>
            <a:off x="9145588" y="6356350"/>
            <a:ext cx="2743200" cy="365125"/>
          </a:xfrm>
          <a:prstGeom prst="rect">
            <a:avLst/>
          </a:prstGeom>
        </p:spPr>
        <p:txBody>
          <a:bodyPr anchor="ctr"/>
          <a:lstStyle>
            <a:defPPr>
              <a:defRPr lang="it-IT"/>
            </a:defPPr>
            <a:lvl1pPr marL="0" algn="r" defTabSz="914400" rtl="0" eaLnBrk="1" latinLnBrk="0" hangingPunct="1">
              <a:defRPr sz="1200" kern="1200">
                <a:solidFill>
                  <a:srgbClr val="0070C0"/>
                </a:solidFill>
                <a:latin typeface="Montserrat" pitchFamily="2"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532A690C-E27A-8549-AE5E-6094FA7FDE65}" type="slidenum">
              <a:rPr lang="it-IT" smtClean="0"/>
              <a:pPr fontAlgn="auto">
                <a:spcBef>
                  <a:spcPts val="0"/>
                </a:spcBef>
                <a:spcAft>
                  <a:spcPts val="0"/>
                </a:spcAft>
                <a:defRPr/>
              </a:pPr>
              <a:t>‹Nr.›</a:t>
            </a:fld>
            <a:endParaRPr lang="it-IT"/>
          </a:p>
        </p:txBody>
      </p:sp>
      <p:sp>
        <p:nvSpPr>
          <p:cNvPr id="26" name="Content Placeholder 5"/>
          <p:cNvSpPr>
            <a:spLocks noGrp="1"/>
          </p:cNvSpPr>
          <p:nvPr>
            <p:ph sz="quarter" idx="10"/>
          </p:nvPr>
        </p:nvSpPr>
        <p:spPr>
          <a:xfrm>
            <a:off x="277290" y="1551008"/>
            <a:ext cx="11552760" cy="4635478"/>
          </a:xfrm>
          <a:prstGeom prst="rect">
            <a:avLst/>
          </a:prstGeom>
        </p:spPr>
        <p:txBody>
          <a:bodyPr/>
          <a:lstStyle>
            <a:lvl1pPr>
              <a:defRPr sz="2000" b="1" i="0">
                <a:solidFill>
                  <a:schemeClr val="tx2"/>
                </a:solidFill>
                <a:latin typeface="Montserrat SemiBold" pitchFamily="2" charset="77"/>
              </a:defRPr>
            </a:lvl1pPr>
            <a:lvl2pPr>
              <a:defRPr sz="1800">
                <a:solidFill>
                  <a:schemeClr val="tx2"/>
                </a:solidFill>
                <a:latin typeface="Montserrat" pitchFamily="2" charset="77"/>
              </a:defRPr>
            </a:lvl2pPr>
            <a:lvl3pPr>
              <a:defRPr sz="1600">
                <a:solidFill>
                  <a:schemeClr val="tx2"/>
                </a:solidFill>
                <a:latin typeface="Montserrat" pitchFamily="2" charset="77"/>
              </a:defRPr>
            </a:lvl3pPr>
            <a:lvl4pPr>
              <a:defRPr>
                <a:latin typeface="Montserrat" pitchFamily="2" charset="77"/>
              </a:defRPr>
            </a:lvl4pPr>
            <a:lvl5pPr>
              <a:defRPr>
                <a:latin typeface="Montserrat" pitchFamily="2" charset="77"/>
              </a:defRPr>
            </a:lvl5pPr>
          </a:lstStyle>
          <a:p>
            <a:pPr lvl="0"/>
            <a:r>
              <a:rPr lang="it-IT"/>
              <a:t>Fare clic per modificare gli stili del testo dello schema</a:t>
            </a:r>
          </a:p>
          <a:p>
            <a:pPr lvl="1"/>
            <a:r>
              <a:rPr lang="it-IT"/>
              <a:t>Secondo livello</a:t>
            </a:r>
          </a:p>
          <a:p>
            <a:pPr lvl="2"/>
            <a:r>
              <a:rPr lang="it-IT"/>
              <a:t>Terzo livello</a:t>
            </a:r>
          </a:p>
        </p:txBody>
      </p:sp>
      <p:sp>
        <p:nvSpPr>
          <p:cNvPr id="13" name="Titolo 1"/>
          <p:cNvSpPr>
            <a:spLocks noGrp="1"/>
          </p:cNvSpPr>
          <p:nvPr>
            <p:ph type="ctrTitle"/>
          </p:nvPr>
        </p:nvSpPr>
        <p:spPr>
          <a:xfrm>
            <a:off x="277290" y="223790"/>
            <a:ext cx="10200210" cy="547735"/>
          </a:xfrm>
          <a:prstGeom prst="rect">
            <a:avLst/>
          </a:prstGeom>
        </p:spPr>
        <p:txBody>
          <a:bodyPr anchor="t" anchorCtr="0">
            <a:noAutofit/>
          </a:bodyPr>
          <a:lstStyle>
            <a:lvl1pPr algn="l">
              <a:defRPr sz="2600" b="1" i="0">
                <a:solidFill>
                  <a:schemeClr val="tx2"/>
                </a:solidFill>
                <a:latin typeface="Montserrat" pitchFamily="2" charset="77"/>
              </a:defRPr>
            </a:lvl1pPr>
          </a:lstStyle>
          <a:p>
            <a:r>
              <a:rPr lang="it-IT"/>
              <a:t>Fare clic per modificare lo stile del titolo dello schema</a:t>
            </a:r>
          </a:p>
        </p:txBody>
      </p:sp>
      <p:pic>
        <p:nvPicPr>
          <p:cNvPr id="10" name="Immagine 4" descr="Immagine che contiene freccia&#10;&#10;Descrizione generata automaticamente">
            <a:extLst>
              <a:ext uri="{FF2B5EF4-FFF2-40B4-BE49-F238E27FC236}">
                <a16:creationId xmlns:a16="http://schemas.microsoft.com/office/drawing/2014/main" id="{82EB41B5-F4AF-634A-8830-EC851DD96DD7}"/>
              </a:ext>
            </a:extLst>
          </p:cNvPr>
          <p:cNvPicPr>
            <a:picLocks noChangeAspect="1" noChangeArrowheads="1"/>
          </p:cNvPicPr>
          <p:nvPr userDrawn="1"/>
        </p:nvPicPr>
        <p:blipFill>
          <a:blip r:embed="rId2" cstate="screen">
            <a:alphaModFix amt="10000"/>
            <a:extLst>
              <a:ext uri="{28A0092B-C50C-407E-A947-70E740481C1C}">
                <a14:useLocalDpi xmlns:a14="http://schemas.microsoft.com/office/drawing/2010/main"/>
              </a:ext>
            </a:extLst>
          </a:blip>
          <a:srcRect t="-5206" r="-22588"/>
          <a:stretch>
            <a:fillRect/>
          </a:stretch>
        </p:blipFill>
        <p:spPr bwMode="auto">
          <a:xfrm>
            <a:off x="0" y="3582988"/>
            <a:ext cx="3551238" cy="3275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Immagine 11">
            <a:extLst>
              <a:ext uri="{FF2B5EF4-FFF2-40B4-BE49-F238E27FC236}">
                <a16:creationId xmlns:a16="http://schemas.microsoft.com/office/drawing/2014/main" id="{BF452ADE-E2E8-B04C-B9EB-0514050728A5}"/>
              </a:ext>
            </a:extLst>
          </p:cNvPr>
          <p:cNvPicPr>
            <a:picLocks/>
          </p:cNvPicPr>
          <p:nvPr userDrawn="1"/>
        </p:nvPicPr>
        <p:blipFill>
          <a:blip r:embed="rId5"/>
          <a:stretch>
            <a:fillRect/>
          </a:stretch>
        </p:blipFill>
        <p:spPr>
          <a:xfrm>
            <a:off x="251890" y="1389889"/>
            <a:ext cx="11940110" cy="108000"/>
          </a:xfrm>
          <a:prstGeom prst="rect">
            <a:avLst/>
          </a:prstGeom>
        </p:spPr>
      </p:pic>
      <p:sp>
        <p:nvSpPr>
          <p:cNvPr id="14" name="Sottotitolo 2">
            <a:extLst>
              <a:ext uri="{FF2B5EF4-FFF2-40B4-BE49-F238E27FC236}">
                <a16:creationId xmlns:a16="http://schemas.microsoft.com/office/drawing/2014/main" id="{43AECB95-A389-CD43-B3C5-9DF70FB0D85D}"/>
              </a:ext>
            </a:extLst>
          </p:cNvPr>
          <p:cNvSpPr>
            <a:spLocks noGrp="1"/>
          </p:cNvSpPr>
          <p:nvPr>
            <p:ph type="subTitle" idx="1"/>
          </p:nvPr>
        </p:nvSpPr>
        <p:spPr>
          <a:xfrm>
            <a:off x="251890" y="824644"/>
            <a:ext cx="11636898" cy="512126"/>
          </a:xfrm>
          <a:prstGeom prst="rect">
            <a:avLst/>
          </a:prstGeom>
        </p:spPr>
        <p:txBody>
          <a:bodyPr>
            <a:normAutofit/>
          </a:bodyPr>
          <a:lstStyle>
            <a:lvl1pPr marL="0" indent="0" algn="l">
              <a:buNone/>
              <a:defRPr sz="2000" b="0" i="0">
                <a:solidFill>
                  <a:schemeClr val="tx2"/>
                </a:solidFill>
                <a:latin typeface="Montserrat Medium" pitchFamily="2"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it-IT"/>
              <a:t>Fare clic per modificare lo stile del sottotitolo dello schema</a:t>
            </a:r>
          </a:p>
        </p:txBody>
      </p:sp>
    </p:spTree>
    <p:extLst>
      <p:ext uri="{BB962C8B-B14F-4D97-AF65-F5344CB8AC3E}">
        <p14:creationId xmlns:p14="http://schemas.microsoft.com/office/powerpoint/2010/main" val="2161317319"/>
      </p:ext>
    </p:extLst>
  </p:cSld>
  <p:clrMapOvr>
    <a:masterClrMapping/>
  </p:clrMapOvr>
  <mc:AlternateContent xmlns:mc="http://schemas.openxmlformats.org/markup-compatibility/2006" xmlns:p14="http://schemas.microsoft.com/office/powerpoint/2010/main">
    <mc:Choice Requires="p14">
      <p:transition spd="slow" p14:dur="1250">
        <p14:revea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ndex">
    <p:spTree>
      <p:nvGrpSpPr>
        <p:cNvPr id="1" name=""/>
        <p:cNvGrpSpPr/>
        <p:nvPr/>
      </p:nvGrpSpPr>
      <p:grpSpPr>
        <a:xfrm>
          <a:off x="0" y="0"/>
          <a:ext cx="0" cy="0"/>
          <a:chOff x="0" y="0"/>
          <a:chExt cx="0" cy="0"/>
        </a:xfrm>
      </p:grpSpPr>
      <p:pic>
        <p:nvPicPr>
          <p:cNvPr id="4" name="Immagine 3" descr="Immagine che contiene persona, nuotando, sport acquatico, sport&#10;&#10;Descrizione generata automaticamente">
            <a:extLst>
              <a:ext uri="{FF2B5EF4-FFF2-40B4-BE49-F238E27FC236}">
                <a16:creationId xmlns:a16="http://schemas.microsoft.com/office/drawing/2014/main" id="{38087483-346A-DF49-8D52-01719068171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1271" y="515937"/>
            <a:ext cx="3931916" cy="5972176"/>
          </a:xfrm>
          <a:prstGeom prst="rect">
            <a:avLst/>
          </a:prstGeom>
        </p:spPr>
      </p:pic>
      <p:sp>
        <p:nvSpPr>
          <p:cNvPr id="8" name="Rettangolo 7">
            <a:extLst>
              <a:ext uri="{FF2B5EF4-FFF2-40B4-BE49-F238E27FC236}">
                <a16:creationId xmlns:a16="http://schemas.microsoft.com/office/drawing/2014/main" id="{25E7A198-146D-654B-92A2-547E6043A55D}"/>
              </a:ext>
            </a:extLst>
          </p:cNvPr>
          <p:cNvSpPr/>
          <p:nvPr/>
        </p:nvSpPr>
        <p:spPr>
          <a:xfrm>
            <a:off x="193675" y="0"/>
            <a:ext cx="3181350" cy="6897688"/>
          </a:xfrm>
          <a:prstGeom prst="rect">
            <a:avLst/>
          </a:prstGeom>
          <a:solidFill>
            <a:srgbClr val="1D4F91">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it-IT">
              <a:solidFill>
                <a:schemeClr val="accent1"/>
              </a:solidFill>
              <a:latin typeface="Montserrat Medium" pitchFamily="2" charset="77"/>
            </a:endParaRPr>
          </a:p>
        </p:txBody>
      </p:sp>
      <p:pic>
        <p:nvPicPr>
          <p:cNvPr id="9" name="Immagine 3">
            <a:extLst>
              <a:ext uri="{FF2B5EF4-FFF2-40B4-BE49-F238E27FC236}">
                <a16:creationId xmlns:a16="http://schemas.microsoft.com/office/drawing/2014/main" id="{69C6415C-1155-9649-B69F-129AE35060BE}"/>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10477500" y="265113"/>
            <a:ext cx="1352550" cy="506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Immagine 4">
            <a:extLst>
              <a:ext uri="{FF2B5EF4-FFF2-40B4-BE49-F238E27FC236}">
                <a16:creationId xmlns:a16="http://schemas.microsoft.com/office/drawing/2014/main" id="{95310DF7-58B3-2645-9C48-43D15D9EE8F2}"/>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030788" y="6488113"/>
            <a:ext cx="213042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Immagine 5">
            <a:extLst>
              <a:ext uri="{FF2B5EF4-FFF2-40B4-BE49-F238E27FC236}">
                <a16:creationId xmlns:a16="http://schemas.microsoft.com/office/drawing/2014/main" id="{64B16CDA-3F86-3045-95C4-3B6FE47CC6EA}"/>
              </a:ext>
            </a:extLst>
          </p:cNvPr>
          <p:cNvPicPr>
            <a:picLocks noChangeAspect="1" noChangeArrowheads="1"/>
          </p:cNvPicPr>
          <p:nvPr/>
        </p:nvPicPr>
        <p:blipFill>
          <a:blip r:embed="rId5" cstate="screen">
            <a:alphaModFix amt="60000"/>
            <a:extLst>
              <a:ext uri="{28A0092B-C50C-407E-A947-70E740481C1C}">
                <a14:useLocalDpi xmlns:a14="http://schemas.microsoft.com/office/drawing/2010/main"/>
              </a:ext>
            </a:extLst>
          </a:blip>
          <a:srcRect l="17816" t="-2272" b="13448"/>
          <a:stretch>
            <a:fillRect/>
          </a:stretch>
        </p:blipFill>
        <p:spPr bwMode="auto">
          <a:xfrm>
            <a:off x="-12700" y="3582988"/>
            <a:ext cx="2917825" cy="3979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Segnaposto numero diapositiva 5">
            <a:extLst>
              <a:ext uri="{FF2B5EF4-FFF2-40B4-BE49-F238E27FC236}">
                <a16:creationId xmlns:a16="http://schemas.microsoft.com/office/drawing/2014/main" id="{B3EC9B22-9A18-2A48-89C8-AC4BA3B8167A}"/>
              </a:ext>
            </a:extLst>
          </p:cNvPr>
          <p:cNvSpPr txBox="1">
            <a:spLocks/>
          </p:cNvSpPr>
          <p:nvPr/>
        </p:nvSpPr>
        <p:spPr>
          <a:xfrm>
            <a:off x="9145588" y="6356350"/>
            <a:ext cx="2743200" cy="365125"/>
          </a:xfrm>
          <a:prstGeom prst="rect">
            <a:avLst/>
          </a:prstGeom>
        </p:spPr>
        <p:txBody>
          <a:bodyPr anchor="ctr"/>
          <a:lstStyle>
            <a:defPPr>
              <a:defRPr lang="it-IT"/>
            </a:defPPr>
            <a:lvl1pPr marL="0" algn="r" defTabSz="914400" rtl="0" eaLnBrk="1" latinLnBrk="0" hangingPunct="1">
              <a:defRPr sz="1200" kern="1200">
                <a:solidFill>
                  <a:srgbClr val="0070C0"/>
                </a:solidFill>
                <a:latin typeface="Montserrat" pitchFamily="2"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1AC50ABA-F3B5-2E4D-B57B-A03CA130C9CB}" type="slidenum">
              <a:rPr lang="it-IT" smtClean="0"/>
              <a:pPr fontAlgn="auto">
                <a:spcBef>
                  <a:spcPts val="0"/>
                </a:spcBef>
                <a:spcAft>
                  <a:spcPts val="0"/>
                </a:spcAft>
                <a:defRPr/>
              </a:pPr>
              <a:t>‹Nr.›</a:t>
            </a:fld>
            <a:endParaRPr lang="it-IT"/>
          </a:p>
        </p:txBody>
      </p:sp>
      <p:sp>
        <p:nvSpPr>
          <p:cNvPr id="2" name="Titolo 1"/>
          <p:cNvSpPr>
            <a:spLocks noGrp="1"/>
          </p:cNvSpPr>
          <p:nvPr>
            <p:ph type="ctrTitle"/>
          </p:nvPr>
        </p:nvSpPr>
        <p:spPr>
          <a:xfrm>
            <a:off x="277290" y="534147"/>
            <a:ext cx="3013346" cy="1920240"/>
          </a:xfrm>
          <a:prstGeom prst="rect">
            <a:avLst/>
          </a:prstGeom>
        </p:spPr>
        <p:txBody>
          <a:bodyPr anchor="t" anchorCtr="0">
            <a:noAutofit/>
          </a:bodyPr>
          <a:lstStyle>
            <a:lvl1pPr algn="l">
              <a:defRPr sz="2800" b="1" i="0">
                <a:solidFill>
                  <a:schemeClr val="bg1"/>
                </a:solidFill>
                <a:latin typeface="Montserrat" pitchFamily="2" charset="77"/>
              </a:defRPr>
            </a:lvl1pPr>
          </a:lstStyle>
          <a:p>
            <a:r>
              <a:rPr lang="it-IT"/>
              <a:t>Fare clic per modificare lo stile del titolo dello schema</a:t>
            </a:r>
          </a:p>
        </p:txBody>
      </p:sp>
      <p:sp>
        <p:nvSpPr>
          <p:cNvPr id="12" name="Segnaposto contenuto 2"/>
          <p:cNvSpPr>
            <a:spLocks noGrp="1"/>
          </p:cNvSpPr>
          <p:nvPr>
            <p:ph sz="half" idx="1"/>
          </p:nvPr>
        </p:nvSpPr>
        <p:spPr>
          <a:xfrm>
            <a:off x="6463495" y="1825625"/>
            <a:ext cx="2375705" cy="4351338"/>
          </a:xfrm>
          <a:prstGeom prst="rect">
            <a:avLst/>
          </a:prstGeom>
        </p:spPr>
        <p:txBody>
          <a:bodyPr>
            <a:norm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600" b="1" i="0">
                <a:solidFill>
                  <a:schemeClr val="tx2"/>
                </a:solidFill>
                <a:latin typeface="Montserrat" pitchFamily="2" charset="77"/>
              </a:defRPr>
            </a:lvl1pPr>
            <a:lvl2pPr marL="457200" indent="0">
              <a:buNone/>
              <a:defRPr sz="1600" b="1" i="0">
                <a:solidFill>
                  <a:schemeClr val="bg2">
                    <a:lumMod val="25000"/>
                  </a:schemeClr>
                </a:solidFill>
                <a:latin typeface="Montserrat" pitchFamily="2" charset="77"/>
              </a:defRPr>
            </a:lvl2pPr>
            <a:lvl3pPr marL="914400" indent="0">
              <a:buFont typeface="Arial" panose="020B0604020202020204" pitchFamily="34" charset="0"/>
              <a:buNone/>
              <a:defRPr sz="1600" b="1" i="0">
                <a:solidFill>
                  <a:schemeClr val="bg2">
                    <a:lumMod val="25000"/>
                  </a:schemeClr>
                </a:solidFill>
                <a:latin typeface="Montserrat" pitchFamily="2" charset="77"/>
              </a:defRPr>
            </a:lvl3pPr>
            <a:lvl4pPr marL="1371600" indent="0">
              <a:buFont typeface="Arial" panose="020B0604020202020204" pitchFamily="34" charset="0"/>
              <a:buNone/>
              <a:defRPr sz="1600" b="1" i="0">
                <a:solidFill>
                  <a:schemeClr val="bg2">
                    <a:lumMod val="25000"/>
                  </a:schemeClr>
                </a:solidFill>
                <a:latin typeface="Montserrat" pitchFamily="2" charset="77"/>
              </a:defRPr>
            </a:lvl4pPr>
            <a:lvl5pPr marL="1828800" indent="0">
              <a:buFont typeface="Arial" panose="020B0604020202020204" pitchFamily="34" charset="0"/>
              <a:buNone/>
              <a:defRPr sz="1600" b="1" i="0">
                <a:solidFill>
                  <a:schemeClr val="bg2">
                    <a:lumMod val="25000"/>
                  </a:schemeClr>
                </a:solidFill>
                <a:latin typeface="Montserrat" pitchFamily="2" charset="77"/>
              </a:defRPr>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13" name="Segnaposto contenuto 2"/>
          <p:cNvSpPr>
            <a:spLocks noGrp="1"/>
          </p:cNvSpPr>
          <p:nvPr>
            <p:ph sz="half" idx="13"/>
          </p:nvPr>
        </p:nvSpPr>
        <p:spPr>
          <a:xfrm>
            <a:off x="8962855" y="1825625"/>
            <a:ext cx="2375705" cy="4351338"/>
          </a:xfrm>
          <a:prstGeom prst="rect">
            <a:avLst/>
          </a:prstGeom>
        </p:spPr>
        <p:txBody>
          <a:bodyPr>
            <a:norm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600" b="1" i="0">
                <a:solidFill>
                  <a:schemeClr val="tx2"/>
                </a:solidFill>
                <a:latin typeface="Montserrat" pitchFamily="2" charset="77"/>
              </a:defRPr>
            </a:lvl1pPr>
            <a:lvl2pPr marL="457200" indent="0">
              <a:buNone/>
              <a:defRPr sz="1600" b="1" i="0">
                <a:solidFill>
                  <a:schemeClr val="bg2">
                    <a:lumMod val="25000"/>
                  </a:schemeClr>
                </a:solidFill>
                <a:latin typeface="Montserrat" pitchFamily="2" charset="77"/>
              </a:defRPr>
            </a:lvl2pPr>
            <a:lvl3pPr marL="914400" indent="0">
              <a:buFont typeface="Arial" panose="020B0604020202020204" pitchFamily="34" charset="0"/>
              <a:buNone/>
              <a:defRPr sz="1600" b="1" i="0">
                <a:solidFill>
                  <a:schemeClr val="bg2">
                    <a:lumMod val="25000"/>
                  </a:schemeClr>
                </a:solidFill>
                <a:latin typeface="Montserrat" pitchFamily="2" charset="77"/>
              </a:defRPr>
            </a:lvl3pPr>
            <a:lvl4pPr marL="1371600" indent="0">
              <a:buFont typeface="Arial" panose="020B0604020202020204" pitchFamily="34" charset="0"/>
              <a:buNone/>
              <a:defRPr sz="1600" b="1" i="0">
                <a:solidFill>
                  <a:schemeClr val="bg2">
                    <a:lumMod val="25000"/>
                  </a:schemeClr>
                </a:solidFill>
                <a:latin typeface="Montserrat" pitchFamily="2" charset="77"/>
              </a:defRPr>
            </a:lvl4pPr>
            <a:lvl5pPr marL="1828800" indent="0">
              <a:buFont typeface="Arial" panose="020B0604020202020204" pitchFamily="34" charset="0"/>
              <a:buNone/>
              <a:defRPr sz="1600" b="1" i="0">
                <a:solidFill>
                  <a:schemeClr val="bg2">
                    <a:lumMod val="25000"/>
                  </a:schemeClr>
                </a:solidFill>
                <a:latin typeface="Montserrat" pitchFamily="2" charset="77"/>
              </a:defRPr>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15" name="Segnaposto contenuto 2"/>
          <p:cNvSpPr>
            <a:spLocks noGrp="1"/>
          </p:cNvSpPr>
          <p:nvPr>
            <p:ph sz="half" idx="14"/>
          </p:nvPr>
        </p:nvSpPr>
        <p:spPr>
          <a:xfrm>
            <a:off x="3974295" y="1825625"/>
            <a:ext cx="2375705" cy="4351338"/>
          </a:xfrm>
          <a:prstGeom prst="rect">
            <a:avLst/>
          </a:prstGeom>
        </p:spPr>
        <p:txBody>
          <a:bodyPr>
            <a:norm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600" b="1" i="0">
                <a:solidFill>
                  <a:schemeClr val="tx2"/>
                </a:solidFill>
                <a:latin typeface="Montserrat" pitchFamily="2" charset="77"/>
              </a:defRPr>
            </a:lvl1pPr>
            <a:lvl2pPr marL="457200" indent="0">
              <a:buNone/>
              <a:defRPr sz="1600" b="1" i="0">
                <a:solidFill>
                  <a:schemeClr val="bg2">
                    <a:lumMod val="25000"/>
                  </a:schemeClr>
                </a:solidFill>
                <a:latin typeface="Montserrat" pitchFamily="2" charset="77"/>
              </a:defRPr>
            </a:lvl2pPr>
            <a:lvl3pPr marL="914400" indent="0">
              <a:buFont typeface="Arial" panose="020B0604020202020204" pitchFamily="34" charset="0"/>
              <a:buNone/>
              <a:defRPr sz="1600" b="1" i="0">
                <a:solidFill>
                  <a:schemeClr val="bg2">
                    <a:lumMod val="25000"/>
                  </a:schemeClr>
                </a:solidFill>
                <a:latin typeface="Montserrat" pitchFamily="2" charset="77"/>
              </a:defRPr>
            </a:lvl3pPr>
            <a:lvl4pPr marL="1371600" indent="0">
              <a:buFont typeface="Arial" panose="020B0604020202020204" pitchFamily="34" charset="0"/>
              <a:buNone/>
              <a:defRPr sz="1600" b="1" i="0">
                <a:solidFill>
                  <a:schemeClr val="bg2">
                    <a:lumMod val="25000"/>
                  </a:schemeClr>
                </a:solidFill>
                <a:latin typeface="Montserrat" pitchFamily="2" charset="77"/>
              </a:defRPr>
            </a:lvl4pPr>
            <a:lvl5pPr marL="1828800" indent="0">
              <a:buFont typeface="Arial" panose="020B0604020202020204" pitchFamily="34" charset="0"/>
              <a:buNone/>
              <a:defRPr sz="1600" b="1" i="0">
                <a:solidFill>
                  <a:schemeClr val="bg2">
                    <a:lumMod val="25000"/>
                  </a:schemeClr>
                </a:solidFill>
                <a:latin typeface="Montserrat" pitchFamily="2" charset="77"/>
              </a:defRPr>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Tree>
    <p:extLst>
      <p:ext uri="{BB962C8B-B14F-4D97-AF65-F5344CB8AC3E}">
        <p14:creationId xmlns:p14="http://schemas.microsoft.com/office/powerpoint/2010/main" val="3137777582"/>
      </p:ext>
    </p:extLst>
  </p:cSld>
  <p:clrMapOvr>
    <a:masterClrMapping/>
  </p:clrMapOvr>
  <mc:AlternateContent xmlns:mc="http://schemas.openxmlformats.org/markup-compatibility/2006" xmlns:p14="http://schemas.microsoft.com/office/powerpoint/2010/main">
    <mc:Choice Requires="p14">
      <p:transition spd="slow" p14:dur="1250">
        <p14:reveal/>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Index">
    <p:spTree>
      <p:nvGrpSpPr>
        <p:cNvPr id="1" name=""/>
        <p:cNvGrpSpPr/>
        <p:nvPr/>
      </p:nvGrpSpPr>
      <p:grpSpPr>
        <a:xfrm>
          <a:off x="0" y="0"/>
          <a:ext cx="0" cy="0"/>
          <a:chOff x="0" y="0"/>
          <a:chExt cx="0" cy="0"/>
        </a:xfrm>
      </p:grpSpPr>
      <p:pic>
        <p:nvPicPr>
          <p:cNvPr id="10" name="Immagine 9" descr="Immagine che contiene persona, nuotando, sport acquatico, sport&#10;&#10;Descrizione generata automaticamente">
            <a:extLst>
              <a:ext uri="{FF2B5EF4-FFF2-40B4-BE49-F238E27FC236}">
                <a16:creationId xmlns:a16="http://schemas.microsoft.com/office/drawing/2014/main" id="{05507E3E-410D-7045-B9E9-45B0A3A9894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1271" y="515937"/>
            <a:ext cx="3931916" cy="5972176"/>
          </a:xfrm>
          <a:prstGeom prst="rect">
            <a:avLst/>
          </a:prstGeom>
        </p:spPr>
      </p:pic>
      <p:sp>
        <p:nvSpPr>
          <p:cNvPr id="8" name="Rettangolo 7">
            <a:extLst>
              <a:ext uri="{FF2B5EF4-FFF2-40B4-BE49-F238E27FC236}">
                <a16:creationId xmlns:a16="http://schemas.microsoft.com/office/drawing/2014/main" id="{25E7A198-146D-654B-92A2-547E6043A55D}"/>
              </a:ext>
            </a:extLst>
          </p:cNvPr>
          <p:cNvSpPr/>
          <p:nvPr/>
        </p:nvSpPr>
        <p:spPr>
          <a:xfrm>
            <a:off x="193675" y="0"/>
            <a:ext cx="3181350" cy="6897688"/>
          </a:xfrm>
          <a:prstGeom prst="rect">
            <a:avLst/>
          </a:prstGeom>
          <a:solidFill>
            <a:srgbClr val="1D4F91">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it-IT">
              <a:solidFill>
                <a:schemeClr val="accent1"/>
              </a:solidFill>
              <a:latin typeface="Montserrat Medium" pitchFamily="2" charset="77"/>
            </a:endParaRPr>
          </a:p>
        </p:txBody>
      </p:sp>
      <p:pic>
        <p:nvPicPr>
          <p:cNvPr id="9" name="Immagine 3">
            <a:extLst>
              <a:ext uri="{FF2B5EF4-FFF2-40B4-BE49-F238E27FC236}">
                <a16:creationId xmlns:a16="http://schemas.microsoft.com/office/drawing/2014/main" id="{69C6415C-1155-9649-B69F-129AE35060BE}"/>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10477500" y="265113"/>
            <a:ext cx="1352550" cy="506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Immagine 5">
            <a:extLst>
              <a:ext uri="{FF2B5EF4-FFF2-40B4-BE49-F238E27FC236}">
                <a16:creationId xmlns:a16="http://schemas.microsoft.com/office/drawing/2014/main" id="{64B16CDA-3F86-3045-95C4-3B6FE47CC6EA}"/>
              </a:ext>
            </a:extLst>
          </p:cNvPr>
          <p:cNvPicPr>
            <a:picLocks noChangeAspect="1" noChangeArrowheads="1"/>
          </p:cNvPicPr>
          <p:nvPr/>
        </p:nvPicPr>
        <p:blipFill>
          <a:blip r:embed="rId4" cstate="screen">
            <a:alphaModFix amt="60000"/>
            <a:extLst>
              <a:ext uri="{28A0092B-C50C-407E-A947-70E740481C1C}">
                <a14:useLocalDpi xmlns:a14="http://schemas.microsoft.com/office/drawing/2010/main"/>
              </a:ext>
            </a:extLst>
          </a:blip>
          <a:srcRect l="17816" t="-2272" b="13448"/>
          <a:stretch>
            <a:fillRect/>
          </a:stretch>
        </p:blipFill>
        <p:spPr bwMode="auto">
          <a:xfrm>
            <a:off x="-12700" y="3582988"/>
            <a:ext cx="2917825" cy="3979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Segnaposto numero diapositiva 5">
            <a:extLst>
              <a:ext uri="{FF2B5EF4-FFF2-40B4-BE49-F238E27FC236}">
                <a16:creationId xmlns:a16="http://schemas.microsoft.com/office/drawing/2014/main" id="{B3EC9B22-9A18-2A48-89C8-AC4BA3B8167A}"/>
              </a:ext>
            </a:extLst>
          </p:cNvPr>
          <p:cNvSpPr txBox="1">
            <a:spLocks/>
          </p:cNvSpPr>
          <p:nvPr/>
        </p:nvSpPr>
        <p:spPr>
          <a:xfrm>
            <a:off x="9145588" y="6356350"/>
            <a:ext cx="2743200" cy="365125"/>
          </a:xfrm>
          <a:prstGeom prst="rect">
            <a:avLst/>
          </a:prstGeom>
        </p:spPr>
        <p:txBody>
          <a:bodyPr anchor="ctr"/>
          <a:lstStyle>
            <a:defPPr>
              <a:defRPr lang="it-IT"/>
            </a:defPPr>
            <a:lvl1pPr marL="0" algn="r" defTabSz="914400" rtl="0" eaLnBrk="1" latinLnBrk="0" hangingPunct="1">
              <a:defRPr sz="1200" kern="1200">
                <a:solidFill>
                  <a:srgbClr val="0070C0"/>
                </a:solidFill>
                <a:latin typeface="Montserrat" pitchFamily="2"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1AC50ABA-F3B5-2E4D-B57B-A03CA130C9CB}" type="slidenum">
              <a:rPr lang="it-IT" smtClean="0"/>
              <a:pPr fontAlgn="auto">
                <a:spcBef>
                  <a:spcPts val="0"/>
                </a:spcBef>
                <a:spcAft>
                  <a:spcPts val="0"/>
                </a:spcAft>
                <a:defRPr/>
              </a:pPr>
              <a:t>‹Nr.›</a:t>
            </a:fld>
            <a:endParaRPr lang="it-IT"/>
          </a:p>
        </p:txBody>
      </p:sp>
      <p:sp>
        <p:nvSpPr>
          <p:cNvPr id="2" name="Titolo 1"/>
          <p:cNvSpPr>
            <a:spLocks noGrp="1"/>
          </p:cNvSpPr>
          <p:nvPr>
            <p:ph type="ctrTitle"/>
          </p:nvPr>
        </p:nvSpPr>
        <p:spPr>
          <a:xfrm>
            <a:off x="277290" y="534147"/>
            <a:ext cx="3013346" cy="1920240"/>
          </a:xfrm>
          <a:prstGeom prst="rect">
            <a:avLst/>
          </a:prstGeom>
        </p:spPr>
        <p:txBody>
          <a:bodyPr anchor="t" anchorCtr="0">
            <a:noAutofit/>
          </a:bodyPr>
          <a:lstStyle>
            <a:lvl1pPr algn="l">
              <a:defRPr sz="2800" b="1" i="0">
                <a:solidFill>
                  <a:schemeClr val="bg1"/>
                </a:solidFill>
                <a:latin typeface="Montserrat" pitchFamily="2" charset="77"/>
              </a:defRPr>
            </a:lvl1pPr>
          </a:lstStyle>
          <a:p>
            <a:r>
              <a:rPr lang="it-IT"/>
              <a:t>Fare clic per modificare lo stile del titolo dello schema</a:t>
            </a:r>
          </a:p>
        </p:txBody>
      </p:sp>
    </p:spTree>
    <p:extLst>
      <p:ext uri="{BB962C8B-B14F-4D97-AF65-F5344CB8AC3E}">
        <p14:creationId xmlns:p14="http://schemas.microsoft.com/office/powerpoint/2010/main" val="3797514696"/>
      </p:ext>
    </p:extLst>
  </p:cSld>
  <p:clrMapOvr>
    <a:masterClrMapping/>
  </p:clrMapOvr>
  <mc:AlternateContent xmlns:mc="http://schemas.openxmlformats.org/markup-compatibility/2006" xmlns:p14="http://schemas.microsoft.com/office/powerpoint/2010/main">
    <mc:Choice Requires="p14">
      <p:transition spd="slow" p14:dur="1250">
        <p14:reveal/>
      </p:transition>
    </mc:Choice>
    <mc:Fallback xmlns="">
      <p:transition spd="slow">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Section Title + Photo 01">
    <p:spTree>
      <p:nvGrpSpPr>
        <p:cNvPr id="1" name=""/>
        <p:cNvGrpSpPr/>
        <p:nvPr/>
      </p:nvGrpSpPr>
      <p:grpSpPr>
        <a:xfrm>
          <a:off x="0" y="0"/>
          <a:ext cx="0" cy="0"/>
          <a:chOff x="0" y="0"/>
          <a:chExt cx="0" cy="0"/>
        </a:xfrm>
      </p:grpSpPr>
      <p:pic>
        <p:nvPicPr>
          <p:cNvPr id="12" name="Immagine 11" descr="Immagine che contiene bolla&#10;&#10;Descrizione generata automaticamente">
            <a:extLst>
              <a:ext uri="{FF2B5EF4-FFF2-40B4-BE49-F238E27FC236}">
                <a16:creationId xmlns:a16="http://schemas.microsoft.com/office/drawing/2014/main" id="{57020D93-235D-8B46-85BE-B2428A83D03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118101" y="518319"/>
            <a:ext cx="5175250" cy="5868755"/>
          </a:xfrm>
          <a:prstGeom prst="rect">
            <a:avLst/>
          </a:prstGeom>
        </p:spPr>
      </p:pic>
      <p:pic>
        <p:nvPicPr>
          <p:cNvPr id="5" name="Immagine 1" descr="Immagine che contiene freccia&#10;&#10;Descrizione generata automaticamente">
            <a:extLst>
              <a:ext uri="{FF2B5EF4-FFF2-40B4-BE49-F238E27FC236}">
                <a16:creationId xmlns:a16="http://schemas.microsoft.com/office/drawing/2014/main" id="{7DDF2315-ABB9-814C-8BF7-10A87E542C2B}"/>
              </a:ext>
            </a:extLst>
          </p:cNvPr>
          <p:cNvPicPr>
            <a:picLocks noChangeAspect="1" noChangeArrowheads="1"/>
          </p:cNvPicPr>
          <p:nvPr/>
        </p:nvPicPr>
        <p:blipFill>
          <a:blip r:embed="rId3" cstate="screen">
            <a:alphaModFix amt="10000"/>
            <a:extLst>
              <a:ext uri="{28A0092B-C50C-407E-A947-70E740481C1C}">
                <a14:useLocalDpi xmlns:a14="http://schemas.microsoft.com/office/drawing/2010/main"/>
              </a:ext>
            </a:extLst>
          </a:blip>
          <a:srcRect t="-5206" r="-22588"/>
          <a:stretch>
            <a:fillRect/>
          </a:stretch>
        </p:blipFill>
        <p:spPr bwMode="auto">
          <a:xfrm>
            <a:off x="0" y="3582988"/>
            <a:ext cx="3551238" cy="3275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ttangolo 5">
            <a:extLst>
              <a:ext uri="{FF2B5EF4-FFF2-40B4-BE49-F238E27FC236}">
                <a16:creationId xmlns:a16="http://schemas.microsoft.com/office/drawing/2014/main" id="{00A78C66-FAD5-C746-931B-85EA64E10E09}"/>
              </a:ext>
            </a:extLst>
          </p:cNvPr>
          <p:cNvSpPr/>
          <p:nvPr/>
        </p:nvSpPr>
        <p:spPr>
          <a:xfrm>
            <a:off x="9223375" y="0"/>
            <a:ext cx="2790825" cy="6858000"/>
          </a:xfrm>
          <a:prstGeom prst="rect">
            <a:avLst/>
          </a:prstGeom>
          <a:solidFill>
            <a:schemeClr val="accent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it-IT">
              <a:latin typeface="Montserrat Medium" pitchFamily="2" charset="77"/>
            </a:endParaRPr>
          </a:p>
        </p:txBody>
      </p:sp>
      <p:sp>
        <p:nvSpPr>
          <p:cNvPr id="7" name="Rettangolo 6">
            <a:extLst>
              <a:ext uri="{FF2B5EF4-FFF2-40B4-BE49-F238E27FC236}">
                <a16:creationId xmlns:a16="http://schemas.microsoft.com/office/drawing/2014/main" id="{755FA066-1C3E-6141-8FF0-F9EB8FD77D03}"/>
              </a:ext>
            </a:extLst>
          </p:cNvPr>
          <p:cNvSpPr/>
          <p:nvPr/>
        </p:nvSpPr>
        <p:spPr>
          <a:xfrm>
            <a:off x="4275138" y="522288"/>
            <a:ext cx="842962" cy="5892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it-IT">
              <a:latin typeface="Montserrat Medium" pitchFamily="2" charset="77"/>
            </a:endParaRPr>
          </a:p>
        </p:txBody>
      </p:sp>
      <p:pic>
        <p:nvPicPr>
          <p:cNvPr id="8" name="Immagine 4">
            <a:extLst>
              <a:ext uri="{FF2B5EF4-FFF2-40B4-BE49-F238E27FC236}">
                <a16:creationId xmlns:a16="http://schemas.microsoft.com/office/drawing/2014/main" id="{CCBB3F94-2D9D-7047-B850-1DEF31CAADDA}"/>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10477500" y="265113"/>
            <a:ext cx="1352550" cy="506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Immagine 5">
            <a:extLst>
              <a:ext uri="{FF2B5EF4-FFF2-40B4-BE49-F238E27FC236}">
                <a16:creationId xmlns:a16="http://schemas.microsoft.com/office/drawing/2014/main" id="{C371C1ED-D55C-9144-8DE8-E33ED5A9962F}"/>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5030788" y="6488113"/>
            <a:ext cx="213042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Segnaposto numero diapositiva 5">
            <a:extLst>
              <a:ext uri="{FF2B5EF4-FFF2-40B4-BE49-F238E27FC236}">
                <a16:creationId xmlns:a16="http://schemas.microsoft.com/office/drawing/2014/main" id="{5FC848A0-E745-CD4D-BA5D-407CB030AAE4}"/>
              </a:ext>
            </a:extLst>
          </p:cNvPr>
          <p:cNvSpPr txBox="1">
            <a:spLocks/>
          </p:cNvSpPr>
          <p:nvPr/>
        </p:nvSpPr>
        <p:spPr>
          <a:xfrm>
            <a:off x="9145588" y="6356350"/>
            <a:ext cx="2743200" cy="365125"/>
          </a:xfrm>
          <a:prstGeom prst="rect">
            <a:avLst/>
          </a:prstGeom>
        </p:spPr>
        <p:txBody>
          <a:bodyPr anchor="ctr"/>
          <a:lstStyle>
            <a:defPPr>
              <a:defRPr lang="it-IT"/>
            </a:defPPr>
            <a:lvl1pPr marL="0" algn="r" defTabSz="914400" rtl="0" eaLnBrk="1" latinLnBrk="0" hangingPunct="1">
              <a:defRPr sz="1200" kern="1200">
                <a:solidFill>
                  <a:srgbClr val="0070C0"/>
                </a:solidFill>
                <a:latin typeface="Montserrat" pitchFamily="2"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BE3C60E3-AC6B-1F47-B694-B72E9E0385BC}" type="slidenum">
              <a:rPr lang="it-IT" smtClean="0"/>
              <a:pPr fontAlgn="auto">
                <a:spcBef>
                  <a:spcPts val="0"/>
                </a:spcBef>
                <a:spcAft>
                  <a:spcPts val="0"/>
                </a:spcAft>
                <a:defRPr/>
              </a:pPr>
              <a:t>‹Nr.›</a:t>
            </a:fld>
            <a:endParaRPr lang="it-IT"/>
          </a:p>
        </p:txBody>
      </p:sp>
      <p:sp>
        <p:nvSpPr>
          <p:cNvPr id="14" name="Titolo 1"/>
          <p:cNvSpPr>
            <a:spLocks noGrp="1"/>
          </p:cNvSpPr>
          <p:nvPr>
            <p:ph type="ctrTitle"/>
          </p:nvPr>
        </p:nvSpPr>
        <p:spPr>
          <a:xfrm>
            <a:off x="314961" y="2722879"/>
            <a:ext cx="3723639" cy="1112203"/>
          </a:xfrm>
          <a:prstGeom prst="rect">
            <a:avLst/>
          </a:prstGeom>
        </p:spPr>
        <p:txBody>
          <a:bodyPr anchor="b">
            <a:noAutofit/>
          </a:bodyPr>
          <a:lstStyle>
            <a:lvl1pPr algn="l">
              <a:defRPr sz="2800" b="1" i="0">
                <a:solidFill>
                  <a:schemeClr val="tx2"/>
                </a:solidFill>
                <a:latin typeface="Montserrat" pitchFamily="2" charset="77"/>
              </a:defRPr>
            </a:lvl1pPr>
          </a:lstStyle>
          <a:p>
            <a:r>
              <a:rPr lang="it-IT"/>
              <a:t>Fare clic per modificare lo stile del titolo dello schema</a:t>
            </a:r>
          </a:p>
        </p:txBody>
      </p:sp>
      <p:sp>
        <p:nvSpPr>
          <p:cNvPr id="15" name="Sottotitolo 2"/>
          <p:cNvSpPr>
            <a:spLocks noGrp="1"/>
          </p:cNvSpPr>
          <p:nvPr>
            <p:ph type="subTitle" idx="1"/>
          </p:nvPr>
        </p:nvSpPr>
        <p:spPr>
          <a:xfrm>
            <a:off x="314960" y="3927158"/>
            <a:ext cx="2661920" cy="1223962"/>
          </a:xfrm>
          <a:prstGeom prst="rect">
            <a:avLst/>
          </a:prstGeom>
        </p:spPr>
        <p:txBody>
          <a:bodyPr>
            <a:normAutofit/>
          </a:bodyPr>
          <a:lstStyle>
            <a:lvl1pPr marL="0" indent="0" algn="l">
              <a:buNone/>
              <a:defRPr sz="1600" b="0" i="0">
                <a:solidFill>
                  <a:schemeClr val="tx2"/>
                </a:solidFill>
                <a:latin typeface="Montserrat Light" pitchFamily="2"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it-IT"/>
              <a:t>Fare clic per modificare lo stile del sottotitolo dello schema</a:t>
            </a:r>
          </a:p>
        </p:txBody>
      </p:sp>
    </p:spTree>
    <p:extLst>
      <p:ext uri="{BB962C8B-B14F-4D97-AF65-F5344CB8AC3E}">
        <p14:creationId xmlns:p14="http://schemas.microsoft.com/office/powerpoint/2010/main" val="946050093"/>
      </p:ext>
    </p:extLst>
  </p:cSld>
  <p:clrMapOvr>
    <a:masterClrMapping/>
  </p:clrMapOvr>
  <mc:AlternateContent xmlns:mc="http://schemas.openxmlformats.org/markup-compatibility/2006" xmlns:p14="http://schemas.microsoft.com/office/powerpoint/2010/main">
    <mc:Choice Requires="p14">
      <p:transition spd="slow" p14:dur="1250">
        <p14:reveal/>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hart Title, Photo, Text &amp; Graphcis 01">
    <p:spTree>
      <p:nvGrpSpPr>
        <p:cNvPr id="1" name=""/>
        <p:cNvGrpSpPr/>
        <p:nvPr/>
      </p:nvGrpSpPr>
      <p:grpSpPr>
        <a:xfrm>
          <a:off x="0" y="0"/>
          <a:ext cx="0" cy="0"/>
          <a:chOff x="0" y="0"/>
          <a:chExt cx="0" cy="0"/>
        </a:xfrm>
      </p:grpSpPr>
      <p:pic>
        <p:nvPicPr>
          <p:cNvPr id="3" name="Immagine 2" descr="Immagine che contiene persona, luce&#10;&#10;Descrizione generata automaticamente">
            <a:extLst>
              <a:ext uri="{FF2B5EF4-FFF2-40B4-BE49-F238E27FC236}">
                <a16:creationId xmlns:a16="http://schemas.microsoft.com/office/drawing/2014/main" id="{6C408869-9248-3F4A-8626-10853AD91D5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8420" y="1818822"/>
            <a:ext cx="5778501" cy="3603901"/>
          </a:xfrm>
          <a:prstGeom prst="rect">
            <a:avLst/>
          </a:prstGeom>
        </p:spPr>
      </p:pic>
      <p:pic>
        <p:nvPicPr>
          <p:cNvPr id="6" name="Immagine 1">
            <a:extLst>
              <a:ext uri="{FF2B5EF4-FFF2-40B4-BE49-F238E27FC236}">
                <a16:creationId xmlns:a16="http://schemas.microsoft.com/office/drawing/2014/main" id="{372AFE2D-214C-6548-B6E1-E9D97499E002}"/>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5030788" y="6488113"/>
            <a:ext cx="213042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ttangolo 6">
            <a:extLst>
              <a:ext uri="{FF2B5EF4-FFF2-40B4-BE49-F238E27FC236}">
                <a16:creationId xmlns:a16="http://schemas.microsoft.com/office/drawing/2014/main" id="{4D7105E0-1546-414B-9DC8-86888F9DB85E}"/>
              </a:ext>
            </a:extLst>
          </p:cNvPr>
          <p:cNvSpPr/>
          <p:nvPr/>
        </p:nvSpPr>
        <p:spPr>
          <a:xfrm>
            <a:off x="193675" y="0"/>
            <a:ext cx="3181350" cy="6858000"/>
          </a:xfrm>
          <a:prstGeom prst="rect">
            <a:avLst/>
          </a:prstGeom>
          <a:solidFill>
            <a:schemeClr val="accent4">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it-IT">
              <a:latin typeface="Montserrat Medium" pitchFamily="2" charset="77"/>
            </a:endParaRPr>
          </a:p>
        </p:txBody>
      </p:sp>
      <p:sp>
        <p:nvSpPr>
          <p:cNvPr id="8" name="Rettangolo 7">
            <a:extLst>
              <a:ext uri="{FF2B5EF4-FFF2-40B4-BE49-F238E27FC236}">
                <a16:creationId xmlns:a16="http://schemas.microsoft.com/office/drawing/2014/main" id="{D5FAB3BF-E251-7843-ADCD-74931907E2CF}"/>
              </a:ext>
            </a:extLst>
          </p:cNvPr>
          <p:cNvSpPr/>
          <p:nvPr/>
        </p:nvSpPr>
        <p:spPr>
          <a:xfrm>
            <a:off x="1293813" y="0"/>
            <a:ext cx="3181350" cy="6858000"/>
          </a:xfrm>
          <a:prstGeom prst="rect">
            <a:avLst/>
          </a:prstGeom>
          <a:solidFill>
            <a:schemeClr val="accent4">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it-IT">
              <a:latin typeface="Montserrat Medium" pitchFamily="2" charset="77"/>
            </a:endParaRPr>
          </a:p>
        </p:txBody>
      </p:sp>
      <p:pic>
        <p:nvPicPr>
          <p:cNvPr id="9" name="Immagine 4">
            <a:extLst>
              <a:ext uri="{FF2B5EF4-FFF2-40B4-BE49-F238E27FC236}">
                <a16:creationId xmlns:a16="http://schemas.microsoft.com/office/drawing/2014/main" id="{187F081F-ABD2-2341-8BD7-6173CE561824}"/>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10477500" y="265113"/>
            <a:ext cx="1352550" cy="506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Segnaposto numero diapositiva 5">
            <a:extLst>
              <a:ext uri="{FF2B5EF4-FFF2-40B4-BE49-F238E27FC236}">
                <a16:creationId xmlns:a16="http://schemas.microsoft.com/office/drawing/2014/main" id="{40B5F8DC-A1C1-DC4A-A0A7-C9BBBC367363}"/>
              </a:ext>
            </a:extLst>
          </p:cNvPr>
          <p:cNvSpPr txBox="1">
            <a:spLocks/>
          </p:cNvSpPr>
          <p:nvPr/>
        </p:nvSpPr>
        <p:spPr>
          <a:xfrm>
            <a:off x="9145588" y="6356350"/>
            <a:ext cx="2743200" cy="365125"/>
          </a:xfrm>
          <a:prstGeom prst="rect">
            <a:avLst/>
          </a:prstGeom>
        </p:spPr>
        <p:txBody>
          <a:bodyPr anchor="ctr"/>
          <a:lstStyle>
            <a:defPPr>
              <a:defRPr lang="it-IT"/>
            </a:defPPr>
            <a:lvl1pPr marL="0" algn="r" defTabSz="914400" rtl="0" eaLnBrk="1" latinLnBrk="0" hangingPunct="1">
              <a:defRPr sz="1200" kern="1200">
                <a:solidFill>
                  <a:srgbClr val="0070C0"/>
                </a:solidFill>
                <a:latin typeface="Montserrat" pitchFamily="2"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F6D2ADB9-18AF-6C46-9B8E-358A92A26A60}" type="slidenum">
              <a:rPr lang="it-IT" smtClean="0"/>
              <a:pPr fontAlgn="auto">
                <a:spcBef>
                  <a:spcPts val="0"/>
                </a:spcBef>
                <a:spcAft>
                  <a:spcPts val="0"/>
                </a:spcAft>
                <a:defRPr/>
              </a:pPr>
              <a:t>‹Nr.›</a:t>
            </a:fld>
            <a:endParaRPr lang="it-IT"/>
          </a:p>
        </p:txBody>
      </p:sp>
      <p:sp>
        <p:nvSpPr>
          <p:cNvPr id="12" name="Titolo 1"/>
          <p:cNvSpPr>
            <a:spLocks noGrp="1"/>
          </p:cNvSpPr>
          <p:nvPr>
            <p:ph type="ctrTitle"/>
          </p:nvPr>
        </p:nvSpPr>
        <p:spPr>
          <a:xfrm>
            <a:off x="277290" y="534147"/>
            <a:ext cx="4966042" cy="1291478"/>
          </a:xfrm>
          <a:prstGeom prst="rect">
            <a:avLst/>
          </a:prstGeom>
        </p:spPr>
        <p:txBody>
          <a:bodyPr anchor="t" anchorCtr="0">
            <a:noAutofit/>
          </a:bodyPr>
          <a:lstStyle>
            <a:lvl1pPr algn="l">
              <a:defRPr sz="2800" b="1" i="0">
                <a:solidFill>
                  <a:schemeClr val="tx1"/>
                </a:solidFill>
                <a:latin typeface="Montserrat" pitchFamily="2" charset="77"/>
              </a:defRPr>
            </a:lvl1pPr>
          </a:lstStyle>
          <a:p>
            <a:r>
              <a:rPr lang="it-IT"/>
              <a:t>Fare clic per modificare lo stile del titolo dello schema</a:t>
            </a:r>
          </a:p>
        </p:txBody>
      </p:sp>
      <p:sp>
        <p:nvSpPr>
          <p:cNvPr id="14" name="Segnaposto contenuto 2"/>
          <p:cNvSpPr>
            <a:spLocks noGrp="1"/>
          </p:cNvSpPr>
          <p:nvPr>
            <p:ph sz="half" idx="1"/>
          </p:nvPr>
        </p:nvSpPr>
        <p:spPr>
          <a:xfrm>
            <a:off x="5933756" y="1825625"/>
            <a:ext cx="2851429" cy="4351338"/>
          </a:xfrm>
          <a:prstGeom prst="rect">
            <a:avLst/>
          </a:prstGeom>
        </p:spPr>
        <p:txBody>
          <a:bodyPr>
            <a:norm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600" b="1" i="0">
                <a:solidFill>
                  <a:schemeClr val="tx2"/>
                </a:solidFill>
                <a:latin typeface="Montserrat" pitchFamily="2" charset="77"/>
              </a:defRPr>
            </a:lvl1pPr>
            <a:lvl2pPr marL="457200" indent="0">
              <a:buNone/>
              <a:defRPr sz="1600" b="1" i="0">
                <a:solidFill>
                  <a:schemeClr val="bg2">
                    <a:lumMod val="25000"/>
                  </a:schemeClr>
                </a:solidFill>
                <a:latin typeface="Montserrat" pitchFamily="2" charset="77"/>
              </a:defRPr>
            </a:lvl2pPr>
            <a:lvl3pPr marL="914400" indent="0">
              <a:buFont typeface="Arial" panose="020B0604020202020204" pitchFamily="34" charset="0"/>
              <a:buNone/>
              <a:defRPr sz="1600" b="1" i="0">
                <a:solidFill>
                  <a:schemeClr val="bg2">
                    <a:lumMod val="25000"/>
                  </a:schemeClr>
                </a:solidFill>
                <a:latin typeface="Montserrat" pitchFamily="2" charset="77"/>
              </a:defRPr>
            </a:lvl3pPr>
            <a:lvl4pPr marL="1371600" indent="0">
              <a:buFont typeface="Arial" panose="020B0604020202020204" pitchFamily="34" charset="0"/>
              <a:buNone/>
              <a:defRPr sz="1600" b="1" i="0">
                <a:solidFill>
                  <a:schemeClr val="bg2">
                    <a:lumMod val="25000"/>
                  </a:schemeClr>
                </a:solidFill>
                <a:latin typeface="Montserrat" pitchFamily="2" charset="77"/>
              </a:defRPr>
            </a:lvl4pPr>
            <a:lvl5pPr marL="1828800" indent="0">
              <a:buFont typeface="Arial" panose="020B0604020202020204" pitchFamily="34" charset="0"/>
              <a:buNone/>
              <a:defRPr sz="1600" b="1" i="0">
                <a:solidFill>
                  <a:schemeClr val="bg2">
                    <a:lumMod val="25000"/>
                  </a:schemeClr>
                </a:solidFill>
                <a:latin typeface="Montserrat" pitchFamily="2" charset="77"/>
              </a:defRPr>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16" name="Segnaposto contenuto 2"/>
          <p:cNvSpPr>
            <a:spLocks noGrp="1"/>
          </p:cNvSpPr>
          <p:nvPr>
            <p:ph sz="half" idx="12"/>
          </p:nvPr>
        </p:nvSpPr>
        <p:spPr>
          <a:xfrm>
            <a:off x="8962855" y="1825625"/>
            <a:ext cx="2851429" cy="4351338"/>
          </a:xfrm>
          <a:prstGeom prst="rect">
            <a:avLst/>
          </a:prstGeom>
        </p:spPr>
        <p:txBody>
          <a:bodyPr>
            <a:norm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600" b="1" i="0">
                <a:solidFill>
                  <a:schemeClr val="tx2"/>
                </a:solidFill>
                <a:latin typeface="Montserrat" pitchFamily="2" charset="77"/>
              </a:defRPr>
            </a:lvl1pPr>
            <a:lvl2pPr marL="457200" indent="0">
              <a:buNone/>
              <a:defRPr sz="1600" b="1" i="0">
                <a:solidFill>
                  <a:schemeClr val="bg2">
                    <a:lumMod val="25000"/>
                  </a:schemeClr>
                </a:solidFill>
                <a:latin typeface="Montserrat" pitchFamily="2" charset="77"/>
              </a:defRPr>
            </a:lvl2pPr>
            <a:lvl3pPr marL="914400" indent="0">
              <a:buFont typeface="Arial" panose="020B0604020202020204" pitchFamily="34" charset="0"/>
              <a:buNone/>
              <a:defRPr sz="1600" b="1" i="0">
                <a:solidFill>
                  <a:schemeClr val="bg2">
                    <a:lumMod val="25000"/>
                  </a:schemeClr>
                </a:solidFill>
                <a:latin typeface="Montserrat" pitchFamily="2" charset="77"/>
              </a:defRPr>
            </a:lvl3pPr>
            <a:lvl4pPr marL="1371600" indent="0">
              <a:buFont typeface="Arial" panose="020B0604020202020204" pitchFamily="34" charset="0"/>
              <a:buNone/>
              <a:defRPr sz="1600" b="1" i="0">
                <a:solidFill>
                  <a:schemeClr val="bg2">
                    <a:lumMod val="25000"/>
                  </a:schemeClr>
                </a:solidFill>
                <a:latin typeface="Montserrat" pitchFamily="2" charset="77"/>
              </a:defRPr>
            </a:lvl4pPr>
            <a:lvl5pPr marL="1828800" indent="0">
              <a:buFont typeface="Arial" panose="020B0604020202020204" pitchFamily="34" charset="0"/>
              <a:buNone/>
              <a:defRPr sz="1600" b="1" i="0">
                <a:solidFill>
                  <a:schemeClr val="bg2">
                    <a:lumMod val="25000"/>
                  </a:schemeClr>
                </a:solidFill>
                <a:latin typeface="Montserrat" pitchFamily="2" charset="77"/>
              </a:defRPr>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pic>
        <p:nvPicPr>
          <p:cNvPr id="13" name="Immagine 4" descr="Immagine che contiene freccia&#10;&#10;Descrizione generata automaticamente">
            <a:extLst>
              <a:ext uri="{FF2B5EF4-FFF2-40B4-BE49-F238E27FC236}">
                <a16:creationId xmlns:a16="http://schemas.microsoft.com/office/drawing/2014/main" id="{DB20B8D5-B6D1-4E40-9875-BF288B49695F}"/>
              </a:ext>
            </a:extLst>
          </p:cNvPr>
          <p:cNvPicPr>
            <a:picLocks noChangeAspect="1" noChangeArrowheads="1"/>
          </p:cNvPicPr>
          <p:nvPr userDrawn="1"/>
        </p:nvPicPr>
        <p:blipFill>
          <a:blip r:embed="rId5" cstate="screen">
            <a:alphaModFix amt="10000"/>
            <a:extLst>
              <a:ext uri="{28A0092B-C50C-407E-A947-70E740481C1C}">
                <a14:useLocalDpi xmlns:a14="http://schemas.microsoft.com/office/drawing/2010/main"/>
              </a:ext>
            </a:extLst>
          </a:blip>
          <a:srcRect t="-5206" r="-22588"/>
          <a:stretch>
            <a:fillRect/>
          </a:stretch>
        </p:blipFill>
        <p:spPr bwMode="auto">
          <a:xfrm>
            <a:off x="0" y="3582988"/>
            <a:ext cx="3551238" cy="3275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75980910"/>
      </p:ext>
    </p:extLst>
  </p:cSld>
  <p:clrMapOvr>
    <a:masterClrMapping/>
  </p:clrMapOvr>
  <mc:AlternateContent xmlns:mc="http://schemas.openxmlformats.org/markup-compatibility/2006" xmlns:p14="http://schemas.microsoft.com/office/powerpoint/2010/main">
    <mc:Choice Requires="p14">
      <p:transition spd="slow" p14:dur="1250">
        <p14:reveal/>
      </p:transition>
    </mc:Choice>
    <mc:Fallback xmlns="">
      <p:transition spd="slow">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Chart Title, Photo, Text &amp; Graphcis 01">
    <p:spTree>
      <p:nvGrpSpPr>
        <p:cNvPr id="1" name=""/>
        <p:cNvGrpSpPr/>
        <p:nvPr/>
      </p:nvGrpSpPr>
      <p:grpSpPr>
        <a:xfrm>
          <a:off x="0" y="0"/>
          <a:ext cx="0" cy="0"/>
          <a:chOff x="0" y="0"/>
          <a:chExt cx="0" cy="0"/>
        </a:xfrm>
      </p:grpSpPr>
      <p:pic>
        <p:nvPicPr>
          <p:cNvPr id="3" name="Immagine 2" descr="Immagine che contiene persona, luce&#10;&#10;Descrizione generata automaticamente">
            <a:extLst>
              <a:ext uri="{FF2B5EF4-FFF2-40B4-BE49-F238E27FC236}">
                <a16:creationId xmlns:a16="http://schemas.microsoft.com/office/drawing/2014/main" id="{6C408869-9248-3F4A-8626-10853AD91D5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8420" y="1818822"/>
            <a:ext cx="5778501" cy="3603901"/>
          </a:xfrm>
          <a:prstGeom prst="rect">
            <a:avLst/>
          </a:prstGeom>
        </p:spPr>
      </p:pic>
      <p:pic>
        <p:nvPicPr>
          <p:cNvPr id="6" name="Immagine 1">
            <a:extLst>
              <a:ext uri="{FF2B5EF4-FFF2-40B4-BE49-F238E27FC236}">
                <a16:creationId xmlns:a16="http://schemas.microsoft.com/office/drawing/2014/main" id="{372AFE2D-214C-6548-B6E1-E9D97499E002}"/>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5030788" y="6488113"/>
            <a:ext cx="213042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ttangolo 6">
            <a:extLst>
              <a:ext uri="{FF2B5EF4-FFF2-40B4-BE49-F238E27FC236}">
                <a16:creationId xmlns:a16="http://schemas.microsoft.com/office/drawing/2014/main" id="{4D7105E0-1546-414B-9DC8-86888F9DB85E}"/>
              </a:ext>
            </a:extLst>
          </p:cNvPr>
          <p:cNvSpPr/>
          <p:nvPr/>
        </p:nvSpPr>
        <p:spPr>
          <a:xfrm>
            <a:off x="193675" y="0"/>
            <a:ext cx="3181350" cy="6858000"/>
          </a:xfrm>
          <a:prstGeom prst="rect">
            <a:avLst/>
          </a:prstGeom>
          <a:solidFill>
            <a:schemeClr val="accent4">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it-IT">
              <a:latin typeface="Montserrat Medium" pitchFamily="2" charset="77"/>
            </a:endParaRPr>
          </a:p>
        </p:txBody>
      </p:sp>
      <p:sp>
        <p:nvSpPr>
          <p:cNvPr id="8" name="Rettangolo 7">
            <a:extLst>
              <a:ext uri="{FF2B5EF4-FFF2-40B4-BE49-F238E27FC236}">
                <a16:creationId xmlns:a16="http://schemas.microsoft.com/office/drawing/2014/main" id="{D5FAB3BF-E251-7843-ADCD-74931907E2CF}"/>
              </a:ext>
            </a:extLst>
          </p:cNvPr>
          <p:cNvSpPr/>
          <p:nvPr/>
        </p:nvSpPr>
        <p:spPr>
          <a:xfrm>
            <a:off x="1293813" y="0"/>
            <a:ext cx="3181350" cy="6858000"/>
          </a:xfrm>
          <a:prstGeom prst="rect">
            <a:avLst/>
          </a:prstGeom>
          <a:solidFill>
            <a:schemeClr val="accent4">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it-IT">
              <a:latin typeface="Montserrat Medium" pitchFamily="2" charset="77"/>
            </a:endParaRPr>
          </a:p>
        </p:txBody>
      </p:sp>
      <p:pic>
        <p:nvPicPr>
          <p:cNvPr id="9" name="Immagine 4">
            <a:extLst>
              <a:ext uri="{FF2B5EF4-FFF2-40B4-BE49-F238E27FC236}">
                <a16:creationId xmlns:a16="http://schemas.microsoft.com/office/drawing/2014/main" id="{187F081F-ABD2-2341-8BD7-6173CE561824}"/>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10477500" y="265113"/>
            <a:ext cx="1352550" cy="506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Segnaposto numero diapositiva 5">
            <a:extLst>
              <a:ext uri="{FF2B5EF4-FFF2-40B4-BE49-F238E27FC236}">
                <a16:creationId xmlns:a16="http://schemas.microsoft.com/office/drawing/2014/main" id="{40B5F8DC-A1C1-DC4A-A0A7-C9BBBC367363}"/>
              </a:ext>
            </a:extLst>
          </p:cNvPr>
          <p:cNvSpPr txBox="1">
            <a:spLocks/>
          </p:cNvSpPr>
          <p:nvPr/>
        </p:nvSpPr>
        <p:spPr>
          <a:xfrm>
            <a:off x="9145588" y="6356350"/>
            <a:ext cx="2743200" cy="365125"/>
          </a:xfrm>
          <a:prstGeom prst="rect">
            <a:avLst/>
          </a:prstGeom>
        </p:spPr>
        <p:txBody>
          <a:bodyPr anchor="ctr"/>
          <a:lstStyle>
            <a:defPPr>
              <a:defRPr lang="it-IT"/>
            </a:defPPr>
            <a:lvl1pPr marL="0" algn="r" defTabSz="914400" rtl="0" eaLnBrk="1" latinLnBrk="0" hangingPunct="1">
              <a:defRPr sz="1200" kern="1200">
                <a:solidFill>
                  <a:srgbClr val="0070C0"/>
                </a:solidFill>
                <a:latin typeface="Montserrat" pitchFamily="2"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F6D2ADB9-18AF-6C46-9B8E-358A92A26A60}" type="slidenum">
              <a:rPr lang="it-IT" smtClean="0"/>
              <a:pPr fontAlgn="auto">
                <a:spcBef>
                  <a:spcPts val="0"/>
                </a:spcBef>
                <a:spcAft>
                  <a:spcPts val="0"/>
                </a:spcAft>
                <a:defRPr/>
              </a:pPr>
              <a:t>‹Nr.›</a:t>
            </a:fld>
            <a:endParaRPr lang="it-IT"/>
          </a:p>
        </p:txBody>
      </p:sp>
      <p:sp>
        <p:nvSpPr>
          <p:cNvPr id="12" name="Titolo 1"/>
          <p:cNvSpPr>
            <a:spLocks noGrp="1"/>
          </p:cNvSpPr>
          <p:nvPr>
            <p:ph type="ctrTitle"/>
          </p:nvPr>
        </p:nvSpPr>
        <p:spPr>
          <a:xfrm>
            <a:off x="277290" y="534147"/>
            <a:ext cx="4966042" cy="1291478"/>
          </a:xfrm>
          <a:prstGeom prst="rect">
            <a:avLst/>
          </a:prstGeom>
        </p:spPr>
        <p:txBody>
          <a:bodyPr anchor="t" anchorCtr="0">
            <a:noAutofit/>
          </a:bodyPr>
          <a:lstStyle>
            <a:lvl1pPr algn="l">
              <a:defRPr sz="2800" b="1" i="0">
                <a:solidFill>
                  <a:schemeClr val="tx1"/>
                </a:solidFill>
                <a:latin typeface="Montserrat" pitchFamily="2" charset="77"/>
              </a:defRPr>
            </a:lvl1pPr>
          </a:lstStyle>
          <a:p>
            <a:r>
              <a:rPr lang="it-IT"/>
              <a:t>Fare clic per modificare lo stile del titolo dello schema</a:t>
            </a:r>
          </a:p>
        </p:txBody>
      </p:sp>
      <p:sp>
        <p:nvSpPr>
          <p:cNvPr id="14" name="Segnaposto contenuto 2"/>
          <p:cNvSpPr>
            <a:spLocks noGrp="1"/>
          </p:cNvSpPr>
          <p:nvPr>
            <p:ph sz="half" idx="1"/>
          </p:nvPr>
        </p:nvSpPr>
        <p:spPr>
          <a:xfrm>
            <a:off x="5933756" y="1825625"/>
            <a:ext cx="5896294" cy="4351338"/>
          </a:xfrm>
          <a:prstGeom prst="rect">
            <a:avLst/>
          </a:prstGeom>
        </p:spPr>
        <p:txBody>
          <a:bodyPr>
            <a:norm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600" b="1" i="0">
                <a:solidFill>
                  <a:schemeClr val="tx2"/>
                </a:solidFill>
                <a:latin typeface="Montserrat" pitchFamily="2" charset="77"/>
              </a:defRPr>
            </a:lvl1pPr>
            <a:lvl2pPr marL="457200" indent="0">
              <a:buNone/>
              <a:defRPr sz="1600" b="0" i="0">
                <a:solidFill>
                  <a:schemeClr val="tx2"/>
                </a:solidFill>
                <a:latin typeface="Montserrat" pitchFamily="2" charset="77"/>
              </a:defRPr>
            </a:lvl2pPr>
            <a:lvl3pPr marL="914400" indent="0">
              <a:buFont typeface="Arial" panose="020B0604020202020204" pitchFamily="34" charset="0"/>
              <a:buNone/>
              <a:defRPr sz="1600" b="0" i="0">
                <a:solidFill>
                  <a:schemeClr val="tx2"/>
                </a:solidFill>
                <a:latin typeface="Montserrat" pitchFamily="2" charset="77"/>
              </a:defRPr>
            </a:lvl3pPr>
            <a:lvl4pPr marL="1371600" indent="0">
              <a:buFont typeface="Arial" panose="020B0604020202020204" pitchFamily="34" charset="0"/>
              <a:buNone/>
              <a:defRPr sz="1600" b="0" i="0">
                <a:solidFill>
                  <a:schemeClr val="tx2"/>
                </a:solidFill>
                <a:latin typeface="Montserrat" pitchFamily="2" charset="77"/>
              </a:defRPr>
            </a:lvl4pPr>
            <a:lvl5pPr marL="1828800" indent="0">
              <a:buFont typeface="Arial" panose="020B0604020202020204" pitchFamily="34" charset="0"/>
              <a:buNone/>
              <a:defRPr sz="1600" b="0" i="0">
                <a:solidFill>
                  <a:schemeClr val="tx2"/>
                </a:solidFill>
                <a:latin typeface="Montserrat" pitchFamily="2" charset="77"/>
              </a:defRPr>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pic>
        <p:nvPicPr>
          <p:cNvPr id="13" name="Immagine 4" descr="Immagine che contiene freccia&#10;&#10;Descrizione generata automaticamente">
            <a:extLst>
              <a:ext uri="{FF2B5EF4-FFF2-40B4-BE49-F238E27FC236}">
                <a16:creationId xmlns:a16="http://schemas.microsoft.com/office/drawing/2014/main" id="{DB20B8D5-B6D1-4E40-9875-BF288B49695F}"/>
              </a:ext>
            </a:extLst>
          </p:cNvPr>
          <p:cNvPicPr>
            <a:picLocks noChangeAspect="1" noChangeArrowheads="1"/>
          </p:cNvPicPr>
          <p:nvPr userDrawn="1"/>
        </p:nvPicPr>
        <p:blipFill>
          <a:blip r:embed="rId5" cstate="screen">
            <a:alphaModFix amt="10000"/>
            <a:extLst>
              <a:ext uri="{28A0092B-C50C-407E-A947-70E740481C1C}">
                <a14:useLocalDpi xmlns:a14="http://schemas.microsoft.com/office/drawing/2010/main"/>
              </a:ext>
            </a:extLst>
          </a:blip>
          <a:srcRect t="-5206" r="-22588"/>
          <a:stretch>
            <a:fillRect/>
          </a:stretch>
        </p:blipFill>
        <p:spPr bwMode="auto">
          <a:xfrm>
            <a:off x="0" y="3582988"/>
            <a:ext cx="3551238" cy="3275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813681582"/>
      </p:ext>
    </p:extLst>
  </p:cSld>
  <p:clrMapOvr>
    <a:masterClrMapping/>
  </p:clrMapOvr>
  <mc:AlternateContent xmlns:mc="http://schemas.openxmlformats.org/markup-compatibility/2006" xmlns:p14="http://schemas.microsoft.com/office/powerpoint/2010/main">
    <mc:Choice Requires="p14">
      <p:transition spd="slow" p14:dur="1250">
        <p14:reveal/>
      </p:transition>
    </mc:Choice>
    <mc:Fallback xmlns="">
      <p:transition spd="slow">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hart Title, Text &amp; Graphcis 02">
    <p:spTree>
      <p:nvGrpSpPr>
        <p:cNvPr id="1" name=""/>
        <p:cNvGrpSpPr/>
        <p:nvPr/>
      </p:nvGrpSpPr>
      <p:grpSpPr>
        <a:xfrm>
          <a:off x="0" y="0"/>
          <a:ext cx="0" cy="0"/>
          <a:chOff x="0" y="0"/>
          <a:chExt cx="0" cy="0"/>
        </a:xfrm>
      </p:grpSpPr>
      <p:sp>
        <p:nvSpPr>
          <p:cNvPr id="6" name="Rettangolo 5">
            <a:extLst>
              <a:ext uri="{FF2B5EF4-FFF2-40B4-BE49-F238E27FC236}">
                <a16:creationId xmlns:a16="http://schemas.microsoft.com/office/drawing/2014/main" id="{68659CDE-F292-4148-9BA9-B77F820E85F5}"/>
              </a:ext>
            </a:extLst>
          </p:cNvPr>
          <p:cNvSpPr/>
          <p:nvPr/>
        </p:nvSpPr>
        <p:spPr>
          <a:xfrm>
            <a:off x="193675" y="0"/>
            <a:ext cx="3181350" cy="6858000"/>
          </a:xfrm>
          <a:prstGeom prst="rect">
            <a:avLst/>
          </a:prstGeom>
          <a:solidFill>
            <a:schemeClr val="accent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it-IT">
              <a:latin typeface="Montserrat Medium" pitchFamily="2" charset="77"/>
            </a:endParaRPr>
          </a:p>
        </p:txBody>
      </p:sp>
      <p:sp>
        <p:nvSpPr>
          <p:cNvPr id="7" name="Rettangolo 6">
            <a:extLst>
              <a:ext uri="{FF2B5EF4-FFF2-40B4-BE49-F238E27FC236}">
                <a16:creationId xmlns:a16="http://schemas.microsoft.com/office/drawing/2014/main" id="{7455D1C7-183F-2A47-98AB-38CBF03B62EB}"/>
              </a:ext>
            </a:extLst>
          </p:cNvPr>
          <p:cNvSpPr/>
          <p:nvPr/>
        </p:nvSpPr>
        <p:spPr>
          <a:xfrm>
            <a:off x="752475" y="0"/>
            <a:ext cx="3181350" cy="6858000"/>
          </a:xfrm>
          <a:prstGeom prst="rect">
            <a:avLst/>
          </a:prstGeom>
          <a:solidFill>
            <a:schemeClr val="accent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it-IT">
              <a:latin typeface="Montserrat Medium" pitchFamily="2" charset="77"/>
            </a:endParaRPr>
          </a:p>
        </p:txBody>
      </p:sp>
      <p:pic>
        <p:nvPicPr>
          <p:cNvPr id="8" name="Immagine 3">
            <a:extLst>
              <a:ext uri="{FF2B5EF4-FFF2-40B4-BE49-F238E27FC236}">
                <a16:creationId xmlns:a16="http://schemas.microsoft.com/office/drawing/2014/main" id="{89B218C4-3E78-BC4A-99EF-80E3C3C180BE}"/>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10477500" y="265113"/>
            <a:ext cx="1352550" cy="506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Segnaposto numero diapositiva 5">
            <a:extLst>
              <a:ext uri="{FF2B5EF4-FFF2-40B4-BE49-F238E27FC236}">
                <a16:creationId xmlns:a16="http://schemas.microsoft.com/office/drawing/2014/main" id="{A80B5598-19B8-264C-9128-80A2A0863DA0}"/>
              </a:ext>
            </a:extLst>
          </p:cNvPr>
          <p:cNvSpPr txBox="1">
            <a:spLocks/>
          </p:cNvSpPr>
          <p:nvPr/>
        </p:nvSpPr>
        <p:spPr>
          <a:xfrm>
            <a:off x="9145588" y="6356350"/>
            <a:ext cx="2743200" cy="365125"/>
          </a:xfrm>
          <a:prstGeom prst="rect">
            <a:avLst/>
          </a:prstGeom>
        </p:spPr>
        <p:txBody>
          <a:bodyPr anchor="ctr"/>
          <a:lstStyle>
            <a:defPPr>
              <a:defRPr lang="it-IT"/>
            </a:defPPr>
            <a:lvl1pPr marL="0" algn="r" defTabSz="914400" rtl="0" eaLnBrk="1" latinLnBrk="0" hangingPunct="1">
              <a:defRPr sz="1200" kern="1200">
                <a:solidFill>
                  <a:srgbClr val="0070C0"/>
                </a:solidFill>
                <a:latin typeface="Montserrat" pitchFamily="2"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ACC2F8CE-7A66-6E40-9970-A07E8F047879}" type="slidenum">
              <a:rPr lang="it-IT" smtClean="0"/>
              <a:pPr fontAlgn="auto">
                <a:spcBef>
                  <a:spcPts val="0"/>
                </a:spcBef>
                <a:spcAft>
                  <a:spcPts val="0"/>
                </a:spcAft>
                <a:defRPr/>
              </a:pPr>
              <a:t>‹Nr.›</a:t>
            </a:fld>
            <a:endParaRPr lang="it-IT"/>
          </a:p>
        </p:txBody>
      </p:sp>
      <p:pic>
        <p:nvPicPr>
          <p:cNvPr id="11" name="Immagine 6">
            <a:extLst>
              <a:ext uri="{FF2B5EF4-FFF2-40B4-BE49-F238E27FC236}">
                <a16:creationId xmlns:a16="http://schemas.microsoft.com/office/drawing/2014/main" id="{553E69B8-C212-6B4D-93FF-8B30FD3F05A0}"/>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5030788" y="6488113"/>
            <a:ext cx="213042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itolo 1"/>
          <p:cNvSpPr>
            <a:spLocks noGrp="1"/>
          </p:cNvSpPr>
          <p:nvPr>
            <p:ph type="ctrTitle"/>
          </p:nvPr>
        </p:nvSpPr>
        <p:spPr>
          <a:xfrm>
            <a:off x="277290" y="534147"/>
            <a:ext cx="3013346" cy="1920240"/>
          </a:xfrm>
          <a:prstGeom prst="rect">
            <a:avLst/>
          </a:prstGeom>
        </p:spPr>
        <p:txBody>
          <a:bodyPr anchor="t" anchorCtr="0">
            <a:noAutofit/>
          </a:bodyPr>
          <a:lstStyle>
            <a:lvl1pPr algn="l">
              <a:defRPr sz="2800" b="1" i="0">
                <a:solidFill>
                  <a:schemeClr val="tx1"/>
                </a:solidFill>
                <a:latin typeface="Montserrat" pitchFamily="2" charset="77"/>
              </a:defRPr>
            </a:lvl1pPr>
          </a:lstStyle>
          <a:p>
            <a:r>
              <a:rPr lang="it-IT"/>
              <a:t>Fare clic per modificare lo stile del titolo dello schema</a:t>
            </a:r>
          </a:p>
        </p:txBody>
      </p:sp>
      <p:sp>
        <p:nvSpPr>
          <p:cNvPr id="20" name="Text Placeholder 2"/>
          <p:cNvSpPr>
            <a:spLocks noGrp="1"/>
          </p:cNvSpPr>
          <p:nvPr>
            <p:ph type="body" idx="10"/>
          </p:nvPr>
        </p:nvSpPr>
        <p:spPr>
          <a:xfrm>
            <a:off x="3991053" y="1624918"/>
            <a:ext cx="7820656" cy="823912"/>
          </a:xfrm>
          <a:prstGeom prst="rect">
            <a:avLst/>
          </a:prstGeom>
        </p:spPr>
        <p:txBody>
          <a:bodyPr anchor="b"/>
          <a:lstStyle>
            <a:lvl1pPr marL="0" indent="0">
              <a:buNone/>
              <a:defRPr sz="2400" b="1">
                <a:solidFill>
                  <a:schemeClr val="tx2"/>
                </a:solidFill>
                <a:latin typeface="Montserrat" pitchFamily="2" charset="77"/>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gli stili del testo dello schema</a:t>
            </a:r>
          </a:p>
        </p:txBody>
      </p:sp>
      <p:sp>
        <p:nvSpPr>
          <p:cNvPr id="21" name="Content Placeholder 5"/>
          <p:cNvSpPr>
            <a:spLocks noGrp="1"/>
          </p:cNvSpPr>
          <p:nvPr>
            <p:ph sz="quarter" idx="11"/>
          </p:nvPr>
        </p:nvSpPr>
        <p:spPr>
          <a:xfrm>
            <a:off x="3970878" y="2454387"/>
            <a:ext cx="7859171" cy="3684588"/>
          </a:xfrm>
          <a:prstGeom prst="rect">
            <a:avLst/>
          </a:prstGeom>
        </p:spPr>
        <p:txBody>
          <a:bodyPr/>
          <a:lstStyle>
            <a:lvl1pPr>
              <a:defRPr sz="2000">
                <a:solidFill>
                  <a:schemeClr val="tx2"/>
                </a:solidFill>
                <a:latin typeface="Montserrat" pitchFamily="2" charset="77"/>
              </a:defRPr>
            </a:lvl1pPr>
            <a:lvl2pPr>
              <a:defRPr sz="1800">
                <a:solidFill>
                  <a:schemeClr val="tx2"/>
                </a:solidFill>
                <a:latin typeface="Montserrat" pitchFamily="2" charset="77"/>
              </a:defRPr>
            </a:lvl2pPr>
            <a:lvl3pPr>
              <a:defRPr sz="1600">
                <a:solidFill>
                  <a:schemeClr val="tx2"/>
                </a:solidFill>
                <a:latin typeface="Montserrat" pitchFamily="2" charset="77"/>
              </a:defRPr>
            </a:lvl3pPr>
            <a:lvl4pPr>
              <a:defRPr>
                <a:latin typeface="Montserrat" pitchFamily="2" charset="77"/>
              </a:defRPr>
            </a:lvl4pPr>
            <a:lvl5pPr>
              <a:defRPr>
                <a:latin typeface="Montserrat" pitchFamily="2" charset="77"/>
              </a:defRPr>
            </a:lvl5pPr>
          </a:lstStyle>
          <a:p>
            <a:pPr lvl="0"/>
            <a:r>
              <a:rPr lang="it-IT"/>
              <a:t>Fare clic per modificare gli stili del testo dello schema</a:t>
            </a:r>
          </a:p>
          <a:p>
            <a:pPr lvl="1"/>
            <a:r>
              <a:rPr lang="it-IT"/>
              <a:t>Secondo livello</a:t>
            </a:r>
          </a:p>
          <a:p>
            <a:pPr lvl="2"/>
            <a:r>
              <a:rPr lang="it-IT"/>
              <a:t>Terzo livello</a:t>
            </a:r>
          </a:p>
        </p:txBody>
      </p:sp>
      <p:pic>
        <p:nvPicPr>
          <p:cNvPr id="14" name="Immagine 4" descr="Immagine che contiene freccia&#10;&#10;Descrizione generata automaticamente">
            <a:extLst>
              <a:ext uri="{FF2B5EF4-FFF2-40B4-BE49-F238E27FC236}">
                <a16:creationId xmlns:a16="http://schemas.microsoft.com/office/drawing/2014/main" id="{C21DE3F0-B6D6-C246-AA74-2CB489D8DD64}"/>
              </a:ext>
            </a:extLst>
          </p:cNvPr>
          <p:cNvPicPr>
            <a:picLocks noChangeAspect="1" noChangeArrowheads="1"/>
          </p:cNvPicPr>
          <p:nvPr userDrawn="1"/>
        </p:nvPicPr>
        <p:blipFill>
          <a:blip r:embed="rId4" cstate="screen">
            <a:alphaModFix amt="10000"/>
            <a:extLst>
              <a:ext uri="{28A0092B-C50C-407E-A947-70E740481C1C}">
                <a14:useLocalDpi xmlns:a14="http://schemas.microsoft.com/office/drawing/2010/main"/>
              </a:ext>
            </a:extLst>
          </a:blip>
          <a:srcRect t="-5206" r="-22588"/>
          <a:stretch>
            <a:fillRect/>
          </a:stretch>
        </p:blipFill>
        <p:spPr bwMode="auto">
          <a:xfrm>
            <a:off x="0" y="3582988"/>
            <a:ext cx="3551238" cy="3275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998833897"/>
      </p:ext>
    </p:extLst>
  </p:cSld>
  <p:clrMapOvr>
    <a:masterClrMapping/>
  </p:clrMapOvr>
  <mc:AlternateContent xmlns:mc="http://schemas.openxmlformats.org/markup-compatibility/2006" xmlns:p14="http://schemas.microsoft.com/office/powerpoint/2010/main">
    <mc:Choice Requires="p14">
      <p:transition spd="slow" p14:dur="1250">
        <p14:reveal/>
      </p:transition>
    </mc:Choice>
    <mc:Fallback xmlns="">
      <p:transition spd="slow">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Chart Title, Text &amp; Graphcis 02">
    <p:spTree>
      <p:nvGrpSpPr>
        <p:cNvPr id="1" name=""/>
        <p:cNvGrpSpPr/>
        <p:nvPr/>
      </p:nvGrpSpPr>
      <p:grpSpPr>
        <a:xfrm>
          <a:off x="0" y="0"/>
          <a:ext cx="0" cy="0"/>
          <a:chOff x="0" y="0"/>
          <a:chExt cx="0" cy="0"/>
        </a:xfrm>
      </p:grpSpPr>
      <p:pic>
        <p:nvPicPr>
          <p:cNvPr id="14" name="Immagine 4" descr="Immagine che contiene freccia&#10;&#10;Descrizione generata automaticamente">
            <a:extLst>
              <a:ext uri="{FF2B5EF4-FFF2-40B4-BE49-F238E27FC236}">
                <a16:creationId xmlns:a16="http://schemas.microsoft.com/office/drawing/2014/main" id="{C21DE3F0-B6D6-C246-AA74-2CB489D8DD64}"/>
              </a:ext>
            </a:extLst>
          </p:cNvPr>
          <p:cNvPicPr>
            <a:picLocks noChangeAspect="1" noChangeArrowheads="1"/>
          </p:cNvPicPr>
          <p:nvPr userDrawn="1"/>
        </p:nvPicPr>
        <p:blipFill>
          <a:blip r:embed="rId2" cstate="screen">
            <a:alphaModFix amt="10000"/>
            <a:extLst>
              <a:ext uri="{28A0092B-C50C-407E-A947-70E740481C1C}">
                <a14:useLocalDpi xmlns:a14="http://schemas.microsoft.com/office/drawing/2010/main"/>
              </a:ext>
            </a:extLst>
          </a:blip>
          <a:srcRect t="-5206" r="-22588"/>
          <a:stretch>
            <a:fillRect/>
          </a:stretch>
        </p:blipFill>
        <p:spPr bwMode="auto">
          <a:xfrm>
            <a:off x="0" y="3582988"/>
            <a:ext cx="3551238" cy="3275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ttangolo 5">
            <a:extLst>
              <a:ext uri="{FF2B5EF4-FFF2-40B4-BE49-F238E27FC236}">
                <a16:creationId xmlns:a16="http://schemas.microsoft.com/office/drawing/2014/main" id="{68659CDE-F292-4148-9BA9-B77F820E85F5}"/>
              </a:ext>
            </a:extLst>
          </p:cNvPr>
          <p:cNvSpPr/>
          <p:nvPr/>
        </p:nvSpPr>
        <p:spPr>
          <a:xfrm>
            <a:off x="193675" y="0"/>
            <a:ext cx="3181350" cy="6858000"/>
          </a:xfrm>
          <a:prstGeom prst="rect">
            <a:avLst/>
          </a:prstGeom>
          <a:solidFill>
            <a:schemeClr val="accent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it-IT">
              <a:latin typeface="Montserrat Medium" pitchFamily="2" charset="77"/>
            </a:endParaRPr>
          </a:p>
        </p:txBody>
      </p:sp>
      <p:sp>
        <p:nvSpPr>
          <p:cNvPr id="7" name="Rettangolo 6">
            <a:extLst>
              <a:ext uri="{FF2B5EF4-FFF2-40B4-BE49-F238E27FC236}">
                <a16:creationId xmlns:a16="http://schemas.microsoft.com/office/drawing/2014/main" id="{7455D1C7-183F-2A47-98AB-38CBF03B62EB}"/>
              </a:ext>
            </a:extLst>
          </p:cNvPr>
          <p:cNvSpPr/>
          <p:nvPr/>
        </p:nvSpPr>
        <p:spPr>
          <a:xfrm>
            <a:off x="752475" y="0"/>
            <a:ext cx="3181350" cy="6858000"/>
          </a:xfrm>
          <a:prstGeom prst="rect">
            <a:avLst/>
          </a:prstGeom>
          <a:solidFill>
            <a:schemeClr val="accent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it-IT">
              <a:latin typeface="Montserrat Medium" pitchFamily="2" charset="77"/>
            </a:endParaRPr>
          </a:p>
        </p:txBody>
      </p:sp>
      <p:sp>
        <p:nvSpPr>
          <p:cNvPr id="9" name="Segnaposto numero diapositiva 5">
            <a:extLst>
              <a:ext uri="{FF2B5EF4-FFF2-40B4-BE49-F238E27FC236}">
                <a16:creationId xmlns:a16="http://schemas.microsoft.com/office/drawing/2014/main" id="{A80B5598-19B8-264C-9128-80A2A0863DA0}"/>
              </a:ext>
            </a:extLst>
          </p:cNvPr>
          <p:cNvSpPr txBox="1">
            <a:spLocks/>
          </p:cNvSpPr>
          <p:nvPr/>
        </p:nvSpPr>
        <p:spPr>
          <a:xfrm>
            <a:off x="9145588" y="6356350"/>
            <a:ext cx="2743200" cy="365125"/>
          </a:xfrm>
          <a:prstGeom prst="rect">
            <a:avLst/>
          </a:prstGeom>
        </p:spPr>
        <p:txBody>
          <a:bodyPr anchor="ctr"/>
          <a:lstStyle>
            <a:defPPr>
              <a:defRPr lang="it-IT"/>
            </a:defPPr>
            <a:lvl1pPr marL="0" algn="r" defTabSz="914400" rtl="0" eaLnBrk="1" latinLnBrk="0" hangingPunct="1">
              <a:defRPr sz="1200" kern="1200">
                <a:solidFill>
                  <a:srgbClr val="0070C0"/>
                </a:solidFill>
                <a:latin typeface="Montserrat" pitchFamily="2"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ACC2F8CE-7A66-6E40-9970-A07E8F047879}" type="slidenum">
              <a:rPr lang="it-IT" smtClean="0"/>
              <a:pPr fontAlgn="auto">
                <a:spcBef>
                  <a:spcPts val="0"/>
                </a:spcBef>
                <a:spcAft>
                  <a:spcPts val="0"/>
                </a:spcAft>
                <a:defRPr/>
              </a:pPr>
              <a:t>‹Nr.›</a:t>
            </a:fld>
            <a:endParaRPr lang="it-IT"/>
          </a:p>
        </p:txBody>
      </p:sp>
      <p:pic>
        <p:nvPicPr>
          <p:cNvPr id="11" name="Immagine 6">
            <a:extLst>
              <a:ext uri="{FF2B5EF4-FFF2-40B4-BE49-F238E27FC236}">
                <a16:creationId xmlns:a16="http://schemas.microsoft.com/office/drawing/2014/main" id="{553E69B8-C212-6B4D-93FF-8B30FD3F05A0}"/>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5030788" y="6488113"/>
            <a:ext cx="213042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itolo 1"/>
          <p:cNvSpPr>
            <a:spLocks noGrp="1"/>
          </p:cNvSpPr>
          <p:nvPr>
            <p:ph type="ctrTitle"/>
          </p:nvPr>
        </p:nvSpPr>
        <p:spPr>
          <a:xfrm>
            <a:off x="277290" y="534147"/>
            <a:ext cx="3013346" cy="1920240"/>
          </a:xfrm>
          <a:prstGeom prst="rect">
            <a:avLst/>
          </a:prstGeom>
        </p:spPr>
        <p:txBody>
          <a:bodyPr anchor="t" anchorCtr="0">
            <a:noAutofit/>
          </a:bodyPr>
          <a:lstStyle>
            <a:lvl1pPr algn="l">
              <a:defRPr sz="2800" b="1" i="0">
                <a:solidFill>
                  <a:schemeClr val="tx1"/>
                </a:solidFill>
                <a:latin typeface="Montserrat" pitchFamily="2" charset="77"/>
              </a:defRPr>
            </a:lvl1pPr>
          </a:lstStyle>
          <a:p>
            <a:r>
              <a:rPr lang="it-IT"/>
              <a:t>Fare clic per modificare lo stile del titolo dello schema</a:t>
            </a:r>
          </a:p>
        </p:txBody>
      </p:sp>
      <p:pic>
        <p:nvPicPr>
          <p:cNvPr id="15" name="Immagine 5">
            <a:extLst>
              <a:ext uri="{FF2B5EF4-FFF2-40B4-BE49-F238E27FC236}">
                <a16:creationId xmlns:a16="http://schemas.microsoft.com/office/drawing/2014/main" id="{0A852CE7-7CC2-4D41-8F6B-0401BCD10D78}"/>
              </a:ext>
            </a:extLst>
          </p:cNvPr>
          <p:cNvPicPr>
            <a:picLocks noChangeAspect="1" noChangeArrowheads="1"/>
          </p:cNvPicPr>
          <p:nvPr userDrawn="1"/>
        </p:nvPicPr>
        <p:blipFill>
          <a:blip r:embed="rId4" cstate="screen">
            <a:alphaModFix amt="60000"/>
            <a:extLst>
              <a:ext uri="{28A0092B-C50C-407E-A947-70E740481C1C}">
                <a14:useLocalDpi xmlns:a14="http://schemas.microsoft.com/office/drawing/2010/main"/>
              </a:ext>
            </a:extLst>
          </a:blip>
          <a:srcRect l="17816" t="-2272" b="13448"/>
          <a:stretch>
            <a:fillRect/>
          </a:stretch>
        </p:blipFill>
        <p:spPr bwMode="auto">
          <a:xfrm>
            <a:off x="-12700" y="3582988"/>
            <a:ext cx="2917825" cy="397986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918358805"/>
      </p:ext>
    </p:extLst>
  </p:cSld>
  <p:clrMapOvr>
    <a:masterClrMapping/>
  </p:clrMapOvr>
  <mc:AlternateContent xmlns:mc="http://schemas.openxmlformats.org/markup-compatibility/2006" xmlns:p14="http://schemas.microsoft.com/office/powerpoint/2010/main">
    <mc:Choice Requires="p14">
      <p:transition spd="slow" p14:dur="1250">
        <p14:reveal/>
      </p:transition>
    </mc:Choice>
    <mc:Fallback xmlns="">
      <p:transition spd="slow">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hart Title, Photo, Text &amp; Graphcis 03">
    <p:spTree>
      <p:nvGrpSpPr>
        <p:cNvPr id="1" name=""/>
        <p:cNvGrpSpPr/>
        <p:nvPr/>
      </p:nvGrpSpPr>
      <p:grpSpPr>
        <a:xfrm>
          <a:off x="0" y="0"/>
          <a:ext cx="0" cy="0"/>
          <a:chOff x="0" y="0"/>
          <a:chExt cx="0" cy="0"/>
        </a:xfrm>
      </p:grpSpPr>
      <p:pic>
        <p:nvPicPr>
          <p:cNvPr id="3" name="Immagine 2" descr="Immagine che contiene testo, persona, elettronico&#10;&#10;Descrizione generata automaticamente">
            <a:extLst>
              <a:ext uri="{FF2B5EF4-FFF2-40B4-BE49-F238E27FC236}">
                <a16:creationId xmlns:a16="http://schemas.microsoft.com/office/drawing/2014/main" id="{A0F6C742-700F-C444-92DE-D9E061D5195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6940" y="518319"/>
            <a:ext cx="3885985" cy="5909767"/>
          </a:xfrm>
          <a:prstGeom prst="rect">
            <a:avLst/>
          </a:prstGeom>
        </p:spPr>
      </p:pic>
      <p:sp>
        <p:nvSpPr>
          <p:cNvPr id="8" name="Rettangolo 7">
            <a:extLst>
              <a:ext uri="{FF2B5EF4-FFF2-40B4-BE49-F238E27FC236}">
                <a16:creationId xmlns:a16="http://schemas.microsoft.com/office/drawing/2014/main" id="{96F462C6-5195-3544-9351-3EB11A26A2A9}"/>
              </a:ext>
            </a:extLst>
          </p:cNvPr>
          <p:cNvSpPr/>
          <p:nvPr userDrawn="1"/>
        </p:nvSpPr>
        <p:spPr>
          <a:xfrm>
            <a:off x="181560" y="0"/>
            <a:ext cx="3181350" cy="6858000"/>
          </a:xfrm>
          <a:prstGeom prst="rect">
            <a:avLst/>
          </a:prstGeom>
          <a:solidFill>
            <a:schemeClr val="accent4">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it-IT">
              <a:latin typeface="Montserrat Medium" pitchFamily="2" charset="77"/>
            </a:endParaRPr>
          </a:p>
        </p:txBody>
      </p:sp>
      <p:pic>
        <p:nvPicPr>
          <p:cNvPr id="10" name="Immagine 3">
            <a:extLst>
              <a:ext uri="{FF2B5EF4-FFF2-40B4-BE49-F238E27FC236}">
                <a16:creationId xmlns:a16="http://schemas.microsoft.com/office/drawing/2014/main" id="{C049FF0C-C175-414A-B238-71771F6010F8}"/>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5030788" y="6488113"/>
            <a:ext cx="213042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Immagine 4">
            <a:extLst>
              <a:ext uri="{FF2B5EF4-FFF2-40B4-BE49-F238E27FC236}">
                <a16:creationId xmlns:a16="http://schemas.microsoft.com/office/drawing/2014/main" id="{DC75300E-5AC8-B84D-9013-9FFD18666747}"/>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10477500" y="265113"/>
            <a:ext cx="1352550" cy="506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Segnaposto numero diapositiva 5">
            <a:extLst>
              <a:ext uri="{FF2B5EF4-FFF2-40B4-BE49-F238E27FC236}">
                <a16:creationId xmlns:a16="http://schemas.microsoft.com/office/drawing/2014/main" id="{BD0572D9-2E53-F846-B806-F3C4BFBDD0ED}"/>
              </a:ext>
            </a:extLst>
          </p:cNvPr>
          <p:cNvSpPr txBox="1">
            <a:spLocks/>
          </p:cNvSpPr>
          <p:nvPr/>
        </p:nvSpPr>
        <p:spPr>
          <a:xfrm>
            <a:off x="9145588" y="6356350"/>
            <a:ext cx="2743200" cy="365125"/>
          </a:xfrm>
          <a:prstGeom prst="rect">
            <a:avLst/>
          </a:prstGeom>
        </p:spPr>
        <p:txBody>
          <a:bodyPr anchor="ctr"/>
          <a:lstStyle>
            <a:defPPr>
              <a:defRPr lang="it-IT"/>
            </a:defPPr>
            <a:lvl1pPr marL="0" algn="r" defTabSz="914400" rtl="0" eaLnBrk="1" latinLnBrk="0" hangingPunct="1">
              <a:defRPr sz="1200" kern="1200">
                <a:solidFill>
                  <a:srgbClr val="0070C0"/>
                </a:solidFill>
                <a:latin typeface="Montserrat" pitchFamily="2"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57C52430-09B3-A34A-8530-398333C0F3DE}" type="slidenum">
              <a:rPr lang="it-IT" smtClean="0"/>
              <a:pPr fontAlgn="auto">
                <a:spcBef>
                  <a:spcPts val="0"/>
                </a:spcBef>
                <a:spcAft>
                  <a:spcPts val="0"/>
                </a:spcAft>
                <a:defRPr/>
              </a:pPr>
              <a:t>‹Nr.›</a:t>
            </a:fld>
            <a:endParaRPr lang="it-IT"/>
          </a:p>
        </p:txBody>
      </p:sp>
      <p:sp>
        <p:nvSpPr>
          <p:cNvPr id="12" name="Titolo 1"/>
          <p:cNvSpPr>
            <a:spLocks noGrp="1"/>
          </p:cNvSpPr>
          <p:nvPr>
            <p:ph type="ctrTitle"/>
          </p:nvPr>
        </p:nvSpPr>
        <p:spPr>
          <a:xfrm>
            <a:off x="277290" y="534147"/>
            <a:ext cx="3013346" cy="1920240"/>
          </a:xfrm>
          <a:prstGeom prst="rect">
            <a:avLst/>
          </a:prstGeom>
        </p:spPr>
        <p:txBody>
          <a:bodyPr anchor="t" anchorCtr="0">
            <a:noAutofit/>
          </a:bodyPr>
          <a:lstStyle>
            <a:lvl1pPr algn="l">
              <a:defRPr sz="2800" b="1" i="0">
                <a:solidFill>
                  <a:schemeClr val="tx1"/>
                </a:solidFill>
                <a:latin typeface="Montserrat" pitchFamily="2" charset="77"/>
              </a:defRPr>
            </a:lvl1pPr>
          </a:lstStyle>
          <a:p>
            <a:r>
              <a:rPr lang="it-IT"/>
              <a:t>Fare clic per modificare lo stile del titolo dello schema</a:t>
            </a:r>
          </a:p>
        </p:txBody>
      </p:sp>
      <p:sp>
        <p:nvSpPr>
          <p:cNvPr id="28" name="Segnaposto contenuto 2"/>
          <p:cNvSpPr>
            <a:spLocks noGrp="1"/>
          </p:cNvSpPr>
          <p:nvPr>
            <p:ph sz="half" idx="13"/>
          </p:nvPr>
        </p:nvSpPr>
        <p:spPr>
          <a:xfrm>
            <a:off x="5038494" y="4670218"/>
            <a:ext cx="5366732" cy="1757868"/>
          </a:xfrm>
          <a:prstGeom prst="rect">
            <a:avLst/>
          </a:prstGeom>
        </p:spPr>
        <p:txBody>
          <a:bodyPr>
            <a:norm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200" b="0" i="0">
                <a:solidFill>
                  <a:schemeClr val="tx2"/>
                </a:solidFill>
                <a:latin typeface="Montserrat" pitchFamily="2" charset="77"/>
              </a:defRPr>
            </a:lvl1pPr>
            <a:lvl2pPr marL="457200" indent="0">
              <a:buNone/>
              <a:defRPr sz="1600" b="1" i="0">
                <a:solidFill>
                  <a:schemeClr val="bg2">
                    <a:lumMod val="25000"/>
                  </a:schemeClr>
                </a:solidFill>
                <a:latin typeface="Montserrat" pitchFamily="2" charset="77"/>
              </a:defRPr>
            </a:lvl2pPr>
            <a:lvl3pPr marL="914400" indent="0">
              <a:buFont typeface="Arial" panose="020B0604020202020204" pitchFamily="34" charset="0"/>
              <a:buNone/>
              <a:defRPr sz="1600" b="1" i="0">
                <a:solidFill>
                  <a:schemeClr val="bg2">
                    <a:lumMod val="25000"/>
                  </a:schemeClr>
                </a:solidFill>
                <a:latin typeface="Montserrat" pitchFamily="2" charset="77"/>
              </a:defRPr>
            </a:lvl3pPr>
            <a:lvl4pPr marL="1371600" indent="0">
              <a:buFont typeface="Arial" panose="020B0604020202020204" pitchFamily="34" charset="0"/>
              <a:buNone/>
              <a:defRPr sz="1600" b="1" i="0">
                <a:solidFill>
                  <a:schemeClr val="bg2">
                    <a:lumMod val="25000"/>
                  </a:schemeClr>
                </a:solidFill>
                <a:latin typeface="Montserrat" pitchFamily="2" charset="77"/>
              </a:defRPr>
            </a:lvl4pPr>
            <a:lvl5pPr marL="1828800" indent="0">
              <a:buFont typeface="Arial" panose="020B0604020202020204" pitchFamily="34" charset="0"/>
              <a:buNone/>
              <a:defRPr sz="1600" b="1" i="0">
                <a:solidFill>
                  <a:schemeClr val="bg2">
                    <a:lumMod val="25000"/>
                  </a:schemeClr>
                </a:solidFill>
                <a:latin typeface="Montserrat" pitchFamily="2" charset="77"/>
              </a:defRPr>
            </a:lvl5pPr>
          </a:lstStyle>
          <a:p>
            <a:pPr lvl="0"/>
            <a:r>
              <a:rPr lang="it-IT"/>
              <a:t>Fare clic per modificare gli stili del testo dello schema</a:t>
            </a:r>
          </a:p>
        </p:txBody>
      </p:sp>
      <p:sp>
        <p:nvSpPr>
          <p:cNvPr id="29" name="Segnaposto contenuto 2"/>
          <p:cNvSpPr>
            <a:spLocks noGrp="1"/>
          </p:cNvSpPr>
          <p:nvPr>
            <p:ph sz="half" idx="1"/>
          </p:nvPr>
        </p:nvSpPr>
        <p:spPr>
          <a:xfrm>
            <a:off x="5038494" y="534147"/>
            <a:ext cx="5366732" cy="1757868"/>
          </a:xfrm>
          <a:prstGeom prst="rect">
            <a:avLst/>
          </a:prstGeom>
        </p:spPr>
        <p:txBody>
          <a:bodyPr>
            <a:norm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200" b="0" i="0">
                <a:solidFill>
                  <a:schemeClr val="tx2"/>
                </a:solidFill>
                <a:latin typeface="Montserrat" pitchFamily="2" charset="77"/>
              </a:defRPr>
            </a:lvl1pPr>
            <a:lvl2pPr marL="457200" indent="0">
              <a:buNone/>
              <a:defRPr sz="1600" b="1" i="0">
                <a:solidFill>
                  <a:schemeClr val="bg2">
                    <a:lumMod val="25000"/>
                  </a:schemeClr>
                </a:solidFill>
                <a:latin typeface="Montserrat" pitchFamily="2" charset="77"/>
              </a:defRPr>
            </a:lvl2pPr>
            <a:lvl3pPr marL="914400" indent="0">
              <a:buFont typeface="Arial" panose="020B0604020202020204" pitchFamily="34" charset="0"/>
              <a:buNone/>
              <a:defRPr sz="1600" b="1" i="0">
                <a:solidFill>
                  <a:schemeClr val="bg2">
                    <a:lumMod val="25000"/>
                  </a:schemeClr>
                </a:solidFill>
                <a:latin typeface="Montserrat" pitchFamily="2" charset="77"/>
              </a:defRPr>
            </a:lvl3pPr>
            <a:lvl4pPr marL="1371600" indent="0">
              <a:buFont typeface="Arial" panose="020B0604020202020204" pitchFamily="34" charset="0"/>
              <a:buNone/>
              <a:defRPr sz="1600" b="1" i="0">
                <a:solidFill>
                  <a:schemeClr val="bg2">
                    <a:lumMod val="25000"/>
                  </a:schemeClr>
                </a:solidFill>
                <a:latin typeface="Montserrat" pitchFamily="2" charset="77"/>
              </a:defRPr>
            </a:lvl4pPr>
            <a:lvl5pPr marL="1828800" indent="0">
              <a:buFont typeface="Arial" panose="020B0604020202020204" pitchFamily="34" charset="0"/>
              <a:buNone/>
              <a:defRPr sz="1600" b="1" i="0">
                <a:solidFill>
                  <a:schemeClr val="bg2">
                    <a:lumMod val="25000"/>
                  </a:schemeClr>
                </a:solidFill>
                <a:latin typeface="Montserrat" pitchFamily="2" charset="77"/>
              </a:defRPr>
            </a:lvl5pPr>
          </a:lstStyle>
          <a:p>
            <a:pPr lvl="0"/>
            <a:r>
              <a:rPr lang="it-IT"/>
              <a:t>Fare clic per modificare gli stili del testo dello schema</a:t>
            </a:r>
          </a:p>
        </p:txBody>
      </p:sp>
      <p:pic>
        <p:nvPicPr>
          <p:cNvPr id="9" name="Immagine 2">
            <a:extLst>
              <a:ext uri="{FF2B5EF4-FFF2-40B4-BE49-F238E27FC236}">
                <a16:creationId xmlns:a16="http://schemas.microsoft.com/office/drawing/2014/main" id="{1CA336C8-E729-1E42-89E6-5EA19C485474}"/>
              </a:ext>
            </a:extLst>
          </p:cNvPr>
          <p:cNvPicPr>
            <a:picLocks noChangeAspect="1" noChangeArrowheads="1"/>
          </p:cNvPicPr>
          <p:nvPr/>
        </p:nvPicPr>
        <p:blipFill>
          <a:blip r:embed="rId5" cstate="screen">
            <a:alphaModFix amt="60000"/>
            <a:extLst>
              <a:ext uri="{28A0092B-C50C-407E-A947-70E740481C1C}">
                <a14:useLocalDpi xmlns:a14="http://schemas.microsoft.com/office/drawing/2010/main"/>
              </a:ext>
            </a:extLst>
          </a:blip>
          <a:srcRect t="-3208"/>
          <a:stretch>
            <a:fillRect/>
          </a:stretch>
        </p:blipFill>
        <p:spPr bwMode="auto">
          <a:xfrm>
            <a:off x="-12700" y="3582988"/>
            <a:ext cx="2917825" cy="3275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Segnaposto contenuto 2">
            <a:extLst>
              <a:ext uri="{FF2B5EF4-FFF2-40B4-BE49-F238E27FC236}">
                <a16:creationId xmlns:a16="http://schemas.microsoft.com/office/drawing/2014/main" id="{C9E0D60C-D9B8-9345-AD03-46615A1308EE}"/>
              </a:ext>
            </a:extLst>
          </p:cNvPr>
          <p:cNvSpPr>
            <a:spLocks noGrp="1"/>
          </p:cNvSpPr>
          <p:nvPr>
            <p:ph sz="half" idx="14"/>
          </p:nvPr>
        </p:nvSpPr>
        <p:spPr>
          <a:xfrm>
            <a:off x="5030788" y="2632196"/>
            <a:ext cx="6799262" cy="1757868"/>
          </a:xfrm>
          <a:prstGeom prst="rect">
            <a:avLst/>
          </a:prstGeom>
        </p:spPr>
        <p:txBody>
          <a:bodyPr>
            <a:norm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200" b="0" i="0">
                <a:solidFill>
                  <a:schemeClr val="tx2"/>
                </a:solidFill>
                <a:latin typeface="Montserrat" pitchFamily="2" charset="77"/>
              </a:defRPr>
            </a:lvl1pPr>
            <a:lvl2pPr marL="457200" indent="0">
              <a:buNone/>
              <a:defRPr sz="1600" b="1" i="0">
                <a:solidFill>
                  <a:schemeClr val="bg2">
                    <a:lumMod val="25000"/>
                  </a:schemeClr>
                </a:solidFill>
                <a:latin typeface="Montserrat" pitchFamily="2" charset="77"/>
              </a:defRPr>
            </a:lvl2pPr>
            <a:lvl3pPr marL="914400" indent="0">
              <a:buFont typeface="Arial" panose="020B0604020202020204" pitchFamily="34" charset="0"/>
              <a:buNone/>
              <a:defRPr sz="1600" b="1" i="0">
                <a:solidFill>
                  <a:schemeClr val="bg2">
                    <a:lumMod val="25000"/>
                  </a:schemeClr>
                </a:solidFill>
                <a:latin typeface="Montserrat" pitchFamily="2" charset="77"/>
              </a:defRPr>
            </a:lvl3pPr>
            <a:lvl4pPr marL="1371600" indent="0">
              <a:buFont typeface="Arial" panose="020B0604020202020204" pitchFamily="34" charset="0"/>
              <a:buNone/>
              <a:defRPr sz="1600" b="1" i="0">
                <a:solidFill>
                  <a:schemeClr val="bg2">
                    <a:lumMod val="25000"/>
                  </a:schemeClr>
                </a:solidFill>
                <a:latin typeface="Montserrat" pitchFamily="2" charset="77"/>
              </a:defRPr>
            </a:lvl4pPr>
            <a:lvl5pPr marL="1828800" indent="0">
              <a:buFont typeface="Arial" panose="020B0604020202020204" pitchFamily="34" charset="0"/>
              <a:buNone/>
              <a:defRPr sz="1600" b="1" i="0">
                <a:solidFill>
                  <a:schemeClr val="bg2">
                    <a:lumMod val="25000"/>
                  </a:schemeClr>
                </a:solidFill>
                <a:latin typeface="Montserrat" pitchFamily="2" charset="77"/>
              </a:defRPr>
            </a:lvl5pPr>
          </a:lstStyle>
          <a:p>
            <a:pPr lvl="0"/>
            <a:r>
              <a:rPr lang="it-IT"/>
              <a:t>Fare clic per modificare gli stili del testo dello schema</a:t>
            </a:r>
          </a:p>
        </p:txBody>
      </p:sp>
    </p:spTree>
    <p:extLst>
      <p:ext uri="{BB962C8B-B14F-4D97-AF65-F5344CB8AC3E}">
        <p14:creationId xmlns:p14="http://schemas.microsoft.com/office/powerpoint/2010/main" val="3479934325"/>
      </p:ext>
    </p:extLst>
  </p:cSld>
  <p:clrMapOvr>
    <a:masterClrMapping/>
  </p:clrMapOvr>
  <mc:AlternateContent xmlns:mc="http://schemas.openxmlformats.org/markup-compatibility/2006" xmlns:p14="http://schemas.microsoft.com/office/powerpoint/2010/main">
    <mc:Choice Requires="p14">
      <p:transition spd="slow" p14:dur="1250">
        <p14:reveal/>
      </p:transition>
    </mc:Choice>
    <mc:Fallback xmlns="">
      <p:transition spd="slow">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Title + Photo 02">
    <p:spTree>
      <p:nvGrpSpPr>
        <p:cNvPr id="1" name=""/>
        <p:cNvGrpSpPr/>
        <p:nvPr/>
      </p:nvGrpSpPr>
      <p:grpSpPr>
        <a:xfrm>
          <a:off x="0" y="0"/>
          <a:ext cx="0" cy="0"/>
          <a:chOff x="0" y="0"/>
          <a:chExt cx="0" cy="0"/>
        </a:xfrm>
      </p:grpSpPr>
      <p:pic>
        <p:nvPicPr>
          <p:cNvPr id="3" name="Immagine 2" descr="Immagine che contiene persona, sport, blu, nuotando&#10;&#10;Descrizione generata automaticamente">
            <a:extLst>
              <a:ext uri="{FF2B5EF4-FFF2-40B4-BE49-F238E27FC236}">
                <a16:creationId xmlns:a16="http://schemas.microsoft.com/office/drawing/2014/main" id="{938D826B-6074-574C-B6A3-0CD14EA31B5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118099" y="518319"/>
            <a:ext cx="5185243" cy="5892800"/>
          </a:xfrm>
          <a:prstGeom prst="rect">
            <a:avLst/>
          </a:prstGeom>
        </p:spPr>
      </p:pic>
      <p:pic>
        <p:nvPicPr>
          <p:cNvPr id="11" name="Immagine 4" descr="Immagine che contiene freccia&#10;&#10;Descrizione generata automaticamente">
            <a:extLst>
              <a:ext uri="{FF2B5EF4-FFF2-40B4-BE49-F238E27FC236}">
                <a16:creationId xmlns:a16="http://schemas.microsoft.com/office/drawing/2014/main" id="{3B9481F1-08B4-2B42-BB76-863BA9D8F72D}"/>
              </a:ext>
            </a:extLst>
          </p:cNvPr>
          <p:cNvPicPr>
            <a:picLocks noChangeAspect="1" noChangeArrowheads="1"/>
          </p:cNvPicPr>
          <p:nvPr userDrawn="1"/>
        </p:nvPicPr>
        <p:blipFill>
          <a:blip r:embed="rId3" cstate="screen">
            <a:alphaModFix amt="10000"/>
            <a:extLst>
              <a:ext uri="{28A0092B-C50C-407E-A947-70E740481C1C}">
                <a14:useLocalDpi xmlns:a14="http://schemas.microsoft.com/office/drawing/2010/main"/>
              </a:ext>
            </a:extLst>
          </a:blip>
          <a:srcRect t="-5206" r="-22588"/>
          <a:stretch>
            <a:fillRect/>
          </a:stretch>
        </p:blipFill>
        <p:spPr bwMode="auto">
          <a:xfrm>
            <a:off x="0" y="3582988"/>
            <a:ext cx="3551238" cy="3275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Immagine 2">
            <a:extLst>
              <a:ext uri="{FF2B5EF4-FFF2-40B4-BE49-F238E27FC236}">
                <a16:creationId xmlns:a16="http://schemas.microsoft.com/office/drawing/2014/main" id="{A08F5E43-9691-6444-A8DB-8E59AC2B89C9}"/>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030788" y="6488113"/>
            <a:ext cx="213042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ttangolo 6">
            <a:extLst>
              <a:ext uri="{FF2B5EF4-FFF2-40B4-BE49-F238E27FC236}">
                <a16:creationId xmlns:a16="http://schemas.microsoft.com/office/drawing/2014/main" id="{882A0215-8CF1-1F49-8E65-2CCBC86DC2CE}"/>
              </a:ext>
            </a:extLst>
          </p:cNvPr>
          <p:cNvSpPr/>
          <p:nvPr/>
        </p:nvSpPr>
        <p:spPr>
          <a:xfrm>
            <a:off x="9215438" y="0"/>
            <a:ext cx="2790825" cy="6858000"/>
          </a:xfrm>
          <a:prstGeom prst="rect">
            <a:avLst/>
          </a:prstGeom>
          <a:solidFill>
            <a:schemeClr val="accent3">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it-IT">
              <a:latin typeface="Montserrat Medium" pitchFamily="2" charset="77"/>
            </a:endParaRPr>
          </a:p>
        </p:txBody>
      </p:sp>
      <p:pic>
        <p:nvPicPr>
          <p:cNvPr id="8" name="Immagine 4">
            <a:extLst>
              <a:ext uri="{FF2B5EF4-FFF2-40B4-BE49-F238E27FC236}">
                <a16:creationId xmlns:a16="http://schemas.microsoft.com/office/drawing/2014/main" id="{A0E4957F-861F-F44A-A3D4-DB42F44BA3ED}"/>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0477500" y="265113"/>
            <a:ext cx="1352550" cy="506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Segnaposto numero diapositiva 5">
            <a:extLst>
              <a:ext uri="{FF2B5EF4-FFF2-40B4-BE49-F238E27FC236}">
                <a16:creationId xmlns:a16="http://schemas.microsoft.com/office/drawing/2014/main" id="{49D3008B-DCCA-1444-ACE0-AFEC9E24D9D5}"/>
              </a:ext>
            </a:extLst>
          </p:cNvPr>
          <p:cNvSpPr txBox="1">
            <a:spLocks/>
          </p:cNvSpPr>
          <p:nvPr/>
        </p:nvSpPr>
        <p:spPr>
          <a:xfrm>
            <a:off x="9145588" y="6356350"/>
            <a:ext cx="2743200" cy="365125"/>
          </a:xfrm>
          <a:prstGeom prst="rect">
            <a:avLst/>
          </a:prstGeom>
        </p:spPr>
        <p:txBody>
          <a:bodyPr anchor="ctr"/>
          <a:lstStyle>
            <a:defPPr>
              <a:defRPr lang="it-IT"/>
            </a:defPPr>
            <a:lvl1pPr marL="0" algn="r" defTabSz="914400" rtl="0" eaLnBrk="1" latinLnBrk="0" hangingPunct="1">
              <a:defRPr sz="1200" kern="1200">
                <a:solidFill>
                  <a:srgbClr val="0070C0"/>
                </a:solidFill>
                <a:latin typeface="Montserrat" pitchFamily="2"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5C87D572-B599-5845-BFDB-C8F4C0DEDC67}" type="slidenum">
              <a:rPr lang="it-IT" smtClean="0"/>
              <a:pPr fontAlgn="auto">
                <a:spcBef>
                  <a:spcPts val="0"/>
                </a:spcBef>
                <a:spcAft>
                  <a:spcPts val="0"/>
                </a:spcAft>
                <a:defRPr/>
              </a:pPr>
              <a:t>‹Nr.›</a:t>
            </a:fld>
            <a:endParaRPr lang="it-IT"/>
          </a:p>
        </p:txBody>
      </p:sp>
      <p:sp>
        <p:nvSpPr>
          <p:cNvPr id="10" name="Rettangolo 9">
            <a:extLst>
              <a:ext uri="{FF2B5EF4-FFF2-40B4-BE49-F238E27FC236}">
                <a16:creationId xmlns:a16="http://schemas.microsoft.com/office/drawing/2014/main" id="{B1E4C275-EAD8-3D4D-B273-DB6F16BC4383}"/>
              </a:ext>
            </a:extLst>
          </p:cNvPr>
          <p:cNvSpPr/>
          <p:nvPr/>
        </p:nvSpPr>
        <p:spPr>
          <a:xfrm>
            <a:off x="4275138" y="522288"/>
            <a:ext cx="842962" cy="58928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it-IT">
              <a:latin typeface="Montserrat Medium" pitchFamily="2" charset="77"/>
            </a:endParaRPr>
          </a:p>
        </p:txBody>
      </p:sp>
      <p:sp>
        <p:nvSpPr>
          <p:cNvPr id="14" name="Titolo 1"/>
          <p:cNvSpPr>
            <a:spLocks noGrp="1"/>
          </p:cNvSpPr>
          <p:nvPr>
            <p:ph type="ctrTitle"/>
          </p:nvPr>
        </p:nvSpPr>
        <p:spPr>
          <a:xfrm>
            <a:off x="314960" y="2722879"/>
            <a:ext cx="3723640" cy="1112203"/>
          </a:xfrm>
          <a:prstGeom prst="rect">
            <a:avLst/>
          </a:prstGeom>
        </p:spPr>
        <p:txBody>
          <a:bodyPr anchor="b">
            <a:noAutofit/>
          </a:bodyPr>
          <a:lstStyle>
            <a:lvl1pPr algn="l">
              <a:defRPr sz="2800" b="1" i="0">
                <a:solidFill>
                  <a:schemeClr val="tx2"/>
                </a:solidFill>
                <a:latin typeface="Montserrat" pitchFamily="2" charset="77"/>
              </a:defRPr>
            </a:lvl1pPr>
          </a:lstStyle>
          <a:p>
            <a:r>
              <a:rPr lang="it-IT"/>
              <a:t>Fare clic per modificare lo stile del titolo dello schema</a:t>
            </a:r>
          </a:p>
        </p:txBody>
      </p:sp>
      <p:sp>
        <p:nvSpPr>
          <p:cNvPr id="15" name="Sottotitolo 2"/>
          <p:cNvSpPr>
            <a:spLocks noGrp="1"/>
          </p:cNvSpPr>
          <p:nvPr>
            <p:ph type="subTitle" idx="1"/>
          </p:nvPr>
        </p:nvSpPr>
        <p:spPr>
          <a:xfrm>
            <a:off x="314960" y="3927158"/>
            <a:ext cx="2661920" cy="1223962"/>
          </a:xfrm>
          <a:prstGeom prst="rect">
            <a:avLst/>
          </a:prstGeom>
        </p:spPr>
        <p:txBody>
          <a:bodyPr>
            <a:normAutofit/>
          </a:bodyPr>
          <a:lstStyle>
            <a:lvl1pPr marL="0" indent="0" algn="l">
              <a:buNone/>
              <a:defRPr sz="1600" b="0" i="0">
                <a:solidFill>
                  <a:schemeClr val="tx2"/>
                </a:solidFill>
                <a:latin typeface="Montserrat Light" pitchFamily="2"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it-IT"/>
              <a:t>Fare clic per modificare lo stile del sottotitolo dello schema</a:t>
            </a:r>
          </a:p>
        </p:txBody>
      </p:sp>
    </p:spTree>
    <p:extLst>
      <p:ext uri="{BB962C8B-B14F-4D97-AF65-F5344CB8AC3E}">
        <p14:creationId xmlns:p14="http://schemas.microsoft.com/office/powerpoint/2010/main" val="2956044218"/>
      </p:ext>
    </p:extLst>
  </p:cSld>
  <p:clrMapOvr>
    <a:masterClrMapping/>
  </p:clrMapOvr>
  <mc:AlternateContent xmlns:mc="http://schemas.openxmlformats.org/markup-compatibility/2006" xmlns:p14="http://schemas.microsoft.com/office/powerpoint/2010/main">
    <mc:Choice Requires="p14">
      <p:transition spd="slow" p14:dur="1250">
        <p14:reveal/>
      </p:transition>
    </mc:Choice>
    <mc:Fallback xmlns="">
      <p:transition spd="slow">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hart Title, Text &amp; Graphcis 04">
    <p:spTree>
      <p:nvGrpSpPr>
        <p:cNvPr id="1" name=""/>
        <p:cNvGrpSpPr/>
        <p:nvPr/>
      </p:nvGrpSpPr>
      <p:grpSpPr>
        <a:xfrm>
          <a:off x="0" y="0"/>
          <a:ext cx="0" cy="0"/>
          <a:chOff x="0" y="0"/>
          <a:chExt cx="0" cy="0"/>
        </a:xfrm>
      </p:grpSpPr>
      <p:pic>
        <p:nvPicPr>
          <p:cNvPr id="10" name="Immagine 4" descr="Immagine che contiene freccia&#10;&#10;Descrizione generata automaticamente">
            <a:extLst>
              <a:ext uri="{FF2B5EF4-FFF2-40B4-BE49-F238E27FC236}">
                <a16:creationId xmlns:a16="http://schemas.microsoft.com/office/drawing/2014/main" id="{47D2B63B-B364-9742-B728-175F4B519DA9}"/>
              </a:ext>
            </a:extLst>
          </p:cNvPr>
          <p:cNvPicPr>
            <a:picLocks noChangeAspect="1" noChangeArrowheads="1"/>
          </p:cNvPicPr>
          <p:nvPr userDrawn="1"/>
        </p:nvPicPr>
        <p:blipFill>
          <a:blip r:embed="rId2" cstate="screen">
            <a:alphaModFix amt="10000"/>
            <a:extLst>
              <a:ext uri="{28A0092B-C50C-407E-A947-70E740481C1C}">
                <a14:useLocalDpi xmlns:a14="http://schemas.microsoft.com/office/drawing/2010/main"/>
              </a:ext>
            </a:extLst>
          </a:blip>
          <a:srcRect t="-5206" r="-22588"/>
          <a:stretch>
            <a:fillRect/>
          </a:stretch>
        </p:blipFill>
        <p:spPr bwMode="auto">
          <a:xfrm>
            <a:off x="0" y="3582988"/>
            <a:ext cx="3551238" cy="3275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Immagine 1">
            <a:extLst>
              <a:ext uri="{FF2B5EF4-FFF2-40B4-BE49-F238E27FC236}">
                <a16:creationId xmlns:a16="http://schemas.microsoft.com/office/drawing/2014/main" id="{2668AD20-F830-AF4E-B802-09C7632D2E68}"/>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5030788" y="6488113"/>
            <a:ext cx="213042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ttangolo 4">
            <a:extLst>
              <a:ext uri="{FF2B5EF4-FFF2-40B4-BE49-F238E27FC236}">
                <a16:creationId xmlns:a16="http://schemas.microsoft.com/office/drawing/2014/main" id="{AA9DE2F0-A79A-8A4E-88D4-42E3EF498FF6}"/>
              </a:ext>
            </a:extLst>
          </p:cNvPr>
          <p:cNvSpPr/>
          <p:nvPr/>
        </p:nvSpPr>
        <p:spPr>
          <a:xfrm>
            <a:off x="193675" y="0"/>
            <a:ext cx="3181350" cy="6858000"/>
          </a:xfrm>
          <a:prstGeom prst="rect">
            <a:avLst/>
          </a:prstGeom>
          <a:solidFill>
            <a:schemeClr val="accent4">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it-IT">
              <a:latin typeface="Montserrat Medium" pitchFamily="2" charset="77"/>
            </a:endParaRPr>
          </a:p>
        </p:txBody>
      </p:sp>
      <p:sp>
        <p:nvSpPr>
          <p:cNvPr id="6" name="Rettangolo 5">
            <a:extLst>
              <a:ext uri="{FF2B5EF4-FFF2-40B4-BE49-F238E27FC236}">
                <a16:creationId xmlns:a16="http://schemas.microsoft.com/office/drawing/2014/main" id="{15DB57A5-6BA6-1C41-A29B-AC0176298565}"/>
              </a:ext>
            </a:extLst>
          </p:cNvPr>
          <p:cNvSpPr/>
          <p:nvPr/>
        </p:nvSpPr>
        <p:spPr>
          <a:xfrm>
            <a:off x="1293813" y="0"/>
            <a:ext cx="3181350" cy="6858000"/>
          </a:xfrm>
          <a:prstGeom prst="rect">
            <a:avLst/>
          </a:prstGeom>
          <a:solidFill>
            <a:schemeClr val="accent4">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it-IT">
              <a:latin typeface="Montserrat Medium" pitchFamily="2" charset="77"/>
            </a:endParaRPr>
          </a:p>
        </p:txBody>
      </p:sp>
      <p:pic>
        <p:nvPicPr>
          <p:cNvPr id="7" name="Immagine 4">
            <a:extLst>
              <a:ext uri="{FF2B5EF4-FFF2-40B4-BE49-F238E27FC236}">
                <a16:creationId xmlns:a16="http://schemas.microsoft.com/office/drawing/2014/main" id="{6B989ED7-A63C-8844-8BF5-C426A7AFD39B}"/>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10477500" y="265113"/>
            <a:ext cx="1352550" cy="506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Segnaposto numero diapositiva 5">
            <a:extLst>
              <a:ext uri="{FF2B5EF4-FFF2-40B4-BE49-F238E27FC236}">
                <a16:creationId xmlns:a16="http://schemas.microsoft.com/office/drawing/2014/main" id="{0B81280E-9EAB-6146-9CC7-2B6E211CC724}"/>
              </a:ext>
            </a:extLst>
          </p:cNvPr>
          <p:cNvSpPr txBox="1">
            <a:spLocks/>
          </p:cNvSpPr>
          <p:nvPr/>
        </p:nvSpPr>
        <p:spPr>
          <a:xfrm>
            <a:off x="9145588" y="6356350"/>
            <a:ext cx="2743200" cy="365125"/>
          </a:xfrm>
          <a:prstGeom prst="rect">
            <a:avLst/>
          </a:prstGeom>
        </p:spPr>
        <p:txBody>
          <a:bodyPr anchor="ctr"/>
          <a:lstStyle>
            <a:defPPr>
              <a:defRPr lang="it-IT"/>
            </a:defPPr>
            <a:lvl1pPr marL="0" algn="r" defTabSz="914400" rtl="0" eaLnBrk="1" latinLnBrk="0" hangingPunct="1">
              <a:defRPr sz="1200" kern="1200">
                <a:solidFill>
                  <a:srgbClr val="0070C0"/>
                </a:solidFill>
                <a:latin typeface="Montserrat" pitchFamily="2"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EBF06849-87D7-8740-A34F-DF416F3F1EE2}" type="slidenum">
              <a:rPr lang="it-IT" smtClean="0"/>
              <a:pPr fontAlgn="auto">
                <a:spcBef>
                  <a:spcPts val="0"/>
                </a:spcBef>
                <a:spcAft>
                  <a:spcPts val="0"/>
                </a:spcAft>
                <a:defRPr/>
              </a:pPr>
              <a:t>‹Nr.›</a:t>
            </a:fld>
            <a:endParaRPr lang="it-IT"/>
          </a:p>
        </p:txBody>
      </p:sp>
      <p:sp>
        <p:nvSpPr>
          <p:cNvPr id="12" name="Titolo 1"/>
          <p:cNvSpPr>
            <a:spLocks noGrp="1"/>
          </p:cNvSpPr>
          <p:nvPr>
            <p:ph type="ctrTitle"/>
          </p:nvPr>
        </p:nvSpPr>
        <p:spPr>
          <a:xfrm>
            <a:off x="277290" y="534147"/>
            <a:ext cx="3013346" cy="1920240"/>
          </a:xfrm>
          <a:prstGeom prst="rect">
            <a:avLst/>
          </a:prstGeom>
        </p:spPr>
        <p:txBody>
          <a:bodyPr anchor="t" anchorCtr="0">
            <a:noAutofit/>
          </a:bodyPr>
          <a:lstStyle>
            <a:lvl1pPr algn="l">
              <a:defRPr sz="2800" b="1" i="0">
                <a:solidFill>
                  <a:schemeClr val="tx1"/>
                </a:solidFill>
                <a:latin typeface="Montserrat" pitchFamily="2" charset="77"/>
              </a:defRPr>
            </a:lvl1pPr>
          </a:lstStyle>
          <a:p>
            <a:r>
              <a:rPr lang="it-IT"/>
              <a:t>Fare clic per modificare lo stile del titolo dello schema</a:t>
            </a:r>
          </a:p>
        </p:txBody>
      </p:sp>
      <p:sp>
        <p:nvSpPr>
          <p:cNvPr id="18" name="Segnaposto contenuto 2"/>
          <p:cNvSpPr>
            <a:spLocks noGrp="1"/>
          </p:cNvSpPr>
          <p:nvPr>
            <p:ph sz="half" idx="1"/>
          </p:nvPr>
        </p:nvSpPr>
        <p:spPr>
          <a:xfrm>
            <a:off x="4698080" y="1289952"/>
            <a:ext cx="7131970" cy="4351338"/>
          </a:xfrm>
          <a:prstGeom prst="rect">
            <a:avLst/>
          </a:prstGeom>
        </p:spPr>
        <p:txBody>
          <a:bodyPr>
            <a:normAutofit/>
          </a:bodyPr>
          <a:lstStyle>
            <a:lvl1pPr marL="285750" marR="0" indent="-28575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sz="1600" b="0" i="0">
                <a:solidFill>
                  <a:schemeClr val="tx2"/>
                </a:solidFill>
                <a:latin typeface="Montserrat" pitchFamily="2" charset="77"/>
              </a:defRPr>
            </a:lvl1pPr>
            <a:lvl2pPr marL="457200" indent="0">
              <a:buNone/>
              <a:defRPr sz="1600" b="1" i="0">
                <a:solidFill>
                  <a:schemeClr val="tx2"/>
                </a:solidFill>
                <a:latin typeface="Montserrat" pitchFamily="2" charset="77"/>
              </a:defRPr>
            </a:lvl2pPr>
            <a:lvl3pPr marL="914400" indent="0">
              <a:buFont typeface="Arial" panose="020B0604020202020204" pitchFamily="34" charset="0"/>
              <a:buNone/>
              <a:defRPr sz="1600" b="1" i="0">
                <a:solidFill>
                  <a:schemeClr val="tx2"/>
                </a:solidFill>
                <a:latin typeface="Montserrat" pitchFamily="2" charset="77"/>
              </a:defRPr>
            </a:lvl3pPr>
            <a:lvl4pPr marL="1371600" indent="0">
              <a:buFont typeface="Arial" panose="020B0604020202020204" pitchFamily="34" charset="0"/>
              <a:buNone/>
              <a:defRPr sz="1600" b="1" i="0">
                <a:solidFill>
                  <a:schemeClr val="tx2"/>
                </a:solidFill>
                <a:latin typeface="Montserrat" pitchFamily="2" charset="77"/>
              </a:defRPr>
            </a:lvl4pPr>
            <a:lvl5pPr marL="1828800" indent="0">
              <a:buFont typeface="Arial" panose="020B0604020202020204" pitchFamily="34" charset="0"/>
              <a:buNone/>
              <a:defRPr sz="1600" b="1" i="0">
                <a:solidFill>
                  <a:schemeClr val="tx2"/>
                </a:solidFill>
                <a:latin typeface="Montserrat" pitchFamily="2" charset="77"/>
              </a:defRPr>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Tree>
    <p:extLst>
      <p:ext uri="{BB962C8B-B14F-4D97-AF65-F5344CB8AC3E}">
        <p14:creationId xmlns:p14="http://schemas.microsoft.com/office/powerpoint/2010/main" val="2930176301"/>
      </p:ext>
    </p:extLst>
  </p:cSld>
  <p:clrMapOvr>
    <a:masterClrMapping/>
  </p:clrMapOvr>
  <mc:AlternateContent xmlns:mc="http://schemas.openxmlformats.org/markup-compatibility/2006" xmlns:p14="http://schemas.microsoft.com/office/powerpoint/2010/main">
    <mc:Choice Requires="p14">
      <p:transition spd="slow" p14:dur="1250">
        <p14:reveal/>
      </p:transition>
    </mc:Choice>
    <mc:Fallback xmlns="">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hart table + text">
    <p:spTree>
      <p:nvGrpSpPr>
        <p:cNvPr id="1" name=""/>
        <p:cNvGrpSpPr/>
        <p:nvPr/>
      </p:nvGrpSpPr>
      <p:grpSpPr>
        <a:xfrm>
          <a:off x="0" y="0"/>
          <a:ext cx="0" cy="0"/>
          <a:chOff x="0" y="0"/>
          <a:chExt cx="0" cy="0"/>
        </a:xfrm>
      </p:grpSpPr>
      <p:pic>
        <p:nvPicPr>
          <p:cNvPr id="11" name="Immagine 4" descr="Immagine che contiene freccia&#10;&#10;Descrizione generata automaticamente">
            <a:extLst>
              <a:ext uri="{FF2B5EF4-FFF2-40B4-BE49-F238E27FC236}">
                <a16:creationId xmlns:a16="http://schemas.microsoft.com/office/drawing/2014/main" id="{D8E14485-B979-A247-9DEA-146D3E0CF637}"/>
              </a:ext>
            </a:extLst>
          </p:cNvPr>
          <p:cNvPicPr>
            <a:picLocks noChangeAspect="1" noChangeArrowheads="1"/>
          </p:cNvPicPr>
          <p:nvPr userDrawn="1"/>
        </p:nvPicPr>
        <p:blipFill>
          <a:blip r:embed="rId2" cstate="screen">
            <a:alphaModFix amt="10000"/>
            <a:extLst>
              <a:ext uri="{28A0092B-C50C-407E-A947-70E740481C1C}">
                <a14:useLocalDpi xmlns:a14="http://schemas.microsoft.com/office/drawing/2010/main"/>
              </a:ext>
            </a:extLst>
          </a:blip>
          <a:srcRect t="-5206" r="-22588"/>
          <a:stretch>
            <a:fillRect/>
          </a:stretch>
        </p:blipFill>
        <p:spPr bwMode="auto">
          <a:xfrm>
            <a:off x="8344" y="3582988"/>
            <a:ext cx="3551238" cy="3275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Immagine 1">
            <a:extLst>
              <a:ext uri="{FF2B5EF4-FFF2-40B4-BE49-F238E27FC236}">
                <a16:creationId xmlns:a16="http://schemas.microsoft.com/office/drawing/2014/main" id="{BAC01275-D208-FA40-BFFB-CDFAE06FCC7C}"/>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5030788" y="6488113"/>
            <a:ext cx="213042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Immagine 2">
            <a:extLst>
              <a:ext uri="{FF2B5EF4-FFF2-40B4-BE49-F238E27FC236}">
                <a16:creationId xmlns:a16="http://schemas.microsoft.com/office/drawing/2014/main" id="{D07A18DD-24B7-3540-935C-1C71CC6B3344}"/>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10477500" y="265113"/>
            <a:ext cx="1352550" cy="506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Segnaposto numero diapositiva 5">
            <a:extLst>
              <a:ext uri="{FF2B5EF4-FFF2-40B4-BE49-F238E27FC236}">
                <a16:creationId xmlns:a16="http://schemas.microsoft.com/office/drawing/2014/main" id="{8953AC5F-B5AC-8448-962D-952F5C29A972}"/>
              </a:ext>
            </a:extLst>
          </p:cNvPr>
          <p:cNvSpPr txBox="1">
            <a:spLocks/>
          </p:cNvSpPr>
          <p:nvPr/>
        </p:nvSpPr>
        <p:spPr>
          <a:xfrm>
            <a:off x="9145588" y="6356350"/>
            <a:ext cx="2743200" cy="365125"/>
          </a:xfrm>
          <a:prstGeom prst="rect">
            <a:avLst/>
          </a:prstGeom>
        </p:spPr>
        <p:txBody>
          <a:bodyPr anchor="ctr"/>
          <a:lstStyle>
            <a:defPPr>
              <a:defRPr lang="it-IT"/>
            </a:defPPr>
            <a:lvl1pPr marL="0" algn="r" defTabSz="914400" rtl="0" eaLnBrk="1" latinLnBrk="0" hangingPunct="1">
              <a:defRPr sz="1200" kern="1200">
                <a:solidFill>
                  <a:srgbClr val="0070C0"/>
                </a:solidFill>
                <a:latin typeface="Montserrat" pitchFamily="2"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532A690C-E27A-8549-AE5E-6094FA7FDE65}" type="slidenum">
              <a:rPr lang="it-IT" smtClean="0"/>
              <a:pPr fontAlgn="auto">
                <a:spcBef>
                  <a:spcPts val="0"/>
                </a:spcBef>
                <a:spcAft>
                  <a:spcPts val="0"/>
                </a:spcAft>
                <a:defRPr/>
              </a:pPr>
              <a:t>‹Nr.›</a:t>
            </a:fld>
            <a:endParaRPr lang="it-IT"/>
          </a:p>
        </p:txBody>
      </p:sp>
      <p:sp>
        <p:nvSpPr>
          <p:cNvPr id="13" name="Titolo 1"/>
          <p:cNvSpPr>
            <a:spLocks noGrp="1"/>
          </p:cNvSpPr>
          <p:nvPr>
            <p:ph type="ctrTitle"/>
          </p:nvPr>
        </p:nvSpPr>
        <p:spPr>
          <a:xfrm>
            <a:off x="277290" y="223790"/>
            <a:ext cx="10200210" cy="547735"/>
          </a:xfrm>
          <a:prstGeom prst="rect">
            <a:avLst/>
          </a:prstGeom>
        </p:spPr>
        <p:txBody>
          <a:bodyPr anchor="t" anchorCtr="0">
            <a:noAutofit/>
          </a:bodyPr>
          <a:lstStyle>
            <a:lvl1pPr algn="l">
              <a:defRPr sz="2600" b="1" i="0">
                <a:solidFill>
                  <a:schemeClr val="tx2"/>
                </a:solidFill>
                <a:latin typeface="Montserrat" pitchFamily="2" charset="77"/>
              </a:defRPr>
            </a:lvl1pPr>
          </a:lstStyle>
          <a:p>
            <a:r>
              <a:rPr lang="it-IT"/>
              <a:t>Fare clic per modificare lo stile del titolo dello schema</a:t>
            </a:r>
          </a:p>
        </p:txBody>
      </p:sp>
      <p:pic>
        <p:nvPicPr>
          <p:cNvPr id="10" name="Immagine 4" descr="Immagine che contiene freccia&#10;&#10;Descrizione generata automaticamente">
            <a:extLst>
              <a:ext uri="{FF2B5EF4-FFF2-40B4-BE49-F238E27FC236}">
                <a16:creationId xmlns:a16="http://schemas.microsoft.com/office/drawing/2014/main" id="{82EB41B5-F4AF-634A-8830-EC851DD96DD7}"/>
              </a:ext>
            </a:extLst>
          </p:cNvPr>
          <p:cNvPicPr>
            <a:picLocks noChangeAspect="1" noChangeArrowheads="1"/>
          </p:cNvPicPr>
          <p:nvPr userDrawn="1"/>
        </p:nvPicPr>
        <p:blipFill>
          <a:blip r:embed="rId2" cstate="screen">
            <a:alphaModFix amt="10000"/>
            <a:extLst>
              <a:ext uri="{28A0092B-C50C-407E-A947-70E740481C1C}">
                <a14:useLocalDpi xmlns:a14="http://schemas.microsoft.com/office/drawing/2010/main"/>
              </a:ext>
            </a:extLst>
          </a:blip>
          <a:srcRect t="-5206" r="-22588"/>
          <a:stretch>
            <a:fillRect/>
          </a:stretch>
        </p:blipFill>
        <p:spPr bwMode="auto">
          <a:xfrm>
            <a:off x="0" y="3582988"/>
            <a:ext cx="3551238" cy="3275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Immagine 11">
            <a:extLst>
              <a:ext uri="{FF2B5EF4-FFF2-40B4-BE49-F238E27FC236}">
                <a16:creationId xmlns:a16="http://schemas.microsoft.com/office/drawing/2014/main" id="{BF452ADE-E2E8-B04C-B9EB-0514050728A5}"/>
              </a:ext>
            </a:extLst>
          </p:cNvPr>
          <p:cNvPicPr>
            <a:picLocks/>
          </p:cNvPicPr>
          <p:nvPr userDrawn="1"/>
        </p:nvPicPr>
        <p:blipFill>
          <a:blip r:embed="rId5"/>
          <a:stretch>
            <a:fillRect/>
          </a:stretch>
        </p:blipFill>
        <p:spPr>
          <a:xfrm>
            <a:off x="251890" y="1384844"/>
            <a:ext cx="11940110" cy="108000"/>
          </a:xfrm>
          <a:prstGeom prst="rect">
            <a:avLst/>
          </a:prstGeom>
        </p:spPr>
      </p:pic>
      <p:sp>
        <p:nvSpPr>
          <p:cNvPr id="3" name="Segnaposto tabella 2">
            <a:extLst>
              <a:ext uri="{FF2B5EF4-FFF2-40B4-BE49-F238E27FC236}">
                <a16:creationId xmlns:a16="http://schemas.microsoft.com/office/drawing/2014/main" id="{F435D2F8-8600-C740-B278-8F15BCE427CF}"/>
              </a:ext>
            </a:extLst>
          </p:cNvPr>
          <p:cNvSpPr>
            <a:spLocks noGrp="1"/>
          </p:cNvSpPr>
          <p:nvPr>
            <p:ph type="tbl" sz="quarter" idx="11"/>
          </p:nvPr>
        </p:nvSpPr>
        <p:spPr>
          <a:xfrm>
            <a:off x="277813" y="1531850"/>
            <a:ext cx="5665787" cy="4654636"/>
          </a:xfrm>
          <a:prstGeom prst="rect">
            <a:avLst/>
          </a:prstGeom>
        </p:spPr>
        <p:txBody>
          <a:bodyPr/>
          <a:lstStyle>
            <a:lvl1pPr>
              <a:defRPr lang="en-GB" sz="2000" b="1" i="0" kern="1200" dirty="0">
                <a:solidFill>
                  <a:schemeClr val="tx1">
                    <a:lumMod val="65000"/>
                    <a:lumOff val="35000"/>
                  </a:schemeClr>
                </a:solidFill>
                <a:latin typeface="Montserrat SemiBold" pitchFamily="2" charset="77"/>
                <a:ea typeface="+mn-ea"/>
                <a:cs typeface="+mn-cs"/>
              </a:defRPr>
            </a:lvl1pPr>
          </a:lstStyle>
          <a:p>
            <a:r>
              <a:rPr lang="it-IT"/>
              <a:t>Fare clic sull'icona per inserire una tabella</a:t>
            </a:r>
            <a:endParaRPr lang="en-GB"/>
          </a:p>
        </p:txBody>
      </p:sp>
      <p:sp>
        <p:nvSpPr>
          <p:cNvPr id="5" name="Segnaposto testo 4">
            <a:extLst>
              <a:ext uri="{FF2B5EF4-FFF2-40B4-BE49-F238E27FC236}">
                <a16:creationId xmlns:a16="http://schemas.microsoft.com/office/drawing/2014/main" id="{BFB394B8-2E50-9049-8FC7-0C7A01A71F80}"/>
              </a:ext>
            </a:extLst>
          </p:cNvPr>
          <p:cNvSpPr>
            <a:spLocks noGrp="1"/>
          </p:cNvSpPr>
          <p:nvPr>
            <p:ph type="body" sz="quarter" idx="12"/>
          </p:nvPr>
        </p:nvSpPr>
        <p:spPr>
          <a:xfrm>
            <a:off x="6096000" y="1531622"/>
            <a:ext cx="5792788" cy="4654865"/>
          </a:xfrm>
          <a:prstGeom prst="rect">
            <a:avLst/>
          </a:prstGeom>
        </p:spPr>
        <p:txBody>
          <a:bodyPr/>
          <a:lstStyle>
            <a:lvl1pPr>
              <a:defRPr sz="2000" b="1" i="0">
                <a:solidFill>
                  <a:schemeClr val="tx1">
                    <a:lumMod val="65000"/>
                    <a:lumOff val="35000"/>
                  </a:schemeClr>
                </a:solidFill>
                <a:latin typeface="Montserrat SemiBold" pitchFamily="2" charset="77"/>
              </a:defRPr>
            </a:lvl1pPr>
            <a:lvl2pPr>
              <a:defRPr sz="1800">
                <a:solidFill>
                  <a:schemeClr val="tx2">
                    <a:lumMod val="75000"/>
                  </a:schemeClr>
                </a:solidFill>
              </a:defRPr>
            </a:lvl2pPr>
            <a:lvl3pPr>
              <a:defRPr sz="1600">
                <a:solidFill>
                  <a:schemeClr val="tx2">
                    <a:lumMod val="75000"/>
                  </a:schemeClr>
                </a:solidFill>
              </a:defRPr>
            </a:lvl3pPr>
            <a:lvl4pPr>
              <a:defRPr sz="1400">
                <a:solidFill>
                  <a:schemeClr val="tx2">
                    <a:lumMod val="75000"/>
                  </a:schemeClr>
                </a:solidFill>
              </a:defRPr>
            </a:lvl4pPr>
            <a:lvl5pPr>
              <a:defRPr sz="1400">
                <a:solidFill>
                  <a:schemeClr val="tx2">
                    <a:lumMod val="75000"/>
                  </a:schemeClr>
                </a:solidFill>
              </a:defRPr>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a:p>
        </p:txBody>
      </p:sp>
      <p:sp>
        <p:nvSpPr>
          <p:cNvPr id="14" name="Sottotitolo 2">
            <a:extLst>
              <a:ext uri="{FF2B5EF4-FFF2-40B4-BE49-F238E27FC236}">
                <a16:creationId xmlns:a16="http://schemas.microsoft.com/office/drawing/2014/main" id="{D933FD97-DDF1-F34A-893C-C57362DF466A}"/>
              </a:ext>
            </a:extLst>
          </p:cNvPr>
          <p:cNvSpPr>
            <a:spLocks noGrp="1"/>
          </p:cNvSpPr>
          <p:nvPr>
            <p:ph type="subTitle" idx="1"/>
          </p:nvPr>
        </p:nvSpPr>
        <p:spPr>
          <a:xfrm>
            <a:off x="251890" y="824644"/>
            <a:ext cx="11636898" cy="512126"/>
          </a:xfrm>
          <a:prstGeom prst="rect">
            <a:avLst/>
          </a:prstGeom>
        </p:spPr>
        <p:txBody>
          <a:bodyPr>
            <a:normAutofit/>
          </a:bodyPr>
          <a:lstStyle>
            <a:lvl1pPr marL="0" indent="0" algn="l">
              <a:buNone/>
              <a:defRPr sz="2000" b="0" i="0">
                <a:solidFill>
                  <a:schemeClr val="tx2"/>
                </a:solidFill>
                <a:latin typeface="Montserrat Medium" pitchFamily="2"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it-IT"/>
              <a:t>Fare clic per modificare lo stile del sottotitolo dello schema</a:t>
            </a:r>
          </a:p>
        </p:txBody>
      </p:sp>
    </p:spTree>
    <p:extLst>
      <p:ext uri="{BB962C8B-B14F-4D97-AF65-F5344CB8AC3E}">
        <p14:creationId xmlns:p14="http://schemas.microsoft.com/office/powerpoint/2010/main" val="622831875"/>
      </p:ext>
    </p:extLst>
  </p:cSld>
  <p:clrMapOvr>
    <a:masterClrMapping/>
  </p:clrMapOvr>
  <mc:AlternateContent xmlns:mc="http://schemas.openxmlformats.org/markup-compatibility/2006" xmlns:p14="http://schemas.microsoft.com/office/powerpoint/2010/main">
    <mc:Choice Requires="p14">
      <p:transition spd="slow" p14:dur="125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hart Title, Text &amp; Graphics 01">
    <p:spTree>
      <p:nvGrpSpPr>
        <p:cNvPr id="1" name=""/>
        <p:cNvGrpSpPr/>
        <p:nvPr/>
      </p:nvGrpSpPr>
      <p:grpSpPr>
        <a:xfrm>
          <a:off x="0" y="0"/>
          <a:ext cx="0" cy="0"/>
          <a:chOff x="0" y="0"/>
          <a:chExt cx="0" cy="0"/>
        </a:xfrm>
      </p:grpSpPr>
      <p:pic>
        <p:nvPicPr>
          <p:cNvPr id="11" name="Immagine 4" descr="Immagine che contiene freccia&#10;&#10;Descrizione generata automaticamente">
            <a:extLst>
              <a:ext uri="{FF2B5EF4-FFF2-40B4-BE49-F238E27FC236}">
                <a16:creationId xmlns:a16="http://schemas.microsoft.com/office/drawing/2014/main" id="{1A09EE3A-23CE-334A-AE02-43F5DDDDA789}"/>
              </a:ext>
            </a:extLst>
          </p:cNvPr>
          <p:cNvPicPr>
            <a:picLocks noChangeAspect="1" noChangeArrowheads="1"/>
          </p:cNvPicPr>
          <p:nvPr userDrawn="1"/>
        </p:nvPicPr>
        <p:blipFill>
          <a:blip r:embed="rId2" cstate="screen">
            <a:alphaModFix amt="10000"/>
            <a:extLst>
              <a:ext uri="{28A0092B-C50C-407E-A947-70E740481C1C}">
                <a14:useLocalDpi xmlns:a14="http://schemas.microsoft.com/office/drawing/2010/main"/>
              </a:ext>
            </a:extLst>
          </a:blip>
          <a:srcRect t="-5206" r="-22588"/>
          <a:stretch>
            <a:fillRect/>
          </a:stretch>
        </p:blipFill>
        <p:spPr bwMode="auto">
          <a:xfrm>
            <a:off x="0" y="3582988"/>
            <a:ext cx="3551238" cy="3275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Immagine 1">
            <a:extLst>
              <a:ext uri="{FF2B5EF4-FFF2-40B4-BE49-F238E27FC236}">
                <a16:creationId xmlns:a16="http://schemas.microsoft.com/office/drawing/2014/main" id="{4F8EBA92-CADC-044B-8BFD-A68D0D24E370}"/>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5030788" y="6488113"/>
            <a:ext cx="213042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Immagine 2">
            <a:extLst>
              <a:ext uri="{FF2B5EF4-FFF2-40B4-BE49-F238E27FC236}">
                <a16:creationId xmlns:a16="http://schemas.microsoft.com/office/drawing/2014/main" id="{BD6A18FA-5510-234A-AA4C-3B74B12B78EC}"/>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10477500" y="265113"/>
            <a:ext cx="1352550" cy="506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Segnaposto numero diapositiva 5">
            <a:extLst>
              <a:ext uri="{FF2B5EF4-FFF2-40B4-BE49-F238E27FC236}">
                <a16:creationId xmlns:a16="http://schemas.microsoft.com/office/drawing/2014/main" id="{DEA462BC-A894-BD4D-A7C6-5427DE793DE3}"/>
              </a:ext>
            </a:extLst>
          </p:cNvPr>
          <p:cNvSpPr txBox="1">
            <a:spLocks/>
          </p:cNvSpPr>
          <p:nvPr/>
        </p:nvSpPr>
        <p:spPr>
          <a:xfrm>
            <a:off x="9145588" y="6356350"/>
            <a:ext cx="2743200" cy="365125"/>
          </a:xfrm>
          <a:prstGeom prst="rect">
            <a:avLst/>
          </a:prstGeom>
        </p:spPr>
        <p:txBody>
          <a:bodyPr anchor="ctr"/>
          <a:lstStyle>
            <a:defPPr>
              <a:defRPr lang="it-IT"/>
            </a:defPPr>
            <a:lvl1pPr marL="0" algn="r" defTabSz="914400" rtl="0" eaLnBrk="1" latinLnBrk="0" hangingPunct="1">
              <a:defRPr sz="1200" kern="1200">
                <a:solidFill>
                  <a:srgbClr val="0070C0"/>
                </a:solidFill>
                <a:latin typeface="Montserrat" pitchFamily="2"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2329C187-DB58-EB45-8DE9-FB8413A6FD6B}" type="slidenum">
              <a:rPr lang="it-IT" smtClean="0"/>
              <a:pPr fontAlgn="auto">
                <a:spcBef>
                  <a:spcPts val="0"/>
                </a:spcBef>
                <a:spcAft>
                  <a:spcPts val="0"/>
                </a:spcAft>
                <a:defRPr/>
              </a:pPr>
              <a:t>‹Nr.›</a:t>
            </a:fld>
            <a:endParaRPr lang="it-IT"/>
          </a:p>
        </p:txBody>
      </p:sp>
      <p:sp>
        <p:nvSpPr>
          <p:cNvPr id="12" name="Titolo 1"/>
          <p:cNvSpPr>
            <a:spLocks noGrp="1"/>
          </p:cNvSpPr>
          <p:nvPr>
            <p:ph type="ctrTitle"/>
          </p:nvPr>
        </p:nvSpPr>
        <p:spPr>
          <a:xfrm>
            <a:off x="277289" y="534147"/>
            <a:ext cx="5183187" cy="1141459"/>
          </a:xfrm>
          <a:prstGeom prst="rect">
            <a:avLst/>
          </a:prstGeom>
        </p:spPr>
        <p:txBody>
          <a:bodyPr anchor="b" anchorCtr="0">
            <a:noAutofit/>
          </a:bodyPr>
          <a:lstStyle>
            <a:lvl1pPr algn="l">
              <a:defRPr sz="2800" b="1" i="0">
                <a:solidFill>
                  <a:schemeClr val="tx2"/>
                </a:solidFill>
                <a:latin typeface="Montserrat" pitchFamily="2" charset="77"/>
              </a:defRPr>
            </a:lvl1pPr>
          </a:lstStyle>
          <a:p>
            <a:r>
              <a:rPr lang="it-IT"/>
              <a:t>Fare clic per modificare lo stile del titolo dello schema</a:t>
            </a:r>
          </a:p>
        </p:txBody>
      </p:sp>
      <p:sp>
        <p:nvSpPr>
          <p:cNvPr id="16" name="Text Placeholder 2"/>
          <p:cNvSpPr>
            <a:spLocks noGrp="1"/>
          </p:cNvSpPr>
          <p:nvPr>
            <p:ph type="body" idx="1"/>
          </p:nvPr>
        </p:nvSpPr>
        <p:spPr>
          <a:xfrm>
            <a:off x="265418" y="1681163"/>
            <a:ext cx="5183188" cy="823912"/>
          </a:xfrm>
          <a:prstGeom prst="rect">
            <a:avLst/>
          </a:prstGeom>
        </p:spPr>
        <p:txBody>
          <a:bodyPr anchor="b"/>
          <a:lstStyle>
            <a:lvl1pPr marL="0" indent="0">
              <a:buNone/>
              <a:defRPr sz="2400" b="1">
                <a:solidFill>
                  <a:schemeClr val="tx2"/>
                </a:solidFill>
                <a:latin typeface="Montserrat" pitchFamily="2" charset="77"/>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gli stili del testo dello schema</a:t>
            </a:r>
          </a:p>
        </p:txBody>
      </p:sp>
      <p:sp>
        <p:nvSpPr>
          <p:cNvPr id="17" name="Text Placeholder 4"/>
          <p:cNvSpPr>
            <a:spLocks noGrp="1"/>
          </p:cNvSpPr>
          <p:nvPr>
            <p:ph type="body" sz="quarter" idx="3"/>
          </p:nvPr>
        </p:nvSpPr>
        <p:spPr>
          <a:xfrm>
            <a:off x="6646862" y="1675606"/>
            <a:ext cx="5183188" cy="823912"/>
          </a:xfrm>
          <a:prstGeom prst="rect">
            <a:avLst/>
          </a:prstGeom>
        </p:spPr>
        <p:txBody>
          <a:bodyPr anchor="b"/>
          <a:lstStyle>
            <a:lvl1pPr marL="0" indent="0">
              <a:buNone/>
              <a:defRPr sz="2400" b="1">
                <a:solidFill>
                  <a:schemeClr val="tx2"/>
                </a:solidFill>
                <a:latin typeface="Montserrat" pitchFamily="2" charset="77"/>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gli stili del testo dello schema</a:t>
            </a:r>
          </a:p>
        </p:txBody>
      </p:sp>
      <p:sp>
        <p:nvSpPr>
          <p:cNvPr id="20" name="Content Placeholder 5"/>
          <p:cNvSpPr>
            <a:spLocks noGrp="1"/>
          </p:cNvSpPr>
          <p:nvPr>
            <p:ph sz="quarter" idx="4"/>
          </p:nvPr>
        </p:nvSpPr>
        <p:spPr>
          <a:xfrm>
            <a:off x="6646862" y="2505075"/>
            <a:ext cx="5183188" cy="3684588"/>
          </a:xfrm>
          <a:prstGeom prst="rect">
            <a:avLst/>
          </a:prstGeom>
        </p:spPr>
        <p:txBody>
          <a:bodyPr/>
          <a:lstStyle>
            <a:lvl1pPr>
              <a:defRPr sz="2000">
                <a:solidFill>
                  <a:schemeClr val="tx2"/>
                </a:solidFill>
                <a:latin typeface="Montserrat" pitchFamily="2" charset="77"/>
              </a:defRPr>
            </a:lvl1pPr>
            <a:lvl2pPr>
              <a:defRPr sz="1800">
                <a:solidFill>
                  <a:schemeClr val="tx2"/>
                </a:solidFill>
                <a:latin typeface="Montserrat" pitchFamily="2" charset="77"/>
              </a:defRPr>
            </a:lvl2pPr>
            <a:lvl3pPr>
              <a:defRPr sz="1600">
                <a:solidFill>
                  <a:schemeClr val="tx2"/>
                </a:solidFill>
                <a:latin typeface="Montserrat" pitchFamily="2" charset="77"/>
              </a:defRPr>
            </a:lvl3pPr>
            <a:lvl4pPr>
              <a:defRPr>
                <a:latin typeface="Montserrat" pitchFamily="2" charset="77"/>
              </a:defRPr>
            </a:lvl4pPr>
            <a:lvl5pPr>
              <a:defRPr>
                <a:latin typeface="Montserrat" pitchFamily="2" charset="77"/>
              </a:defRPr>
            </a:lvl5pPr>
          </a:lstStyle>
          <a:p>
            <a:pPr lvl="0"/>
            <a:r>
              <a:rPr lang="it-IT"/>
              <a:t>Fare clic per modificare gli stili del testo dello schema</a:t>
            </a:r>
          </a:p>
          <a:p>
            <a:pPr lvl="1"/>
            <a:r>
              <a:rPr lang="it-IT"/>
              <a:t>Secondo livello</a:t>
            </a:r>
          </a:p>
          <a:p>
            <a:pPr lvl="2"/>
            <a:r>
              <a:rPr lang="it-IT"/>
              <a:t>Terzo livello</a:t>
            </a:r>
          </a:p>
        </p:txBody>
      </p:sp>
      <p:sp>
        <p:nvSpPr>
          <p:cNvPr id="21" name="Content Placeholder 5"/>
          <p:cNvSpPr>
            <a:spLocks noGrp="1"/>
          </p:cNvSpPr>
          <p:nvPr>
            <p:ph sz="quarter" idx="10"/>
          </p:nvPr>
        </p:nvSpPr>
        <p:spPr>
          <a:xfrm>
            <a:off x="265418" y="2510632"/>
            <a:ext cx="5183188" cy="3684588"/>
          </a:xfrm>
          <a:prstGeom prst="rect">
            <a:avLst/>
          </a:prstGeom>
        </p:spPr>
        <p:txBody>
          <a:bodyPr/>
          <a:lstStyle>
            <a:lvl1pPr>
              <a:defRPr sz="2000">
                <a:solidFill>
                  <a:schemeClr val="tx2"/>
                </a:solidFill>
                <a:latin typeface="Montserrat" pitchFamily="2" charset="77"/>
              </a:defRPr>
            </a:lvl1pPr>
            <a:lvl2pPr>
              <a:defRPr sz="1800">
                <a:solidFill>
                  <a:schemeClr val="tx2"/>
                </a:solidFill>
                <a:latin typeface="Montserrat" pitchFamily="2" charset="77"/>
              </a:defRPr>
            </a:lvl2pPr>
            <a:lvl3pPr>
              <a:defRPr sz="1600">
                <a:solidFill>
                  <a:schemeClr val="tx2"/>
                </a:solidFill>
                <a:latin typeface="Montserrat" pitchFamily="2" charset="77"/>
              </a:defRPr>
            </a:lvl3pPr>
            <a:lvl4pPr>
              <a:defRPr>
                <a:latin typeface="Montserrat" pitchFamily="2" charset="77"/>
              </a:defRPr>
            </a:lvl4pPr>
            <a:lvl5pPr>
              <a:defRPr>
                <a:latin typeface="Montserrat" pitchFamily="2" charset="77"/>
              </a:defRPr>
            </a:lvl5pPr>
          </a:lstStyle>
          <a:p>
            <a:pPr lvl="0"/>
            <a:r>
              <a:rPr lang="it-IT"/>
              <a:t>Fare clic per modificare gli stili del testo dello schema</a:t>
            </a:r>
          </a:p>
          <a:p>
            <a:pPr lvl="1"/>
            <a:r>
              <a:rPr lang="it-IT"/>
              <a:t>Secondo livello</a:t>
            </a:r>
          </a:p>
          <a:p>
            <a:pPr lvl="2"/>
            <a:r>
              <a:rPr lang="it-IT"/>
              <a:t>Terzo livello</a:t>
            </a:r>
          </a:p>
        </p:txBody>
      </p:sp>
    </p:spTree>
    <p:extLst>
      <p:ext uri="{BB962C8B-B14F-4D97-AF65-F5344CB8AC3E}">
        <p14:creationId xmlns:p14="http://schemas.microsoft.com/office/powerpoint/2010/main" val="552424630"/>
      </p:ext>
    </p:extLst>
  </p:cSld>
  <p:clrMapOvr>
    <a:masterClrMapping/>
  </p:clrMapOvr>
  <mc:AlternateContent xmlns:mc="http://schemas.openxmlformats.org/markup-compatibility/2006" xmlns:p14="http://schemas.microsoft.com/office/powerpoint/2010/main">
    <mc:Choice Requires="p14">
      <p:transition spd="slow" p14:dur="1250">
        <p14:reveal/>
      </p:transition>
    </mc:Choice>
    <mc:Fallback xmlns="">
      <p:transition spd="slow">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hart Title, Text, Grapchis &amp; Photo">
    <p:spTree>
      <p:nvGrpSpPr>
        <p:cNvPr id="1" name=""/>
        <p:cNvGrpSpPr/>
        <p:nvPr/>
      </p:nvGrpSpPr>
      <p:grpSpPr>
        <a:xfrm>
          <a:off x="0" y="0"/>
          <a:ext cx="0" cy="0"/>
          <a:chOff x="0" y="0"/>
          <a:chExt cx="0" cy="0"/>
        </a:xfrm>
      </p:grpSpPr>
      <p:pic>
        <p:nvPicPr>
          <p:cNvPr id="3" name="Immagine 2">
            <a:extLst>
              <a:ext uri="{FF2B5EF4-FFF2-40B4-BE49-F238E27FC236}">
                <a16:creationId xmlns:a16="http://schemas.microsoft.com/office/drawing/2014/main" id="{3B20A0FB-5624-1342-8260-58EB54CCB8A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169"/>
          <a:stretch/>
        </p:blipFill>
        <p:spPr>
          <a:xfrm>
            <a:off x="5718784" y="1681163"/>
            <a:ext cx="5262270" cy="4513713"/>
          </a:xfrm>
          <a:prstGeom prst="rect">
            <a:avLst/>
          </a:prstGeom>
        </p:spPr>
      </p:pic>
      <p:pic>
        <p:nvPicPr>
          <p:cNvPr id="12" name="Immagine 4" descr="Immagine che contiene freccia&#10;&#10;Descrizione generata automaticamente">
            <a:extLst>
              <a:ext uri="{FF2B5EF4-FFF2-40B4-BE49-F238E27FC236}">
                <a16:creationId xmlns:a16="http://schemas.microsoft.com/office/drawing/2014/main" id="{5EBBD253-8CAC-0E4B-AA13-728863AB4E61}"/>
              </a:ext>
            </a:extLst>
          </p:cNvPr>
          <p:cNvPicPr>
            <a:picLocks noChangeAspect="1" noChangeArrowheads="1"/>
          </p:cNvPicPr>
          <p:nvPr userDrawn="1"/>
        </p:nvPicPr>
        <p:blipFill>
          <a:blip r:embed="rId3" cstate="screen">
            <a:alphaModFix amt="10000"/>
            <a:extLst>
              <a:ext uri="{28A0092B-C50C-407E-A947-70E740481C1C}">
                <a14:useLocalDpi xmlns:a14="http://schemas.microsoft.com/office/drawing/2010/main"/>
              </a:ext>
            </a:extLst>
          </a:blip>
          <a:srcRect t="-5206" r="-22588"/>
          <a:stretch>
            <a:fillRect/>
          </a:stretch>
        </p:blipFill>
        <p:spPr bwMode="auto">
          <a:xfrm>
            <a:off x="0" y="3582988"/>
            <a:ext cx="3551238" cy="3275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Immagine 1">
            <a:extLst>
              <a:ext uri="{FF2B5EF4-FFF2-40B4-BE49-F238E27FC236}">
                <a16:creationId xmlns:a16="http://schemas.microsoft.com/office/drawing/2014/main" id="{2B3F45E6-08B2-474D-A723-31E3E608BA2E}"/>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030788" y="6488113"/>
            <a:ext cx="213042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Immagine 2">
            <a:extLst>
              <a:ext uri="{FF2B5EF4-FFF2-40B4-BE49-F238E27FC236}">
                <a16:creationId xmlns:a16="http://schemas.microsoft.com/office/drawing/2014/main" id="{7F4CB93D-C949-5448-A452-077C2FF6E1FD}"/>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0477500" y="265113"/>
            <a:ext cx="1352550" cy="506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Segnaposto numero diapositiva 5">
            <a:extLst>
              <a:ext uri="{FF2B5EF4-FFF2-40B4-BE49-F238E27FC236}">
                <a16:creationId xmlns:a16="http://schemas.microsoft.com/office/drawing/2014/main" id="{6C257C39-EAE8-554F-AFCA-00CD6A62C6E4}"/>
              </a:ext>
            </a:extLst>
          </p:cNvPr>
          <p:cNvSpPr txBox="1">
            <a:spLocks/>
          </p:cNvSpPr>
          <p:nvPr/>
        </p:nvSpPr>
        <p:spPr>
          <a:xfrm>
            <a:off x="9145588" y="6356350"/>
            <a:ext cx="2743200" cy="365125"/>
          </a:xfrm>
          <a:prstGeom prst="rect">
            <a:avLst/>
          </a:prstGeom>
        </p:spPr>
        <p:txBody>
          <a:bodyPr anchor="ctr"/>
          <a:lstStyle>
            <a:defPPr>
              <a:defRPr lang="it-IT"/>
            </a:defPPr>
            <a:lvl1pPr marL="0" algn="r" defTabSz="914400" rtl="0" eaLnBrk="1" latinLnBrk="0" hangingPunct="1">
              <a:defRPr sz="1200" kern="1200">
                <a:solidFill>
                  <a:srgbClr val="0070C0"/>
                </a:solidFill>
                <a:latin typeface="Montserrat" pitchFamily="2"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8FA02ED0-CBAF-5642-840F-4FD6F2254C3A}" type="slidenum">
              <a:rPr lang="it-IT" smtClean="0"/>
              <a:pPr fontAlgn="auto">
                <a:spcBef>
                  <a:spcPts val="0"/>
                </a:spcBef>
                <a:spcAft>
                  <a:spcPts val="0"/>
                </a:spcAft>
                <a:defRPr/>
              </a:pPr>
              <a:t>‹Nr.›</a:t>
            </a:fld>
            <a:endParaRPr lang="it-IT"/>
          </a:p>
        </p:txBody>
      </p:sp>
      <p:sp>
        <p:nvSpPr>
          <p:cNvPr id="10" name="Rettangolo 16">
            <a:extLst>
              <a:ext uri="{FF2B5EF4-FFF2-40B4-BE49-F238E27FC236}">
                <a16:creationId xmlns:a16="http://schemas.microsoft.com/office/drawing/2014/main" id="{AD3E2009-F95A-4242-A266-CDC6D7105045}"/>
              </a:ext>
            </a:extLst>
          </p:cNvPr>
          <p:cNvSpPr/>
          <p:nvPr/>
        </p:nvSpPr>
        <p:spPr>
          <a:xfrm>
            <a:off x="10987088" y="1681163"/>
            <a:ext cx="842962" cy="45085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it-IT">
              <a:latin typeface="Montserrat Medium" pitchFamily="2" charset="77"/>
            </a:endParaRPr>
          </a:p>
        </p:txBody>
      </p:sp>
      <p:sp>
        <p:nvSpPr>
          <p:cNvPr id="11" name="Rettangolo 17">
            <a:extLst>
              <a:ext uri="{FF2B5EF4-FFF2-40B4-BE49-F238E27FC236}">
                <a16:creationId xmlns:a16="http://schemas.microsoft.com/office/drawing/2014/main" id="{6BCB63DC-358F-3E47-8BBC-2326CE955929}"/>
              </a:ext>
            </a:extLst>
          </p:cNvPr>
          <p:cNvSpPr/>
          <p:nvPr/>
        </p:nvSpPr>
        <p:spPr>
          <a:xfrm>
            <a:off x="9215438" y="1681163"/>
            <a:ext cx="2976562" cy="4508500"/>
          </a:xfrm>
          <a:prstGeom prst="rect">
            <a:avLst/>
          </a:prstGeom>
          <a:solidFill>
            <a:schemeClr val="accent3">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it-IT">
              <a:latin typeface="Montserrat Medium" pitchFamily="2" charset="77"/>
            </a:endParaRPr>
          </a:p>
        </p:txBody>
      </p:sp>
      <p:sp>
        <p:nvSpPr>
          <p:cNvPr id="26" name="Content Placeholder 5"/>
          <p:cNvSpPr>
            <a:spLocks noGrp="1"/>
          </p:cNvSpPr>
          <p:nvPr>
            <p:ph sz="quarter" idx="10"/>
          </p:nvPr>
        </p:nvSpPr>
        <p:spPr>
          <a:xfrm>
            <a:off x="265417" y="2512160"/>
            <a:ext cx="5459397" cy="3683060"/>
          </a:xfrm>
          <a:prstGeom prst="rect">
            <a:avLst/>
          </a:prstGeom>
        </p:spPr>
        <p:txBody>
          <a:bodyPr/>
          <a:lstStyle>
            <a:lvl1pPr>
              <a:defRPr sz="2000">
                <a:solidFill>
                  <a:schemeClr val="tx2"/>
                </a:solidFill>
                <a:latin typeface="Montserrat" pitchFamily="2" charset="77"/>
              </a:defRPr>
            </a:lvl1pPr>
            <a:lvl2pPr>
              <a:defRPr sz="1800">
                <a:solidFill>
                  <a:schemeClr val="tx2"/>
                </a:solidFill>
                <a:latin typeface="Montserrat" pitchFamily="2" charset="77"/>
              </a:defRPr>
            </a:lvl2pPr>
            <a:lvl3pPr>
              <a:defRPr sz="1600">
                <a:solidFill>
                  <a:schemeClr val="tx2"/>
                </a:solidFill>
                <a:latin typeface="Montserrat" pitchFamily="2" charset="77"/>
              </a:defRPr>
            </a:lvl3pPr>
            <a:lvl4pPr>
              <a:defRPr>
                <a:latin typeface="Montserrat" pitchFamily="2" charset="77"/>
              </a:defRPr>
            </a:lvl4pPr>
            <a:lvl5pPr>
              <a:defRPr>
                <a:latin typeface="Montserrat" pitchFamily="2" charset="77"/>
              </a:defRPr>
            </a:lvl5pPr>
          </a:lstStyle>
          <a:p>
            <a:pPr lvl="0"/>
            <a:r>
              <a:rPr lang="it-IT"/>
              <a:t>Fare clic per modificare gli stili del testo dello schema</a:t>
            </a:r>
          </a:p>
          <a:p>
            <a:pPr lvl="1"/>
            <a:r>
              <a:rPr lang="it-IT"/>
              <a:t>Secondo livello</a:t>
            </a:r>
          </a:p>
          <a:p>
            <a:pPr lvl="2"/>
            <a:r>
              <a:rPr lang="it-IT"/>
              <a:t>Terzo livello</a:t>
            </a:r>
          </a:p>
        </p:txBody>
      </p:sp>
      <p:sp>
        <p:nvSpPr>
          <p:cNvPr id="21" name="Titolo 1">
            <a:extLst>
              <a:ext uri="{FF2B5EF4-FFF2-40B4-BE49-F238E27FC236}">
                <a16:creationId xmlns:a16="http://schemas.microsoft.com/office/drawing/2014/main" id="{BC48DE89-E6E2-2C49-B8C5-46BFE4B9D68C}"/>
              </a:ext>
            </a:extLst>
          </p:cNvPr>
          <p:cNvSpPr>
            <a:spLocks noGrp="1"/>
          </p:cNvSpPr>
          <p:nvPr>
            <p:ph type="ctrTitle"/>
          </p:nvPr>
        </p:nvSpPr>
        <p:spPr>
          <a:xfrm>
            <a:off x="277289" y="534147"/>
            <a:ext cx="5183187" cy="1141459"/>
          </a:xfrm>
          <a:prstGeom prst="rect">
            <a:avLst/>
          </a:prstGeom>
        </p:spPr>
        <p:txBody>
          <a:bodyPr anchor="b" anchorCtr="0">
            <a:noAutofit/>
          </a:bodyPr>
          <a:lstStyle>
            <a:lvl1pPr algn="l">
              <a:defRPr sz="2800" b="1" i="0">
                <a:solidFill>
                  <a:schemeClr val="tx2"/>
                </a:solidFill>
                <a:latin typeface="Montserrat" pitchFamily="2" charset="77"/>
              </a:defRPr>
            </a:lvl1pPr>
          </a:lstStyle>
          <a:p>
            <a:r>
              <a:rPr lang="it-IT"/>
              <a:t>Fare clic per modificare lo stile del titolo dello schema</a:t>
            </a:r>
          </a:p>
        </p:txBody>
      </p:sp>
      <p:sp>
        <p:nvSpPr>
          <p:cNvPr id="22" name="Text Placeholder 2">
            <a:extLst>
              <a:ext uri="{FF2B5EF4-FFF2-40B4-BE49-F238E27FC236}">
                <a16:creationId xmlns:a16="http://schemas.microsoft.com/office/drawing/2014/main" id="{753796F5-5455-F543-95E0-B18BD3270388}"/>
              </a:ext>
            </a:extLst>
          </p:cNvPr>
          <p:cNvSpPr>
            <a:spLocks noGrp="1"/>
          </p:cNvSpPr>
          <p:nvPr>
            <p:ph type="body" idx="1"/>
          </p:nvPr>
        </p:nvSpPr>
        <p:spPr>
          <a:xfrm>
            <a:off x="265418" y="1681163"/>
            <a:ext cx="5183188" cy="823912"/>
          </a:xfrm>
          <a:prstGeom prst="rect">
            <a:avLst/>
          </a:prstGeom>
        </p:spPr>
        <p:txBody>
          <a:bodyPr anchor="b"/>
          <a:lstStyle>
            <a:lvl1pPr marL="0" indent="0">
              <a:buNone/>
              <a:defRPr sz="2400" b="1">
                <a:solidFill>
                  <a:schemeClr val="tx2"/>
                </a:solidFill>
                <a:latin typeface="Montserrat" pitchFamily="2" charset="77"/>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gli stili del testo dello schema</a:t>
            </a:r>
          </a:p>
        </p:txBody>
      </p:sp>
    </p:spTree>
    <p:extLst>
      <p:ext uri="{BB962C8B-B14F-4D97-AF65-F5344CB8AC3E}">
        <p14:creationId xmlns:p14="http://schemas.microsoft.com/office/powerpoint/2010/main" val="140889294"/>
      </p:ext>
    </p:extLst>
  </p:cSld>
  <p:clrMapOvr>
    <a:masterClrMapping/>
  </p:clrMapOvr>
  <mc:AlternateContent xmlns:mc="http://schemas.openxmlformats.org/markup-compatibility/2006" xmlns:p14="http://schemas.microsoft.com/office/powerpoint/2010/main">
    <mc:Choice Requires="p14">
      <p:transition spd="slow" p14:dur="1250">
        <p14:reveal/>
      </p:transition>
    </mc:Choice>
    <mc:Fallback xmlns="">
      <p:transition spd="slow">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hart Title, Text &amp; Graphics 02">
    <p:spTree>
      <p:nvGrpSpPr>
        <p:cNvPr id="1" name=""/>
        <p:cNvGrpSpPr/>
        <p:nvPr/>
      </p:nvGrpSpPr>
      <p:grpSpPr>
        <a:xfrm>
          <a:off x="0" y="0"/>
          <a:ext cx="0" cy="0"/>
          <a:chOff x="0" y="0"/>
          <a:chExt cx="0" cy="0"/>
        </a:xfrm>
      </p:grpSpPr>
      <p:pic>
        <p:nvPicPr>
          <p:cNvPr id="11" name="Immagine 4" descr="Immagine che contiene freccia&#10;&#10;Descrizione generata automaticamente">
            <a:extLst>
              <a:ext uri="{FF2B5EF4-FFF2-40B4-BE49-F238E27FC236}">
                <a16:creationId xmlns:a16="http://schemas.microsoft.com/office/drawing/2014/main" id="{D8E14485-B979-A247-9DEA-146D3E0CF637}"/>
              </a:ext>
            </a:extLst>
          </p:cNvPr>
          <p:cNvPicPr>
            <a:picLocks noChangeAspect="1" noChangeArrowheads="1"/>
          </p:cNvPicPr>
          <p:nvPr userDrawn="1"/>
        </p:nvPicPr>
        <p:blipFill>
          <a:blip r:embed="rId2" cstate="screen">
            <a:alphaModFix amt="10000"/>
            <a:extLst>
              <a:ext uri="{28A0092B-C50C-407E-A947-70E740481C1C}">
                <a14:useLocalDpi xmlns:a14="http://schemas.microsoft.com/office/drawing/2010/main"/>
              </a:ext>
            </a:extLst>
          </a:blip>
          <a:srcRect t="-5206" r="-22588"/>
          <a:stretch>
            <a:fillRect/>
          </a:stretch>
        </p:blipFill>
        <p:spPr bwMode="auto">
          <a:xfrm>
            <a:off x="8344" y="3582988"/>
            <a:ext cx="3551238" cy="3275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Immagine 1">
            <a:extLst>
              <a:ext uri="{FF2B5EF4-FFF2-40B4-BE49-F238E27FC236}">
                <a16:creationId xmlns:a16="http://schemas.microsoft.com/office/drawing/2014/main" id="{BAC01275-D208-FA40-BFFB-CDFAE06FCC7C}"/>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5030788" y="6488113"/>
            <a:ext cx="213042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Immagine 2">
            <a:extLst>
              <a:ext uri="{FF2B5EF4-FFF2-40B4-BE49-F238E27FC236}">
                <a16:creationId xmlns:a16="http://schemas.microsoft.com/office/drawing/2014/main" id="{D07A18DD-24B7-3540-935C-1C71CC6B3344}"/>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10477500" y="265113"/>
            <a:ext cx="1352550" cy="506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Segnaposto numero diapositiva 5">
            <a:extLst>
              <a:ext uri="{FF2B5EF4-FFF2-40B4-BE49-F238E27FC236}">
                <a16:creationId xmlns:a16="http://schemas.microsoft.com/office/drawing/2014/main" id="{8953AC5F-B5AC-8448-962D-952F5C29A972}"/>
              </a:ext>
            </a:extLst>
          </p:cNvPr>
          <p:cNvSpPr txBox="1">
            <a:spLocks/>
          </p:cNvSpPr>
          <p:nvPr/>
        </p:nvSpPr>
        <p:spPr>
          <a:xfrm>
            <a:off x="9145588" y="6356350"/>
            <a:ext cx="2743200" cy="365125"/>
          </a:xfrm>
          <a:prstGeom prst="rect">
            <a:avLst/>
          </a:prstGeom>
        </p:spPr>
        <p:txBody>
          <a:bodyPr anchor="ctr"/>
          <a:lstStyle>
            <a:defPPr>
              <a:defRPr lang="it-IT"/>
            </a:defPPr>
            <a:lvl1pPr marL="0" algn="r" defTabSz="914400" rtl="0" eaLnBrk="1" latinLnBrk="0" hangingPunct="1">
              <a:defRPr sz="1200" kern="1200">
                <a:solidFill>
                  <a:srgbClr val="0070C0"/>
                </a:solidFill>
                <a:latin typeface="Montserrat" pitchFamily="2"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532A690C-E27A-8549-AE5E-6094FA7FDE65}" type="slidenum">
              <a:rPr lang="it-IT" smtClean="0"/>
              <a:pPr fontAlgn="auto">
                <a:spcBef>
                  <a:spcPts val="0"/>
                </a:spcBef>
                <a:spcAft>
                  <a:spcPts val="0"/>
                </a:spcAft>
                <a:defRPr/>
              </a:pPr>
              <a:t>‹Nr.›</a:t>
            </a:fld>
            <a:endParaRPr lang="it-IT"/>
          </a:p>
        </p:txBody>
      </p:sp>
      <p:sp>
        <p:nvSpPr>
          <p:cNvPr id="25" name="Text Placeholder 2"/>
          <p:cNvSpPr>
            <a:spLocks noGrp="1"/>
          </p:cNvSpPr>
          <p:nvPr>
            <p:ph type="body" idx="1"/>
          </p:nvPr>
        </p:nvSpPr>
        <p:spPr>
          <a:xfrm>
            <a:off x="251890" y="2072482"/>
            <a:ext cx="11578160" cy="823912"/>
          </a:xfrm>
          <a:prstGeom prst="rect">
            <a:avLst/>
          </a:prstGeom>
        </p:spPr>
        <p:txBody>
          <a:bodyPr anchor="b"/>
          <a:lstStyle>
            <a:lvl1pPr marL="0" indent="0">
              <a:buNone/>
              <a:defRPr sz="2400" b="1">
                <a:solidFill>
                  <a:schemeClr val="tx2"/>
                </a:solidFill>
                <a:latin typeface="Montserrat" pitchFamily="2" charset="77"/>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gli stili del testo dello schema</a:t>
            </a:r>
          </a:p>
        </p:txBody>
      </p:sp>
      <p:sp>
        <p:nvSpPr>
          <p:cNvPr id="26" name="Content Placeholder 5"/>
          <p:cNvSpPr>
            <a:spLocks noGrp="1"/>
          </p:cNvSpPr>
          <p:nvPr>
            <p:ph sz="quarter" idx="10"/>
          </p:nvPr>
        </p:nvSpPr>
        <p:spPr>
          <a:xfrm>
            <a:off x="277290" y="2911475"/>
            <a:ext cx="11552760" cy="3275011"/>
          </a:xfrm>
          <a:prstGeom prst="rect">
            <a:avLst/>
          </a:prstGeom>
        </p:spPr>
        <p:txBody>
          <a:bodyPr/>
          <a:lstStyle>
            <a:lvl1pPr>
              <a:defRPr sz="2000">
                <a:solidFill>
                  <a:schemeClr val="tx2"/>
                </a:solidFill>
                <a:latin typeface="Montserrat" pitchFamily="2" charset="77"/>
              </a:defRPr>
            </a:lvl1pPr>
            <a:lvl2pPr>
              <a:defRPr sz="1800">
                <a:solidFill>
                  <a:schemeClr val="tx2"/>
                </a:solidFill>
                <a:latin typeface="Montserrat" pitchFamily="2" charset="77"/>
              </a:defRPr>
            </a:lvl2pPr>
            <a:lvl3pPr>
              <a:defRPr sz="1600">
                <a:solidFill>
                  <a:schemeClr val="tx2"/>
                </a:solidFill>
                <a:latin typeface="Montserrat" pitchFamily="2" charset="77"/>
              </a:defRPr>
            </a:lvl3pPr>
            <a:lvl4pPr>
              <a:defRPr>
                <a:latin typeface="Montserrat" pitchFamily="2" charset="77"/>
              </a:defRPr>
            </a:lvl4pPr>
            <a:lvl5pPr>
              <a:defRPr>
                <a:latin typeface="Montserrat" pitchFamily="2" charset="77"/>
              </a:defRPr>
            </a:lvl5pPr>
          </a:lstStyle>
          <a:p>
            <a:pPr lvl="0"/>
            <a:r>
              <a:rPr lang="it-IT"/>
              <a:t>Fare clic per modificare gli stili del testo dello schema</a:t>
            </a:r>
          </a:p>
          <a:p>
            <a:pPr lvl="1"/>
            <a:r>
              <a:rPr lang="it-IT"/>
              <a:t>Secondo livello</a:t>
            </a:r>
          </a:p>
          <a:p>
            <a:pPr lvl="2"/>
            <a:r>
              <a:rPr lang="it-IT"/>
              <a:t>Terzo livello</a:t>
            </a:r>
          </a:p>
        </p:txBody>
      </p:sp>
      <p:sp>
        <p:nvSpPr>
          <p:cNvPr id="13" name="Titolo 1"/>
          <p:cNvSpPr>
            <a:spLocks noGrp="1"/>
          </p:cNvSpPr>
          <p:nvPr>
            <p:ph type="ctrTitle"/>
          </p:nvPr>
        </p:nvSpPr>
        <p:spPr>
          <a:xfrm>
            <a:off x="277290" y="910384"/>
            <a:ext cx="3994860" cy="1141459"/>
          </a:xfrm>
          <a:prstGeom prst="rect">
            <a:avLst/>
          </a:prstGeom>
        </p:spPr>
        <p:txBody>
          <a:bodyPr anchor="b" anchorCtr="0">
            <a:noAutofit/>
          </a:bodyPr>
          <a:lstStyle>
            <a:lvl1pPr algn="l">
              <a:defRPr sz="2800" b="1" i="0">
                <a:solidFill>
                  <a:schemeClr val="tx2"/>
                </a:solidFill>
                <a:latin typeface="Montserrat" pitchFamily="2" charset="77"/>
              </a:defRPr>
            </a:lvl1pPr>
          </a:lstStyle>
          <a:p>
            <a:r>
              <a:rPr lang="it-IT"/>
              <a:t>Fare clic per modificare lo stile del titolo dello schema</a:t>
            </a:r>
          </a:p>
        </p:txBody>
      </p:sp>
      <p:pic>
        <p:nvPicPr>
          <p:cNvPr id="10" name="Immagine 4" descr="Immagine che contiene freccia&#10;&#10;Descrizione generata automaticamente">
            <a:extLst>
              <a:ext uri="{FF2B5EF4-FFF2-40B4-BE49-F238E27FC236}">
                <a16:creationId xmlns:a16="http://schemas.microsoft.com/office/drawing/2014/main" id="{82EB41B5-F4AF-634A-8830-EC851DD96DD7}"/>
              </a:ext>
            </a:extLst>
          </p:cNvPr>
          <p:cNvPicPr>
            <a:picLocks noChangeAspect="1" noChangeArrowheads="1"/>
          </p:cNvPicPr>
          <p:nvPr userDrawn="1"/>
        </p:nvPicPr>
        <p:blipFill>
          <a:blip r:embed="rId2" cstate="screen">
            <a:alphaModFix amt="10000"/>
            <a:extLst>
              <a:ext uri="{28A0092B-C50C-407E-A947-70E740481C1C}">
                <a14:useLocalDpi xmlns:a14="http://schemas.microsoft.com/office/drawing/2010/main"/>
              </a:ext>
            </a:extLst>
          </a:blip>
          <a:srcRect t="-5206" r="-22588"/>
          <a:stretch>
            <a:fillRect/>
          </a:stretch>
        </p:blipFill>
        <p:spPr bwMode="auto">
          <a:xfrm>
            <a:off x="0" y="3582988"/>
            <a:ext cx="3551238" cy="3275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08348177"/>
      </p:ext>
    </p:extLst>
  </p:cSld>
  <p:clrMapOvr>
    <a:masterClrMapping/>
  </p:clrMapOvr>
  <mc:AlternateContent xmlns:mc="http://schemas.openxmlformats.org/markup-compatibility/2006" xmlns:p14="http://schemas.microsoft.com/office/powerpoint/2010/main">
    <mc:Choice Requires="p14">
      <p:transition spd="slow" p14:dur="1250">
        <p14:reveal/>
      </p:transition>
    </mc:Choice>
    <mc:Fallback xmlns="">
      <p:transition spd="slow">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hart Title, Text &amp; Graphics 03">
    <p:spTree>
      <p:nvGrpSpPr>
        <p:cNvPr id="1" name=""/>
        <p:cNvGrpSpPr/>
        <p:nvPr/>
      </p:nvGrpSpPr>
      <p:grpSpPr>
        <a:xfrm>
          <a:off x="0" y="0"/>
          <a:ext cx="0" cy="0"/>
          <a:chOff x="0" y="0"/>
          <a:chExt cx="0" cy="0"/>
        </a:xfrm>
      </p:grpSpPr>
      <p:pic>
        <p:nvPicPr>
          <p:cNvPr id="9" name="Immagine 4" descr="Immagine che contiene freccia&#10;&#10;Descrizione generata automaticamente">
            <a:extLst>
              <a:ext uri="{FF2B5EF4-FFF2-40B4-BE49-F238E27FC236}">
                <a16:creationId xmlns:a16="http://schemas.microsoft.com/office/drawing/2014/main" id="{8D5C7E40-0CDC-BC41-9D29-9B8AD3C55EEE}"/>
              </a:ext>
            </a:extLst>
          </p:cNvPr>
          <p:cNvPicPr>
            <a:picLocks noChangeAspect="1" noChangeArrowheads="1"/>
          </p:cNvPicPr>
          <p:nvPr userDrawn="1"/>
        </p:nvPicPr>
        <p:blipFill>
          <a:blip r:embed="rId2" cstate="screen">
            <a:alphaModFix amt="10000"/>
            <a:extLst>
              <a:ext uri="{28A0092B-C50C-407E-A947-70E740481C1C}">
                <a14:useLocalDpi xmlns:a14="http://schemas.microsoft.com/office/drawing/2010/main"/>
              </a:ext>
            </a:extLst>
          </a:blip>
          <a:srcRect t="-5206" r="-22588"/>
          <a:stretch>
            <a:fillRect/>
          </a:stretch>
        </p:blipFill>
        <p:spPr bwMode="auto">
          <a:xfrm>
            <a:off x="0" y="3582988"/>
            <a:ext cx="3551238" cy="3275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Immagine 1">
            <a:extLst>
              <a:ext uri="{FF2B5EF4-FFF2-40B4-BE49-F238E27FC236}">
                <a16:creationId xmlns:a16="http://schemas.microsoft.com/office/drawing/2014/main" id="{C27513EE-89F6-8C4C-8DDC-43ED6A1365A5}"/>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5030788" y="6488113"/>
            <a:ext cx="213042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Immagine 2">
            <a:extLst>
              <a:ext uri="{FF2B5EF4-FFF2-40B4-BE49-F238E27FC236}">
                <a16:creationId xmlns:a16="http://schemas.microsoft.com/office/drawing/2014/main" id="{6D746C32-CA41-D347-A50C-9B70C1E6CB87}"/>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10477500" y="265113"/>
            <a:ext cx="1352550" cy="506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Segnaposto numero diapositiva 5">
            <a:extLst>
              <a:ext uri="{FF2B5EF4-FFF2-40B4-BE49-F238E27FC236}">
                <a16:creationId xmlns:a16="http://schemas.microsoft.com/office/drawing/2014/main" id="{AAA818DC-06C1-2342-B806-392EA9649872}"/>
              </a:ext>
            </a:extLst>
          </p:cNvPr>
          <p:cNvSpPr txBox="1">
            <a:spLocks/>
          </p:cNvSpPr>
          <p:nvPr/>
        </p:nvSpPr>
        <p:spPr>
          <a:xfrm>
            <a:off x="9145588" y="6356350"/>
            <a:ext cx="2743200" cy="365125"/>
          </a:xfrm>
          <a:prstGeom prst="rect">
            <a:avLst/>
          </a:prstGeom>
        </p:spPr>
        <p:txBody>
          <a:bodyPr anchor="ctr"/>
          <a:lstStyle>
            <a:defPPr>
              <a:defRPr lang="it-IT"/>
            </a:defPPr>
            <a:lvl1pPr marL="0" algn="r" defTabSz="914400" rtl="0" eaLnBrk="1" latinLnBrk="0" hangingPunct="1">
              <a:defRPr sz="1200" kern="1200">
                <a:solidFill>
                  <a:srgbClr val="0070C0"/>
                </a:solidFill>
                <a:latin typeface="Montserrat" pitchFamily="2"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234DEC44-A291-A44B-A1A0-B14AC4E15AE1}" type="slidenum">
              <a:rPr lang="it-IT" smtClean="0"/>
              <a:pPr fontAlgn="auto">
                <a:spcBef>
                  <a:spcPts val="0"/>
                </a:spcBef>
                <a:spcAft>
                  <a:spcPts val="0"/>
                </a:spcAft>
                <a:defRPr/>
              </a:pPr>
              <a:t>‹Nr.›</a:t>
            </a:fld>
            <a:endParaRPr lang="it-IT"/>
          </a:p>
        </p:txBody>
      </p:sp>
      <p:sp>
        <p:nvSpPr>
          <p:cNvPr id="16" name="Content Placeholder 2"/>
          <p:cNvSpPr>
            <a:spLocks noGrp="1"/>
          </p:cNvSpPr>
          <p:nvPr>
            <p:ph idx="1"/>
          </p:nvPr>
        </p:nvSpPr>
        <p:spPr>
          <a:xfrm>
            <a:off x="277290" y="2051843"/>
            <a:ext cx="11553382" cy="4125119"/>
          </a:xfrm>
          <a:prstGeom prst="rect">
            <a:avLst/>
          </a:prstGeom>
        </p:spPr>
        <p:txBody>
          <a:bodyPr/>
          <a:lstStyle>
            <a:lvl1pPr>
              <a:defRPr sz="2400" b="1">
                <a:solidFill>
                  <a:schemeClr val="tx2"/>
                </a:solidFill>
                <a:latin typeface="Montserrat" pitchFamily="2" charset="77"/>
              </a:defRPr>
            </a:lvl1pPr>
            <a:lvl2pPr>
              <a:defRPr>
                <a:solidFill>
                  <a:schemeClr val="tx2"/>
                </a:solidFill>
                <a:latin typeface="Montserrat" pitchFamily="2" charset="77"/>
              </a:defRPr>
            </a:lvl2pPr>
            <a:lvl3pPr>
              <a:defRPr>
                <a:solidFill>
                  <a:schemeClr val="tx2"/>
                </a:solidFill>
                <a:latin typeface="Montserrat" pitchFamily="2" charset="77"/>
              </a:defRPr>
            </a:lvl3pPr>
            <a:lvl4pPr>
              <a:defRPr>
                <a:solidFill>
                  <a:schemeClr val="tx2"/>
                </a:solidFill>
                <a:latin typeface="Montserrat" pitchFamily="2" charset="77"/>
              </a:defRPr>
            </a:lvl4pPr>
            <a:lvl5pPr>
              <a:defRPr>
                <a:solidFill>
                  <a:schemeClr val="tx2"/>
                </a:solidFill>
                <a:latin typeface="Montserrat" pitchFamily="2" charset="77"/>
              </a:defRPr>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12" name="Titolo 1">
            <a:extLst>
              <a:ext uri="{FF2B5EF4-FFF2-40B4-BE49-F238E27FC236}">
                <a16:creationId xmlns:a16="http://schemas.microsoft.com/office/drawing/2014/main" id="{410AC73B-53BE-C141-A415-76E05F636EBA}"/>
              </a:ext>
            </a:extLst>
          </p:cNvPr>
          <p:cNvSpPr>
            <a:spLocks noGrp="1"/>
          </p:cNvSpPr>
          <p:nvPr>
            <p:ph type="ctrTitle"/>
          </p:nvPr>
        </p:nvSpPr>
        <p:spPr>
          <a:xfrm>
            <a:off x="277290" y="910384"/>
            <a:ext cx="3994860" cy="1141459"/>
          </a:xfrm>
          <a:prstGeom prst="rect">
            <a:avLst/>
          </a:prstGeom>
        </p:spPr>
        <p:txBody>
          <a:bodyPr anchor="b" anchorCtr="0">
            <a:noAutofit/>
          </a:bodyPr>
          <a:lstStyle>
            <a:lvl1pPr algn="l">
              <a:defRPr sz="2800" b="1" i="0">
                <a:solidFill>
                  <a:schemeClr val="tx2"/>
                </a:solidFill>
                <a:latin typeface="Montserrat" pitchFamily="2" charset="77"/>
              </a:defRPr>
            </a:lvl1pPr>
          </a:lstStyle>
          <a:p>
            <a:r>
              <a:rPr lang="it-IT"/>
              <a:t>Fare clic per modificare lo stile del titolo dello schema</a:t>
            </a:r>
          </a:p>
        </p:txBody>
      </p:sp>
    </p:spTree>
    <p:extLst>
      <p:ext uri="{BB962C8B-B14F-4D97-AF65-F5344CB8AC3E}">
        <p14:creationId xmlns:p14="http://schemas.microsoft.com/office/powerpoint/2010/main" val="3960468894"/>
      </p:ext>
    </p:extLst>
  </p:cSld>
  <p:clrMapOvr>
    <a:masterClrMapping/>
  </p:clrMapOvr>
  <mc:AlternateContent xmlns:mc="http://schemas.openxmlformats.org/markup-compatibility/2006" xmlns:p14="http://schemas.microsoft.com/office/powerpoint/2010/main">
    <mc:Choice Requires="p14">
      <p:transition spd="slow" p14:dur="1250">
        <p14:reveal/>
      </p:transition>
    </mc:Choice>
    <mc:Fallback xmlns="">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Chart Title, Text &amp; Graphics 03">
    <p:spTree>
      <p:nvGrpSpPr>
        <p:cNvPr id="1" name=""/>
        <p:cNvGrpSpPr/>
        <p:nvPr/>
      </p:nvGrpSpPr>
      <p:grpSpPr>
        <a:xfrm>
          <a:off x="0" y="0"/>
          <a:ext cx="0" cy="0"/>
          <a:chOff x="0" y="0"/>
          <a:chExt cx="0" cy="0"/>
        </a:xfrm>
      </p:grpSpPr>
      <p:pic>
        <p:nvPicPr>
          <p:cNvPr id="9" name="Immagine 4" descr="Immagine che contiene freccia&#10;&#10;Descrizione generata automaticamente">
            <a:extLst>
              <a:ext uri="{FF2B5EF4-FFF2-40B4-BE49-F238E27FC236}">
                <a16:creationId xmlns:a16="http://schemas.microsoft.com/office/drawing/2014/main" id="{8D5C7E40-0CDC-BC41-9D29-9B8AD3C55EEE}"/>
              </a:ext>
            </a:extLst>
          </p:cNvPr>
          <p:cNvPicPr>
            <a:picLocks noChangeAspect="1" noChangeArrowheads="1"/>
          </p:cNvPicPr>
          <p:nvPr userDrawn="1"/>
        </p:nvPicPr>
        <p:blipFill>
          <a:blip r:embed="rId2" cstate="screen">
            <a:alphaModFix amt="10000"/>
            <a:extLst>
              <a:ext uri="{28A0092B-C50C-407E-A947-70E740481C1C}">
                <a14:useLocalDpi xmlns:a14="http://schemas.microsoft.com/office/drawing/2010/main"/>
              </a:ext>
            </a:extLst>
          </a:blip>
          <a:srcRect t="-5206" r="-22588"/>
          <a:stretch>
            <a:fillRect/>
          </a:stretch>
        </p:blipFill>
        <p:spPr bwMode="auto">
          <a:xfrm>
            <a:off x="0" y="3582988"/>
            <a:ext cx="3551238" cy="32750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5" name="Immagine 2">
            <a:extLst>
              <a:ext uri="{FF2B5EF4-FFF2-40B4-BE49-F238E27FC236}">
                <a16:creationId xmlns:a16="http://schemas.microsoft.com/office/drawing/2014/main" id="{6D746C32-CA41-D347-A50C-9B70C1E6CB87}"/>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10477500" y="265113"/>
            <a:ext cx="1352550" cy="5064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6" name="Segnaposto numero diapositiva 5">
            <a:extLst>
              <a:ext uri="{FF2B5EF4-FFF2-40B4-BE49-F238E27FC236}">
                <a16:creationId xmlns:a16="http://schemas.microsoft.com/office/drawing/2014/main" id="{AAA818DC-06C1-2342-B806-392EA9649872}"/>
              </a:ext>
            </a:extLst>
          </p:cNvPr>
          <p:cNvSpPr txBox="1">
            <a:spLocks/>
          </p:cNvSpPr>
          <p:nvPr/>
        </p:nvSpPr>
        <p:spPr>
          <a:xfrm>
            <a:off x="9145588" y="6356350"/>
            <a:ext cx="2743200" cy="365125"/>
          </a:xfrm>
          <a:prstGeom prst="rect">
            <a:avLst/>
          </a:prstGeom>
        </p:spPr>
        <p:txBody>
          <a:bodyPr anchor="ctr"/>
          <a:lstStyle>
            <a:defPPr>
              <a:defRPr lang="it-IT"/>
            </a:defPPr>
            <a:lvl1pPr marL="0" algn="r" defTabSz="914400" rtl="0" eaLnBrk="1" latinLnBrk="0" hangingPunct="1">
              <a:defRPr sz="1200" kern="1200">
                <a:solidFill>
                  <a:srgbClr val="0070C0"/>
                </a:solidFill>
                <a:latin typeface="Montserrat" pitchFamily="2"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234DEC44-A291-A44B-A1A0-B14AC4E15AE1}" type="slidenum">
              <a:rPr lang="it-IT" smtClean="0"/>
              <a:pPr fontAlgn="auto">
                <a:spcBef>
                  <a:spcPts val="0"/>
                </a:spcBef>
                <a:spcAft>
                  <a:spcPts val="0"/>
                </a:spcAft>
                <a:defRPr/>
              </a:pPr>
              <a:t>‹Nr.›</a:t>
            </a:fld>
            <a:endParaRPr lang="it-IT"/>
          </a:p>
        </p:txBody>
      </p:sp>
      <p:pic>
        <p:nvPicPr>
          <p:cNvPr id="22" name="Immagine 21">
            <a:extLst>
              <a:ext uri="{FF2B5EF4-FFF2-40B4-BE49-F238E27FC236}">
                <a16:creationId xmlns:a16="http://schemas.microsoft.com/office/drawing/2014/main" id="{5357817E-718E-46D3-B53C-66EF11830B9D}"/>
              </a:ext>
            </a:extLst>
          </p:cNvPr>
          <p:cNvPicPr>
            <a:picLocks noChangeAspect="1"/>
          </p:cNvPicPr>
          <p:nvPr userDrawn="1"/>
        </p:nvPicPr>
        <p:blipFill>
          <a:blip r:embed="rId4"/>
          <a:stretch>
            <a:fillRect/>
          </a:stretch>
        </p:blipFill>
        <p:spPr>
          <a:xfrm>
            <a:off x="-2" y="517418"/>
            <a:ext cx="8845946" cy="6340582"/>
          </a:xfrm>
          <a:prstGeom prst="rect">
            <a:avLst/>
          </a:prstGeom>
        </p:spPr>
      </p:pic>
      <p:sp>
        <p:nvSpPr>
          <p:cNvPr id="11" name="Rettangolo 10">
            <a:extLst>
              <a:ext uri="{FF2B5EF4-FFF2-40B4-BE49-F238E27FC236}">
                <a16:creationId xmlns:a16="http://schemas.microsoft.com/office/drawing/2014/main" id="{5B710519-46B2-CB47-AA51-E1F27684850B}"/>
              </a:ext>
            </a:extLst>
          </p:cNvPr>
          <p:cNvSpPr/>
          <p:nvPr userDrawn="1"/>
        </p:nvSpPr>
        <p:spPr>
          <a:xfrm rot="16200000">
            <a:off x="4088606" y="-2113756"/>
            <a:ext cx="3430588" cy="11607800"/>
          </a:xfrm>
          <a:prstGeom prst="rect">
            <a:avLst/>
          </a:prstGeom>
          <a:solidFill>
            <a:schemeClr val="accent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it-IT">
              <a:solidFill>
                <a:schemeClr val="accent1"/>
              </a:solidFill>
              <a:latin typeface="Montserrat Medium" pitchFamily="2" charset="77"/>
            </a:endParaRPr>
          </a:p>
        </p:txBody>
      </p:sp>
      <p:pic>
        <p:nvPicPr>
          <p:cNvPr id="8" name="Immagine 5">
            <a:extLst>
              <a:ext uri="{FF2B5EF4-FFF2-40B4-BE49-F238E27FC236}">
                <a16:creationId xmlns:a16="http://schemas.microsoft.com/office/drawing/2014/main" id="{790A49EC-780E-A743-B353-53E55FC0D013}"/>
              </a:ext>
            </a:extLst>
          </p:cNvPr>
          <p:cNvPicPr>
            <a:picLocks noChangeAspect="1" noChangeArrowheads="1"/>
          </p:cNvPicPr>
          <p:nvPr userDrawn="1"/>
        </p:nvPicPr>
        <p:blipFill>
          <a:blip r:embed="rId5" cstate="screen">
            <a:alphaModFix amt="60000"/>
            <a:extLst>
              <a:ext uri="{28A0092B-C50C-407E-A947-70E740481C1C}">
                <a14:useLocalDpi xmlns:a14="http://schemas.microsoft.com/office/drawing/2010/main"/>
              </a:ext>
            </a:extLst>
          </a:blip>
          <a:srcRect l="17816" t="-2272" b="13448"/>
          <a:stretch>
            <a:fillRect/>
          </a:stretch>
        </p:blipFill>
        <p:spPr bwMode="auto">
          <a:xfrm>
            <a:off x="-12700" y="3582988"/>
            <a:ext cx="2917825" cy="3979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7060497"/>
      </p:ext>
    </p:extLst>
  </p:cSld>
  <p:clrMapOvr>
    <a:masterClrMapping/>
  </p:clrMapOvr>
  <mc:AlternateContent xmlns:mc="http://schemas.openxmlformats.org/markup-compatibility/2006" xmlns:p14="http://schemas.microsoft.com/office/powerpoint/2010/main">
    <mc:Choice Requires="p14">
      <p:transition spd="slow" p14:dur="1250">
        <p14:reveal/>
      </p:transition>
    </mc:Choice>
    <mc:Fallback xmlns="">
      <p:transition spd="slow">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Chart Cover, Title + Photo">
    <p:spTree>
      <p:nvGrpSpPr>
        <p:cNvPr id="1" name=""/>
        <p:cNvGrpSpPr/>
        <p:nvPr/>
      </p:nvGrpSpPr>
      <p:grpSpPr>
        <a:xfrm>
          <a:off x="0" y="0"/>
          <a:ext cx="0" cy="0"/>
          <a:chOff x="0" y="0"/>
          <a:chExt cx="0" cy="0"/>
        </a:xfrm>
      </p:grpSpPr>
      <p:sp>
        <p:nvSpPr>
          <p:cNvPr id="5" name="Rettangolo 4">
            <a:extLst>
              <a:ext uri="{FF2B5EF4-FFF2-40B4-BE49-F238E27FC236}">
                <a16:creationId xmlns:a16="http://schemas.microsoft.com/office/drawing/2014/main" id="{919BD2CC-943F-C74C-B54C-29E255DD5B4B}"/>
              </a:ext>
            </a:extLst>
          </p:cNvPr>
          <p:cNvSpPr/>
          <p:nvPr/>
        </p:nvSpPr>
        <p:spPr>
          <a:xfrm>
            <a:off x="0" y="522288"/>
            <a:ext cx="8764588" cy="633571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it-IT"/>
              <a:t>V</a:t>
            </a:r>
          </a:p>
        </p:txBody>
      </p:sp>
      <p:pic>
        <p:nvPicPr>
          <p:cNvPr id="7" name="Immagine 3">
            <a:extLst>
              <a:ext uri="{FF2B5EF4-FFF2-40B4-BE49-F238E27FC236}">
                <a16:creationId xmlns:a16="http://schemas.microsoft.com/office/drawing/2014/main" id="{EE51CF94-0726-884A-865D-A17D58D84F95}"/>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10101263" y="265113"/>
            <a:ext cx="1506537" cy="56356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4" name="Immagine 3">
            <a:extLst>
              <a:ext uri="{FF2B5EF4-FFF2-40B4-BE49-F238E27FC236}">
                <a16:creationId xmlns:a16="http://schemas.microsoft.com/office/drawing/2014/main" id="{74E93587-F52D-46A4-9608-A256725E01AA}"/>
              </a:ext>
            </a:extLst>
          </p:cNvPr>
          <p:cNvPicPr>
            <a:picLocks noChangeAspect="1"/>
          </p:cNvPicPr>
          <p:nvPr userDrawn="1"/>
        </p:nvPicPr>
        <p:blipFill>
          <a:blip r:embed="rId3"/>
          <a:stretch>
            <a:fillRect/>
          </a:stretch>
        </p:blipFill>
        <p:spPr>
          <a:xfrm>
            <a:off x="-2" y="517418"/>
            <a:ext cx="8845946" cy="6340582"/>
          </a:xfrm>
          <a:prstGeom prst="rect">
            <a:avLst/>
          </a:prstGeom>
        </p:spPr>
      </p:pic>
      <p:pic>
        <p:nvPicPr>
          <p:cNvPr id="8" name="Immagine 5">
            <a:extLst>
              <a:ext uri="{FF2B5EF4-FFF2-40B4-BE49-F238E27FC236}">
                <a16:creationId xmlns:a16="http://schemas.microsoft.com/office/drawing/2014/main" id="{EE861049-D469-F44C-90A5-C9364A29E983}"/>
              </a:ext>
            </a:extLst>
          </p:cNvPr>
          <p:cNvPicPr>
            <a:picLocks noChangeAspect="1" noChangeArrowheads="1"/>
          </p:cNvPicPr>
          <p:nvPr userDrawn="1"/>
        </p:nvPicPr>
        <p:blipFill>
          <a:blip r:embed="rId4" cstate="screen">
            <a:alphaModFix amt="60000"/>
            <a:extLst>
              <a:ext uri="{28A0092B-C50C-407E-A947-70E740481C1C}">
                <a14:useLocalDpi xmlns:a14="http://schemas.microsoft.com/office/drawing/2010/main"/>
              </a:ext>
            </a:extLst>
          </a:blip>
          <a:srcRect l="17816" t="-2272" b="13448"/>
          <a:stretch>
            <a:fillRect/>
          </a:stretch>
        </p:blipFill>
        <p:spPr bwMode="auto">
          <a:xfrm>
            <a:off x="-12700" y="3582988"/>
            <a:ext cx="2917825" cy="3979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189005092"/>
      </p:ext>
    </p:extLst>
  </p:cSld>
  <p:clrMapOvr>
    <a:masterClrMapping/>
  </p:clrMapOvr>
  <mc:AlternateContent xmlns:mc="http://schemas.openxmlformats.org/markup-compatibility/2006" xmlns:p14="http://schemas.microsoft.com/office/powerpoint/2010/main">
    <mc:Choice Requires="p14">
      <p:transition spd="slow" p14:dur="1250">
        <p14:reveal/>
      </p:transition>
    </mc:Choice>
    <mc:Fallback xmlns="">
      <p:transition spd="slow">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Chart multi contents">
    <p:spTree>
      <p:nvGrpSpPr>
        <p:cNvPr id="1" name=""/>
        <p:cNvGrpSpPr/>
        <p:nvPr/>
      </p:nvGrpSpPr>
      <p:grpSpPr>
        <a:xfrm>
          <a:off x="0" y="0"/>
          <a:ext cx="0" cy="0"/>
          <a:chOff x="0" y="0"/>
          <a:chExt cx="0" cy="0"/>
        </a:xfrm>
      </p:grpSpPr>
      <p:pic>
        <p:nvPicPr>
          <p:cNvPr id="11" name="Immagine 4" descr="Immagine che contiene freccia&#10;&#10;Descrizione generata automaticamente">
            <a:extLst>
              <a:ext uri="{FF2B5EF4-FFF2-40B4-BE49-F238E27FC236}">
                <a16:creationId xmlns:a16="http://schemas.microsoft.com/office/drawing/2014/main" id="{D8E14485-B979-A247-9DEA-146D3E0CF637}"/>
              </a:ext>
            </a:extLst>
          </p:cNvPr>
          <p:cNvPicPr>
            <a:picLocks noChangeAspect="1" noChangeArrowheads="1"/>
          </p:cNvPicPr>
          <p:nvPr userDrawn="1"/>
        </p:nvPicPr>
        <p:blipFill>
          <a:blip r:embed="rId2" cstate="screen">
            <a:alphaModFix amt="10000"/>
            <a:extLst>
              <a:ext uri="{28A0092B-C50C-407E-A947-70E740481C1C}">
                <a14:useLocalDpi xmlns:a14="http://schemas.microsoft.com/office/drawing/2010/main"/>
              </a:ext>
            </a:extLst>
          </a:blip>
          <a:srcRect t="-5206" r="-22588"/>
          <a:stretch>
            <a:fillRect/>
          </a:stretch>
        </p:blipFill>
        <p:spPr bwMode="auto">
          <a:xfrm>
            <a:off x="8344" y="3582988"/>
            <a:ext cx="3551238" cy="3275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Immagine 1">
            <a:extLst>
              <a:ext uri="{FF2B5EF4-FFF2-40B4-BE49-F238E27FC236}">
                <a16:creationId xmlns:a16="http://schemas.microsoft.com/office/drawing/2014/main" id="{BAC01275-D208-FA40-BFFB-CDFAE06FCC7C}"/>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5030788" y="6488113"/>
            <a:ext cx="213042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Immagine 2">
            <a:extLst>
              <a:ext uri="{FF2B5EF4-FFF2-40B4-BE49-F238E27FC236}">
                <a16:creationId xmlns:a16="http://schemas.microsoft.com/office/drawing/2014/main" id="{D07A18DD-24B7-3540-935C-1C71CC6B3344}"/>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10477500" y="265113"/>
            <a:ext cx="1352550" cy="506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Segnaposto numero diapositiva 5">
            <a:extLst>
              <a:ext uri="{FF2B5EF4-FFF2-40B4-BE49-F238E27FC236}">
                <a16:creationId xmlns:a16="http://schemas.microsoft.com/office/drawing/2014/main" id="{8953AC5F-B5AC-8448-962D-952F5C29A972}"/>
              </a:ext>
            </a:extLst>
          </p:cNvPr>
          <p:cNvSpPr txBox="1">
            <a:spLocks/>
          </p:cNvSpPr>
          <p:nvPr/>
        </p:nvSpPr>
        <p:spPr>
          <a:xfrm>
            <a:off x="9145588" y="6356350"/>
            <a:ext cx="2743200" cy="365125"/>
          </a:xfrm>
          <a:prstGeom prst="rect">
            <a:avLst/>
          </a:prstGeom>
        </p:spPr>
        <p:txBody>
          <a:bodyPr anchor="ctr"/>
          <a:lstStyle>
            <a:defPPr>
              <a:defRPr lang="it-IT"/>
            </a:defPPr>
            <a:lvl1pPr marL="0" algn="r" defTabSz="914400" rtl="0" eaLnBrk="1" latinLnBrk="0" hangingPunct="1">
              <a:defRPr sz="1200" kern="1200">
                <a:solidFill>
                  <a:srgbClr val="0070C0"/>
                </a:solidFill>
                <a:latin typeface="Montserrat" pitchFamily="2"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532A690C-E27A-8549-AE5E-6094FA7FDE65}" type="slidenum">
              <a:rPr lang="it-IT" smtClean="0"/>
              <a:pPr fontAlgn="auto">
                <a:spcBef>
                  <a:spcPts val="0"/>
                </a:spcBef>
                <a:spcAft>
                  <a:spcPts val="0"/>
                </a:spcAft>
                <a:defRPr/>
              </a:pPr>
              <a:t>‹Nr.›</a:t>
            </a:fld>
            <a:endParaRPr lang="it-IT"/>
          </a:p>
        </p:txBody>
      </p:sp>
      <p:sp>
        <p:nvSpPr>
          <p:cNvPr id="26" name="Content Placeholder 5"/>
          <p:cNvSpPr>
            <a:spLocks noGrp="1"/>
          </p:cNvSpPr>
          <p:nvPr>
            <p:ph sz="quarter" idx="10"/>
          </p:nvPr>
        </p:nvSpPr>
        <p:spPr>
          <a:xfrm>
            <a:off x="277290" y="1551008"/>
            <a:ext cx="11552760" cy="4635478"/>
          </a:xfrm>
          <a:prstGeom prst="rect">
            <a:avLst/>
          </a:prstGeom>
        </p:spPr>
        <p:txBody>
          <a:bodyPr/>
          <a:lstStyle>
            <a:lvl1pPr>
              <a:defRPr sz="2000" b="1" i="0">
                <a:solidFill>
                  <a:schemeClr val="tx2"/>
                </a:solidFill>
                <a:latin typeface="Montserrat SemiBold" pitchFamily="2" charset="77"/>
              </a:defRPr>
            </a:lvl1pPr>
            <a:lvl2pPr>
              <a:defRPr sz="1800">
                <a:solidFill>
                  <a:schemeClr val="tx2"/>
                </a:solidFill>
                <a:latin typeface="Montserrat" pitchFamily="2" charset="77"/>
              </a:defRPr>
            </a:lvl2pPr>
            <a:lvl3pPr>
              <a:defRPr sz="1600">
                <a:solidFill>
                  <a:schemeClr val="tx2"/>
                </a:solidFill>
                <a:latin typeface="Montserrat" pitchFamily="2" charset="77"/>
              </a:defRPr>
            </a:lvl3pPr>
            <a:lvl4pPr>
              <a:defRPr>
                <a:latin typeface="Montserrat" pitchFamily="2" charset="77"/>
              </a:defRPr>
            </a:lvl4pPr>
            <a:lvl5pPr>
              <a:defRPr>
                <a:latin typeface="Montserrat" pitchFamily="2" charset="77"/>
              </a:defRPr>
            </a:lvl5pPr>
          </a:lstStyle>
          <a:p>
            <a:pPr lvl="0"/>
            <a:r>
              <a:rPr lang="it-IT"/>
              <a:t>Fare clic per modificare gli stili del testo dello schema</a:t>
            </a:r>
          </a:p>
          <a:p>
            <a:pPr lvl="1"/>
            <a:r>
              <a:rPr lang="it-IT"/>
              <a:t>Secondo livello</a:t>
            </a:r>
          </a:p>
          <a:p>
            <a:pPr lvl="2"/>
            <a:r>
              <a:rPr lang="it-IT"/>
              <a:t>Terzo livello</a:t>
            </a:r>
          </a:p>
        </p:txBody>
      </p:sp>
      <p:sp>
        <p:nvSpPr>
          <p:cNvPr id="13" name="Titolo 1"/>
          <p:cNvSpPr>
            <a:spLocks noGrp="1"/>
          </p:cNvSpPr>
          <p:nvPr>
            <p:ph type="ctrTitle"/>
          </p:nvPr>
        </p:nvSpPr>
        <p:spPr>
          <a:xfrm>
            <a:off x="277290" y="223790"/>
            <a:ext cx="10200210" cy="547735"/>
          </a:xfrm>
          <a:prstGeom prst="rect">
            <a:avLst/>
          </a:prstGeom>
        </p:spPr>
        <p:txBody>
          <a:bodyPr anchor="t" anchorCtr="0">
            <a:noAutofit/>
          </a:bodyPr>
          <a:lstStyle>
            <a:lvl1pPr algn="l">
              <a:defRPr sz="2600" b="1" i="0">
                <a:solidFill>
                  <a:schemeClr val="tx2"/>
                </a:solidFill>
                <a:latin typeface="Montserrat" pitchFamily="2" charset="77"/>
              </a:defRPr>
            </a:lvl1pPr>
          </a:lstStyle>
          <a:p>
            <a:r>
              <a:rPr lang="it-IT"/>
              <a:t>Fare clic per modificare lo stile del titolo dello schema</a:t>
            </a:r>
          </a:p>
        </p:txBody>
      </p:sp>
      <p:pic>
        <p:nvPicPr>
          <p:cNvPr id="10" name="Immagine 4" descr="Immagine che contiene freccia&#10;&#10;Descrizione generata automaticamente">
            <a:extLst>
              <a:ext uri="{FF2B5EF4-FFF2-40B4-BE49-F238E27FC236}">
                <a16:creationId xmlns:a16="http://schemas.microsoft.com/office/drawing/2014/main" id="{82EB41B5-F4AF-634A-8830-EC851DD96DD7}"/>
              </a:ext>
            </a:extLst>
          </p:cNvPr>
          <p:cNvPicPr>
            <a:picLocks noChangeAspect="1" noChangeArrowheads="1"/>
          </p:cNvPicPr>
          <p:nvPr userDrawn="1"/>
        </p:nvPicPr>
        <p:blipFill>
          <a:blip r:embed="rId2" cstate="screen">
            <a:alphaModFix amt="10000"/>
            <a:extLst>
              <a:ext uri="{28A0092B-C50C-407E-A947-70E740481C1C}">
                <a14:useLocalDpi xmlns:a14="http://schemas.microsoft.com/office/drawing/2010/main"/>
              </a:ext>
            </a:extLst>
          </a:blip>
          <a:srcRect t="-5206" r="-22588"/>
          <a:stretch>
            <a:fillRect/>
          </a:stretch>
        </p:blipFill>
        <p:spPr bwMode="auto">
          <a:xfrm>
            <a:off x="0" y="3582988"/>
            <a:ext cx="3551238" cy="3275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Immagine 11">
            <a:extLst>
              <a:ext uri="{FF2B5EF4-FFF2-40B4-BE49-F238E27FC236}">
                <a16:creationId xmlns:a16="http://schemas.microsoft.com/office/drawing/2014/main" id="{BF452ADE-E2E8-B04C-B9EB-0514050728A5}"/>
              </a:ext>
            </a:extLst>
          </p:cNvPr>
          <p:cNvPicPr>
            <a:picLocks/>
          </p:cNvPicPr>
          <p:nvPr userDrawn="1"/>
        </p:nvPicPr>
        <p:blipFill>
          <a:blip r:embed="rId5"/>
          <a:stretch>
            <a:fillRect/>
          </a:stretch>
        </p:blipFill>
        <p:spPr>
          <a:xfrm>
            <a:off x="251890" y="1389889"/>
            <a:ext cx="11940110" cy="108000"/>
          </a:xfrm>
          <a:prstGeom prst="rect">
            <a:avLst/>
          </a:prstGeom>
        </p:spPr>
      </p:pic>
      <p:sp>
        <p:nvSpPr>
          <p:cNvPr id="14" name="Sottotitolo 2">
            <a:extLst>
              <a:ext uri="{FF2B5EF4-FFF2-40B4-BE49-F238E27FC236}">
                <a16:creationId xmlns:a16="http://schemas.microsoft.com/office/drawing/2014/main" id="{43AECB95-A389-CD43-B3C5-9DF70FB0D85D}"/>
              </a:ext>
            </a:extLst>
          </p:cNvPr>
          <p:cNvSpPr>
            <a:spLocks noGrp="1"/>
          </p:cNvSpPr>
          <p:nvPr>
            <p:ph type="subTitle" idx="1"/>
          </p:nvPr>
        </p:nvSpPr>
        <p:spPr>
          <a:xfrm>
            <a:off x="251890" y="824644"/>
            <a:ext cx="11636898" cy="512126"/>
          </a:xfrm>
          <a:prstGeom prst="rect">
            <a:avLst/>
          </a:prstGeom>
        </p:spPr>
        <p:txBody>
          <a:bodyPr>
            <a:normAutofit/>
          </a:bodyPr>
          <a:lstStyle>
            <a:lvl1pPr marL="0" indent="0" algn="l">
              <a:buNone/>
              <a:defRPr sz="2000" b="0" i="0">
                <a:solidFill>
                  <a:schemeClr val="tx2"/>
                </a:solidFill>
                <a:latin typeface="Montserrat Medium" pitchFamily="2"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it-IT"/>
              <a:t>Fare clic per modificare lo stile del sottotitolo dello schema</a:t>
            </a:r>
          </a:p>
        </p:txBody>
      </p:sp>
    </p:spTree>
    <p:extLst>
      <p:ext uri="{BB962C8B-B14F-4D97-AF65-F5344CB8AC3E}">
        <p14:creationId xmlns:p14="http://schemas.microsoft.com/office/powerpoint/2010/main" val="1083680182"/>
      </p:ext>
    </p:extLst>
  </p:cSld>
  <p:clrMapOvr>
    <a:masterClrMapping/>
  </p:clrMapOvr>
  <mc:AlternateContent xmlns:mc="http://schemas.openxmlformats.org/markup-compatibility/2006" xmlns:p14="http://schemas.microsoft.com/office/powerpoint/2010/main">
    <mc:Choice Requires="p14">
      <p:transition spd="slow" p14:dur="1250">
        <p14:reveal/>
      </p:transition>
    </mc:Choice>
    <mc:Fallback xmlns="">
      <p:transition spd="slow">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2_Our Leaders">
    <p:spTree>
      <p:nvGrpSpPr>
        <p:cNvPr id="1" name=""/>
        <p:cNvGrpSpPr/>
        <p:nvPr/>
      </p:nvGrpSpPr>
      <p:grpSpPr>
        <a:xfrm>
          <a:off x="0" y="0"/>
          <a:ext cx="0" cy="0"/>
          <a:chOff x="0" y="0"/>
          <a:chExt cx="0" cy="0"/>
        </a:xfrm>
      </p:grpSpPr>
      <p:pic>
        <p:nvPicPr>
          <p:cNvPr id="17" name="Immagine 4">
            <a:extLst>
              <a:ext uri="{FF2B5EF4-FFF2-40B4-BE49-F238E27FC236}">
                <a16:creationId xmlns:a16="http://schemas.microsoft.com/office/drawing/2014/main" id="{61438ECA-CAE9-E946-8FF2-14042F4EC51C}"/>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0477500" y="265113"/>
            <a:ext cx="1352550" cy="506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Segnaposto numero diapositiva 5">
            <a:extLst>
              <a:ext uri="{FF2B5EF4-FFF2-40B4-BE49-F238E27FC236}">
                <a16:creationId xmlns:a16="http://schemas.microsoft.com/office/drawing/2014/main" id="{80C57BDD-4146-964D-A707-D40AE916D405}"/>
              </a:ext>
            </a:extLst>
          </p:cNvPr>
          <p:cNvSpPr txBox="1">
            <a:spLocks/>
          </p:cNvSpPr>
          <p:nvPr userDrawn="1"/>
        </p:nvSpPr>
        <p:spPr>
          <a:xfrm>
            <a:off x="9145588" y="6356350"/>
            <a:ext cx="2743200" cy="365125"/>
          </a:xfrm>
          <a:prstGeom prst="rect">
            <a:avLst/>
          </a:prstGeom>
        </p:spPr>
        <p:txBody>
          <a:bodyPr anchor="ctr"/>
          <a:lstStyle>
            <a:defPPr>
              <a:defRPr lang="it-IT"/>
            </a:defPPr>
            <a:lvl1pPr marL="0" algn="r" defTabSz="914400" rtl="0" eaLnBrk="1" latinLnBrk="0" hangingPunct="1">
              <a:defRPr sz="1200" kern="1200">
                <a:solidFill>
                  <a:srgbClr val="0070C0"/>
                </a:solidFill>
                <a:latin typeface="Montserrat" pitchFamily="2"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ACC2F8CE-7A66-6E40-9970-A07E8F047879}" type="slidenum">
              <a:rPr lang="it-IT" smtClean="0"/>
              <a:pPr fontAlgn="auto">
                <a:spcBef>
                  <a:spcPts val="0"/>
                </a:spcBef>
                <a:spcAft>
                  <a:spcPts val="0"/>
                </a:spcAft>
                <a:defRPr/>
              </a:pPr>
              <a:t>‹Nr.›</a:t>
            </a:fld>
            <a:endParaRPr lang="it-IT"/>
          </a:p>
        </p:txBody>
      </p:sp>
      <p:pic>
        <p:nvPicPr>
          <p:cNvPr id="19" name="Immagine 4" descr="Immagine che contiene freccia&#10;&#10;Descrizione generata automaticamente">
            <a:extLst>
              <a:ext uri="{FF2B5EF4-FFF2-40B4-BE49-F238E27FC236}">
                <a16:creationId xmlns:a16="http://schemas.microsoft.com/office/drawing/2014/main" id="{1C5EA710-30A2-4932-89A7-505423E03810}"/>
              </a:ext>
            </a:extLst>
          </p:cNvPr>
          <p:cNvPicPr>
            <a:picLocks noChangeAspect="1" noChangeArrowheads="1"/>
          </p:cNvPicPr>
          <p:nvPr userDrawn="1"/>
        </p:nvPicPr>
        <p:blipFill>
          <a:blip r:embed="rId3" cstate="screen">
            <a:alphaModFix amt="10000"/>
            <a:extLst>
              <a:ext uri="{28A0092B-C50C-407E-A947-70E740481C1C}">
                <a14:useLocalDpi xmlns:a14="http://schemas.microsoft.com/office/drawing/2010/main"/>
              </a:ext>
            </a:extLst>
          </a:blip>
          <a:srcRect l="17027" t="-3680" r="-18742" b="29318"/>
          <a:stretch>
            <a:fillRect/>
          </a:stretch>
        </p:blipFill>
        <p:spPr bwMode="auto">
          <a:xfrm>
            <a:off x="-38100" y="3726791"/>
            <a:ext cx="3395306" cy="3131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itolo 1">
            <a:extLst>
              <a:ext uri="{FF2B5EF4-FFF2-40B4-BE49-F238E27FC236}">
                <a16:creationId xmlns:a16="http://schemas.microsoft.com/office/drawing/2014/main" id="{277B4166-2D0F-4979-AA49-CFA2F43C2966}"/>
              </a:ext>
            </a:extLst>
          </p:cNvPr>
          <p:cNvSpPr>
            <a:spLocks noGrp="1"/>
          </p:cNvSpPr>
          <p:nvPr>
            <p:ph type="ctrTitle" hasCustomPrompt="1"/>
          </p:nvPr>
        </p:nvSpPr>
        <p:spPr>
          <a:xfrm>
            <a:off x="520377" y="1117526"/>
            <a:ext cx="2837633" cy="456632"/>
          </a:xfrm>
          <a:prstGeom prst="rect">
            <a:avLst/>
          </a:prstGeom>
        </p:spPr>
        <p:txBody>
          <a:bodyPr anchor="t" anchorCtr="0">
            <a:noAutofit/>
          </a:bodyPr>
          <a:lstStyle>
            <a:lvl1pPr algn="l">
              <a:defRPr sz="2400" b="1" i="0">
                <a:solidFill>
                  <a:schemeClr val="accent1"/>
                </a:solidFill>
                <a:latin typeface="Montserrat" pitchFamily="2" charset="77"/>
              </a:defRPr>
            </a:lvl1pPr>
          </a:lstStyle>
          <a:p>
            <a:r>
              <a:rPr lang="it-IT"/>
              <a:t>LOREM IPSUM</a:t>
            </a:r>
          </a:p>
        </p:txBody>
      </p:sp>
      <p:pic>
        <p:nvPicPr>
          <p:cNvPr id="8" name="Image 7">
            <a:extLst>
              <a:ext uri="{FF2B5EF4-FFF2-40B4-BE49-F238E27FC236}">
                <a16:creationId xmlns:a16="http://schemas.microsoft.com/office/drawing/2014/main" id="{1986F485-2F75-4EAC-A695-3D0CFA975072}"/>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22696" y="1521124"/>
            <a:ext cx="11762256" cy="94487"/>
          </a:xfrm>
          <a:prstGeom prst="rect">
            <a:avLst/>
          </a:prstGeom>
        </p:spPr>
      </p:pic>
      <p:sp>
        <p:nvSpPr>
          <p:cNvPr id="9" name="Content Placeholder 4">
            <a:extLst>
              <a:ext uri="{FF2B5EF4-FFF2-40B4-BE49-F238E27FC236}">
                <a16:creationId xmlns:a16="http://schemas.microsoft.com/office/drawing/2014/main" id="{7C76DFB5-B366-4656-B694-176E00B182F5}"/>
              </a:ext>
            </a:extLst>
          </p:cNvPr>
          <p:cNvSpPr>
            <a:spLocks noGrp="1"/>
          </p:cNvSpPr>
          <p:nvPr>
            <p:ph sz="quarter" idx="14"/>
          </p:nvPr>
        </p:nvSpPr>
        <p:spPr>
          <a:xfrm>
            <a:off x="520700" y="1846957"/>
            <a:ext cx="5575300" cy="426174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4">
            <a:extLst>
              <a:ext uri="{FF2B5EF4-FFF2-40B4-BE49-F238E27FC236}">
                <a16:creationId xmlns:a16="http://schemas.microsoft.com/office/drawing/2014/main" id="{7EE48642-4269-440E-9510-3B2C835294C1}"/>
              </a:ext>
            </a:extLst>
          </p:cNvPr>
          <p:cNvSpPr>
            <a:spLocks noGrp="1"/>
          </p:cNvSpPr>
          <p:nvPr>
            <p:ph sz="quarter" idx="15"/>
          </p:nvPr>
        </p:nvSpPr>
        <p:spPr>
          <a:xfrm>
            <a:off x="6248400" y="1838549"/>
            <a:ext cx="5575300" cy="426174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1375900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Blue &amp; Green &amp; Grey Dedalus Line Title">
    <p:spTree>
      <p:nvGrpSpPr>
        <p:cNvPr id="1" name=""/>
        <p:cNvGrpSpPr/>
        <p:nvPr/>
      </p:nvGrpSpPr>
      <p:grpSpPr>
        <a:xfrm>
          <a:off x="0" y="0"/>
          <a:ext cx="0" cy="0"/>
          <a:chOff x="0" y="0"/>
          <a:chExt cx="0" cy="0"/>
        </a:xfrm>
      </p:grpSpPr>
      <p:pic>
        <p:nvPicPr>
          <p:cNvPr id="11" name="Immagine 4" descr="Immagine che contiene freccia&#10;&#10;Descrizione generata automaticamente">
            <a:extLst>
              <a:ext uri="{FF2B5EF4-FFF2-40B4-BE49-F238E27FC236}">
                <a16:creationId xmlns:a16="http://schemas.microsoft.com/office/drawing/2014/main" id="{81096492-22C5-9D4D-A8CE-705CE1C90F8E}"/>
              </a:ext>
            </a:extLst>
          </p:cNvPr>
          <p:cNvPicPr>
            <a:picLocks noChangeAspect="1" noChangeArrowheads="1"/>
          </p:cNvPicPr>
          <p:nvPr userDrawn="1"/>
        </p:nvPicPr>
        <p:blipFill>
          <a:blip r:embed="rId2" cstate="screen">
            <a:alphaModFix amt="10000"/>
            <a:extLst>
              <a:ext uri="{28A0092B-C50C-407E-A947-70E740481C1C}">
                <a14:useLocalDpi xmlns:a14="http://schemas.microsoft.com/office/drawing/2010/main"/>
              </a:ext>
            </a:extLst>
          </a:blip>
          <a:srcRect l="17027" t="-3680" r="-18742" b="29318"/>
          <a:stretch>
            <a:fillRect/>
          </a:stretch>
        </p:blipFill>
        <p:spPr bwMode="auto">
          <a:xfrm>
            <a:off x="0" y="3726791"/>
            <a:ext cx="3395306" cy="3131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Titolo 1">
            <a:extLst>
              <a:ext uri="{FF2B5EF4-FFF2-40B4-BE49-F238E27FC236}">
                <a16:creationId xmlns:a16="http://schemas.microsoft.com/office/drawing/2014/main" id="{522D240A-DF7C-EB47-8D64-27C67A4069EC}"/>
              </a:ext>
            </a:extLst>
          </p:cNvPr>
          <p:cNvSpPr>
            <a:spLocks noGrp="1"/>
          </p:cNvSpPr>
          <p:nvPr>
            <p:ph type="ctrTitle" hasCustomPrompt="1"/>
          </p:nvPr>
        </p:nvSpPr>
        <p:spPr>
          <a:xfrm>
            <a:off x="520377" y="1117526"/>
            <a:ext cx="2837633" cy="456632"/>
          </a:xfrm>
          <a:prstGeom prst="rect">
            <a:avLst/>
          </a:prstGeom>
        </p:spPr>
        <p:txBody>
          <a:bodyPr anchor="t" anchorCtr="0">
            <a:noAutofit/>
          </a:bodyPr>
          <a:lstStyle>
            <a:lvl1pPr algn="l">
              <a:defRPr sz="2400" b="1" i="0">
                <a:solidFill>
                  <a:schemeClr val="accent1"/>
                </a:solidFill>
                <a:latin typeface="Montserrat" pitchFamily="2" charset="77"/>
              </a:defRPr>
            </a:lvl1pPr>
          </a:lstStyle>
          <a:p>
            <a:r>
              <a:rPr lang="it-IT"/>
              <a:t>LOREM IPSUM</a:t>
            </a:r>
          </a:p>
        </p:txBody>
      </p:sp>
      <p:pic>
        <p:nvPicPr>
          <p:cNvPr id="17" name="Immagine 4">
            <a:extLst>
              <a:ext uri="{FF2B5EF4-FFF2-40B4-BE49-F238E27FC236}">
                <a16:creationId xmlns:a16="http://schemas.microsoft.com/office/drawing/2014/main" id="{61438ECA-CAE9-E946-8FF2-14042F4EC51C}"/>
              </a:ext>
            </a:extLst>
          </p:cNvPr>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10477500" y="265113"/>
            <a:ext cx="1352550" cy="506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Segnaposto numero diapositiva 5">
            <a:extLst>
              <a:ext uri="{FF2B5EF4-FFF2-40B4-BE49-F238E27FC236}">
                <a16:creationId xmlns:a16="http://schemas.microsoft.com/office/drawing/2014/main" id="{80C57BDD-4146-964D-A707-D40AE916D405}"/>
              </a:ext>
            </a:extLst>
          </p:cNvPr>
          <p:cNvSpPr txBox="1">
            <a:spLocks/>
          </p:cNvSpPr>
          <p:nvPr userDrawn="1"/>
        </p:nvSpPr>
        <p:spPr>
          <a:xfrm>
            <a:off x="9145588" y="6356350"/>
            <a:ext cx="2743200" cy="365125"/>
          </a:xfrm>
          <a:prstGeom prst="rect">
            <a:avLst/>
          </a:prstGeom>
        </p:spPr>
        <p:txBody>
          <a:bodyPr anchor="ctr"/>
          <a:lstStyle>
            <a:defPPr>
              <a:defRPr lang="it-IT"/>
            </a:defPPr>
            <a:lvl1pPr marL="0" algn="r" defTabSz="914400" rtl="0" eaLnBrk="1" latinLnBrk="0" hangingPunct="1">
              <a:defRPr sz="1200" kern="1200">
                <a:solidFill>
                  <a:srgbClr val="0070C0"/>
                </a:solidFill>
                <a:latin typeface="Montserrat" pitchFamily="2"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ACC2F8CE-7A66-6E40-9970-A07E8F047879}" type="slidenum">
              <a:rPr lang="it-IT" smtClean="0"/>
              <a:pPr fontAlgn="auto">
                <a:spcBef>
                  <a:spcPts val="0"/>
                </a:spcBef>
                <a:spcAft>
                  <a:spcPts val="0"/>
                </a:spcAft>
                <a:defRPr/>
              </a:pPr>
              <a:t>‹Nr.›</a:t>
            </a:fld>
            <a:endParaRPr lang="it-IT"/>
          </a:p>
        </p:txBody>
      </p:sp>
      <p:pic>
        <p:nvPicPr>
          <p:cNvPr id="7" name="Image 6">
            <a:extLst>
              <a:ext uri="{FF2B5EF4-FFF2-40B4-BE49-F238E27FC236}">
                <a16:creationId xmlns:a16="http://schemas.microsoft.com/office/drawing/2014/main" id="{0DA081DB-F7F1-4F87-B74D-81ED0E796EB8}"/>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22696" y="1521124"/>
            <a:ext cx="11762256" cy="94487"/>
          </a:xfrm>
          <a:prstGeom prst="rect">
            <a:avLst/>
          </a:prstGeom>
        </p:spPr>
      </p:pic>
      <p:sp>
        <p:nvSpPr>
          <p:cNvPr id="12" name="Content Placeholder 4">
            <a:extLst>
              <a:ext uri="{FF2B5EF4-FFF2-40B4-BE49-F238E27FC236}">
                <a16:creationId xmlns:a16="http://schemas.microsoft.com/office/drawing/2014/main" id="{382282EA-4C45-4A4D-AD4D-831DE0FCAF23}"/>
              </a:ext>
            </a:extLst>
          </p:cNvPr>
          <p:cNvSpPr>
            <a:spLocks noGrp="1"/>
          </p:cNvSpPr>
          <p:nvPr>
            <p:ph sz="quarter" idx="14"/>
          </p:nvPr>
        </p:nvSpPr>
        <p:spPr>
          <a:xfrm>
            <a:off x="520700" y="4064000"/>
            <a:ext cx="5435600" cy="1733550"/>
          </a:xfrm>
          <a:prstGeom prst="rect">
            <a:avLst/>
          </a:prstGeom>
        </p:spPr>
        <p:txBody>
          <a:bodyPr/>
          <a:lstStyle/>
          <a:p>
            <a:pPr lvl="0"/>
            <a:r>
              <a:rPr lang="en-US"/>
              <a:t>Click to edit Master text styles</a:t>
            </a:r>
          </a:p>
        </p:txBody>
      </p:sp>
      <p:sp>
        <p:nvSpPr>
          <p:cNvPr id="19" name="Content Placeholder 4">
            <a:extLst>
              <a:ext uri="{FF2B5EF4-FFF2-40B4-BE49-F238E27FC236}">
                <a16:creationId xmlns:a16="http://schemas.microsoft.com/office/drawing/2014/main" id="{F1285EB7-AE35-4DD4-8302-80BBD08D1B31}"/>
              </a:ext>
            </a:extLst>
          </p:cNvPr>
          <p:cNvSpPr>
            <a:spLocks noGrp="1"/>
          </p:cNvSpPr>
          <p:nvPr>
            <p:ph sz="quarter" idx="15"/>
          </p:nvPr>
        </p:nvSpPr>
        <p:spPr>
          <a:xfrm>
            <a:off x="6350785" y="4064000"/>
            <a:ext cx="5435600" cy="1733550"/>
          </a:xfrm>
          <a:prstGeom prst="rect">
            <a:avLst/>
          </a:prstGeom>
        </p:spPr>
        <p:txBody>
          <a:bodyPr/>
          <a:lstStyle/>
          <a:p>
            <a:pPr lvl="0"/>
            <a:r>
              <a:rPr lang="en-US"/>
              <a:t>Click to edit Master text styles</a:t>
            </a:r>
          </a:p>
        </p:txBody>
      </p:sp>
      <p:sp>
        <p:nvSpPr>
          <p:cNvPr id="21" name="Content Placeholder 4">
            <a:extLst>
              <a:ext uri="{FF2B5EF4-FFF2-40B4-BE49-F238E27FC236}">
                <a16:creationId xmlns:a16="http://schemas.microsoft.com/office/drawing/2014/main" id="{0F523A36-C079-4EF1-AC9E-3775E95AC54E}"/>
              </a:ext>
            </a:extLst>
          </p:cNvPr>
          <p:cNvSpPr>
            <a:spLocks noGrp="1"/>
          </p:cNvSpPr>
          <p:nvPr>
            <p:ph sz="quarter" idx="16"/>
          </p:nvPr>
        </p:nvSpPr>
        <p:spPr>
          <a:xfrm>
            <a:off x="520377" y="1905800"/>
            <a:ext cx="5435600" cy="1733550"/>
          </a:xfrm>
          <a:prstGeom prst="rect">
            <a:avLst/>
          </a:prstGeom>
        </p:spPr>
        <p:txBody>
          <a:bodyPr/>
          <a:lstStyle/>
          <a:p>
            <a:pPr lvl="0"/>
            <a:r>
              <a:rPr lang="en-US"/>
              <a:t>Click to edit Master text styles</a:t>
            </a:r>
          </a:p>
        </p:txBody>
      </p:sp>
      <p:sp>
        <p:nvSpPr>
          <p:cNvPr id="22" name="Content Placeholder 4">
            <a:extLst>
              <a:ext uri="{FF2B5EF4-FFF2-40B4-BE49-F238E27FC236}">
                <a16:creationId xmlns:a16="http://schemas.microsoft.com/office/drawing/2014/main" id="{2240AA29-F042-4701-A0D7-72D500C5B09D}"/>
              </a:ext>
            </a:extLst>
          </p:cNvPr>
          <p:cNvSpPr>
            <a:spLocks noGrp="1"/>
          </p:cNvSpPr>
          <p:nvPr>
            <p:ph sz="quarter" idx="17"/>
          </p:nvPr>
        </p:nvSpPr>
        <p:spPr>
          <a:xfrm>
            <a:off x="6350785" y="1905800"/>
            <a:ext cx="5435600" cy="1733550"/>
          </a:xfrm>
          <a:prstGeom prst="rect">
            <a:avLst/>
          </a:prstGeom>
        </p:spPr>
        <p:txBody>
          <a:bodyPr/>
          <a:lstStyle/>
          <a:p>
            <a:pPr lvl="0"/>
            <a:r>
              <a:rPr lang="en-US"/>
              <a:t>Click to edit Master text styles</a:t>
            </a:r>
          </a:p>
        </p:txBody>
      </p:sp>
    </p:spTree>
    <p:extLst>
      <p:ext uri="{BB962C8B-B14F-4D97-AF65-F5344CB8AC3E}">
        <p14:creationId xmlns:p14="http://schemas.microsoft.com/office/powerpoint/2010/main" val="338975561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0_Our Leaders">
    <p:spTree>
      <p:nvGrpSpPr>
        <p:cNvPr id="1" name=""/>
        <p:cNvGrpSpPr/>
        <p:nvPr/>
      </p:nvGrpSpPr>
      <p:grpSpPr>
        <a:xfrm>
          <a:off x="0" y="0"/>
          <a:ext cx="0" cy="0"/>
          <a:chOff x="0" y="0"/>
          <a:chExt cx="0" cy="0"/>
        </a:xfrm>
      </p:grpSpPr>
      <p:pic>
        <p:nvPicPr>
          <p:cNvPr id="17" name="Immagine 4">
            <a:extLst>
              <a:ext uri="{FF2B5EF4-FFF2-40B4-BE49-F238E27FC236}">
                <a16:creationId xmlns:a16="http://schemas.microsoft.com/office/drawing/2014/main" id="{61438ECA-CAE9-E946-8FF2-14042F4EC51C}"/>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0477500" y="265113"/>
            <a:ext cx="1352550" cy="506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Segnaposto numero diapositiva 5">
            <a:extLst>
              <a:ext uri="{FF2B5EF4-FFF2-40B4-BE49-F238E27FC236}">
                <a16:creationId xmlns:a16="http://schemas.microsoft.com/office/drawing/2014/main" id="{80C57BDD-4146-964D-A707-D40AE916D405}"/>
              </a:ext>
            </a:extLst>
          </p:cNvPr>
          <p:cNvSpPr txBox="1">
            <a:spLocks/>
          </p:cNvSpPr>
          <p:nvPr userDrawn="1"/>
        </p:nvSpPr>
        <p:spPr>
          <a:xfrm>
            <a:off x="9145588" y="6356350"/>
            <a:ext cx="2743200" cy="365125"/>
          </a:xfrm>
          <a:prstGeom prst="rect">
            <a:avLst/>
          </a:prstGeom>
        </p:spPr>
        <p:txBody>
          <a:bodyPr anchor="ctr"/>
          <a:lstStyle>
            <a:defPPr>
              <a:defRPr lang="it-IT"/>
            </a:defPPr>
            <a:lvl1pPr marL="0" algn="r" defTabSz="914400" rtl="0" eaLnBrk="1" latinLnBrk="0" hangingPunct="1">
              <a:defRPr sz="1200" kern="1200">
                <a:solidFill>
                  <a:srgbClr val="0070C0"/>
                </a:solidFill>
                <a:latin typeface="Montserrat" pitchFamily="2"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ACC2F8CE-7A66-6E40-9970-A07E8F047879}" type="slidenum">
              <a:rPr lang="it-IT" smtClean="0"/>
              <a:pPr fontAlgn="auto">
                <a:spcBef>
                  <a:spcPts val="0"/>
                </a:spcBef>
                <a:spcAft>
                  <a:spcPts val="0"/>
                </a:spcAft>
                <a:defRPr/>
              </a:pPr>
              <a:t>‹Nr.›</a:t>
            </a:fld>
            <a:endParaRPr lang="it-IT"/>
          </a:p>
        </p:txBody>
      </p:sp>
      <p:pic>
        <p:nvPicPr>
          <p:cNvPr id="19" name="Immagine 4" descr="Immagine che contiene freccia&#10;&#10;Descrizione generata automaticamente">
            <a:extLst>
              <a:ext uri="{FF2B5EF4-FFF2-40B4-BE49-F238E27FC236}">
                <a16:creationId xmlns:a16="http://schemas.microsoft.com/office/drawing/2014/main" id="{1C5EA710-30A2-4932-89A7-505423E03810}"/>
              </a:ext>
            </a:extLst>
          </p:cNvPr>
          <p:cNvPicPr>
            <a:picLocks noChangeAspect="1" noChangeArrowheads="1"/>
          </p:cNvPicPr>
          <p:nvPr userDrawn="1"/>
        </p:nvPicPr>
        <p:blipFill>
          <a:blip r:embed="rId3" cstate="screen">
            <a:alphaModFix amt="10000"/>
            <a:extLst>
              <a:ext uri="{28A0092B-C50C-407E-A947-70E740481C1C}">
                <a14:useLocalDpi xmlns:a14="http://schemas.microsoft.com/office/drawing/2010/main"/>
              </a:ext>
            </a:extLst>
          </a:blip>
          <a:srcRect l="17027" t="-3680" r="-18742" b="29318"/>
          <a:stretch>
            <a:fillRect/>
          </a:stretch>
        </p:blipFill>
        <p:spPr bwMode="auto">
          <a:xfrm>
            <a:off x="-38100" y="3726791"/>
            <a:ext cx="3395306" cy="3131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itolo 1">
            <a:extLst>
              <a:ext uri="{FF2B5EF4-FFF2-40B4-BE49-F238E27FC236}">
                <a16:creationId xmlns:a16="http://schemas.microsoft.com/office/drawing/2014/main" id="{277B4166-2D0F-4979-AA49-CFA2F43C2966}"/>
              </a:ext>
            </a:extLst>
          </p:cNvPr>
          <p:cNvSpPr>
            <a:spLocks noGrp="1"/>
          </p:cNvSpPr>
          <p:nvPr>
            <p:ph type="ctrTitle" hasCustomPrompt="1"/>
          </p:nvPr>
        </p:nvSpPr>
        <p:spPr>
          <a:xfrm>
            <a:off x="520377" y="1117526"/>
            <a:ext cx="2837633" cy="456632"/>
          </a:xfrm>
          <a:prstGeom prst="rect">
            <a:avLst/>
          </a:prstGeom>
        </p:spPr>
        <p:txBody>
          <a:bodyPr anchor="t" anchorCtr="0">
            <a:noAutofit/>
          </a:bodyPr>
          <a:lstStyle>
            <a:lvl1pPr algn="l">
              <a:defRPr sz="2400" b="1" i="0">
                <a:solidFill>
                  <a:schemeClr val="accent1"/>
                </a:solidFill>
                <a:latin typeface="Montserrat" pitchFamily="2" charset="77"/>
              </a:defRPr>
            </a:lvl1pPr>
          </a:lstStyle>
          <a:p>
            <a:r>
              <a:rPr lang="it-IT"/>
              <a:t>LOREM IPSUM</a:t>
            </a:r>
          </a:p>
        </p:txBody>
      </p:sp>
      <p:pic>
        <p:nvPicPr>
          <p:cNvPr id="8" name="Image 7">
            <a:extLst>
              <a:ext uri="{FF2B5EF4-FFF2-40B4-BE49-F238E27FC236}">
                <a16:creationId xmlns:a16="http://schemas.microsoft.com/office/drawing/2014/main" id="{1986F485-2F75-4EAC-A695-3D0CFA975072}"/>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22696" y="1521124"/>
            <a:ext cx="11762256" cy="94487"/>
          </a:xfrm>
          <a:prstGeom prst="rect">
            <a:avLst/>
          </a:prstGeom>
        </p:spPr>
      </p:pic>
      <p:sp>
        <p:nvSpPr>
          <p:cNvPr id="9" name="Content Placeholder 5">
            <a:extLst>
              <a:ext uri="{FF2B5EF4-FFF2-40B4-BE49-F238E27FC236}">
                <a16:creationId xmlns:a16="http://schemas.microsoft.com/office/drawing/2014/main" id="{2F1A80D3-BEC1-44A8-970B-59550AF4D3FC}"/>
              </a:ext>
            </a:extLst>
          </p:cNvPr>
          <p:cNvSpPr>
            <a:spLocks noGrp="1"/>
          </p:cNvSpPr>
          <p:nvPr>
            <p:ph sz="quarter" idx="10"/>
          </p:nvPr>
        </p:nvSpPr>
        <p:spPr>
          <a:xfrm>
            <a:off x="520700" y="1981200"/>
            <a:ext cx="10560050" cy="430419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9367127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rt graph + text">
    <p:spTree>
      <p:nvGrpSpPr>
        <p:cNvPr id="1" name=""/>
        <p:cNvGrpSpPr/>
        <p:nvPr/>
      </p:nvGrpSpPr>
      <p:grpSpPr>
        <a:xfrm>
          <a:off x="0" y="0"/>
          <a:ext cx="0" cy="0"/>
          <a:chOff x="0" y="0"/>
          <a:chExt cx="0" cy="0"/>
        </a:xfrm>
      </p:grpSpPr>
      <p:pic>
        <p:nvPicPr>
          <p:cNvPr id="11" name="Immagine 4" descr="Immagine che contiene freccia&#10;&#10;Descrizione generata automaticamente">
            <a:extLst>
              <a:ext uri="{FF2B5EF4-FFF2-40B4-BE49-F238E27FC236}">
                <a16:creationId xmlns:a16="http://schemas.microsoft.com/office/drawing/2014/main" id="{D8E14485-B979-A247-9DEA-146D3E0CF637}"/>
              </a:ext>
            </a:extLst>
          </p:cNvPr>
          <p:cNvPicPr>
            <a:picLocks noChangeAspect="1" noChangeArrowheads="1"/>
          </p:cNvPicPr>
          <p:nvPr userDrawn="1"/>
        </p:nvPicPr>
        <p:blipFill>
          <a:blip r:embed="rId2" cstate="screen">
            <a:alphaModFix amt="10000"/>
            <a:extLst>
              <a:ext uri="{28A0092B-C50C-407E-A947-70E740481C1C}">
                <a14:useLocalDpi xmlns:a14="http://schemas.microsoft.com/office/drawing/2010/main"/>
              </a:ext>
            </a:extLst>
          </a:blip>
          <a:srcRect t="-5206" r="-22588"/>
          <a:stretch>
            <a:fillRect/>
          </a:stretch>
        </p:blipFill>
        <p:spPr bwMode="auto">
          <a:xfrm>
            <a:off x="8344" y="3582988"/>
            <a:ext cx="3551238" cy="3275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Immagine 1">
            <a:extLst>
              <a:ext uri="{FF2B5EF4-FFF2-40B4-BE49-F238E27FC236}">
                <a16:creationId xmlns:a16="http://schemas.microsoft.com/office/drawing/2014/main" id="{BAC01275-D208-FA40-BFFB-CDFAE06FCC7C}"/>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5030788" y="6488113"/>
            <a:ext cx="213042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Immagine 2">
            <a:extLst>
              <a:ext uri="{FF2B5EF4-FFF2-40B4-BE49-F238E27FC236}">
                <a16:creationId xmlns:a16="http://schemas.microsoft.com/office/drawing/2014/main" id="{D07A18DD-24B7-3540-935C-1C71CC6B3344}"/>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10477500" y="265113"/>
            <a:ext cx="1352550" cy="506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Segnaposto numero diapositiva 5">
            <a:extLst>
              <a:ext uri="{FF2B5EF4-FFF2-40B4-BE49-F238E27FC236}">
                <a16:creationId xmlns:a16="http://schemas.microsoft.com/office/drawing/2014/main" id="{8953AC5F-B5AC-8448-962D-952F5C29A972}"/>
              </a:ext>
            </a:extLst>
          </p:cNvPr>
          <p:cNvSpPr txBox="1">
            <a:spLocks/>
          </p:cNvSpPr>
          <p:nvPr/>
        </p:nvSpPr>
        <p:spPr>
          <a:xfrm>
            <a:off x="9145588" y="6356350"/>
            <a:ext cx="2743200" cy="365125"/>
          </a:xfrm>
          <a:prstGeom prst="rect">
            <a:avLst/>
          </a:prstGeom>
        </p:spPr>
        <p:txBody>
          <a:bodyPr anchor="ctr"/>
          <a:lstStyle>
            <a:defPPr>
              <a:defRPr lang="it-IT"/>
            </a:defPPr>
            <a:lvl1pPr marL="0" algn="r" defTabSz="914400" rtl="0" eaLnBrk="1" latinLnBrk="0" hangingPunct="1">
              <a:defRPr sz="1200" kern="1200">
                <a:solidFill>
                  <a:srgbClr val="0070C0"/>
                </a:solidFill>
                <a:latin typeface="Montserrat" pitchFamily="2"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532A690C-E27A-8549-AE5E-6094FA7FDE65}" type="slidenum">
              <a:rPr lang="it-IT" smtClean="0"/>
              <a:pPr fontAlgn="auto">
                <a:spcBef>
                  <a:spcPts val="0"/>
                </a:spcBef>
                <a:spcAft>
                  <a:spcPts val="0"/>
                </a:spcAft>
                <a:defRPr/>
              </a:pPr>
              <a:t>‹Nr.›</a:t>
            </a:fld>
            <a:endParaRPr lang="it-IT"/>
          </a:p>
        </p:txBody>
      </p:sp>
      <p:sp>
        <p:nvSpPr>
          <p:cNvPr id="13" name="Titolo 1"/>
          <p:cNvSpPr>
            <a:spLocks noGrp="1"/>
          </p:cNvSpPr>
          <p:nvPr>
            <p:ph type="ctrTitle" hasCustomPrompt="1"/>
          </p:nvPr>
        </p:nvSpPr>
        <p:spPr>
          <a:xfrm>
            <a:off x="277290" y="223790"/>
            <a:ext cx="10200210" cy="547735"/>
          </a:xfrm>
          <a:prstGeom prst="rect">
            <a:avLst/>
          </a:prstGeom>
        </p:spPr>
        <p:txBody>
          <a:bodyPr anchor="t" anchorCtr="0">
            <a:noAutofit/>
          </a:bodyPr>
          <a:lstStyle>
            <a:lvl1pPr algn="l">
              <a:defRPr sz="2600" b="1" i="0">
                <a:solidFill>
                  <a:schemeClr val="tx2"/>
                </a:solidFill>
                <a:latin typeface="Montserrat" pitchFamily="2" charset="77"/>
              </a:defRPr>
            </a:lvl1pPr>
          </a:lstStyle>
          <a:p>
            <a:r>
              <a:rPr lang="it-IT" err="1"/>
              <a:t>Appendix</a:t>
            </a:r>
            <a:endParaRPr lang="it-IT"/>
          </a:p>
        </p:txBody>
      </p:sp>
      <p:pic>
        <p:nvPicPr>
          <p:cNvPr id="10" name="Immagine 4" descr="Immagine che contiene freccia&#10;&#10;Descrizione generata automaticamente">
            <a:extLst>
              <a:ext uri="{FF2B5EF4-FFF2-40B4-BE49-F238E27FC236}">
                <a16:creationId xmlns:a16="http://schemas.microsoft.com/office/drawing/2014/main" id="{82EB41B5-F4AF-634A-8830-EC851DD96DD7}"/>
              </a:ext>
            </a:extLst>
          </p:cNvPr>
          <p:cNvPicPr>
            <a:picLocks noChangeAspect="1" noChangeArrowheads="1"/>
          </p:cNvPicPr>
          <p:nvPr userDrawn="1"/>
        </p:nvPicPr>
        <p:blipFill>
          <a:blip r:embed="rId2" cstate="screen">
            <a:alphaModFix amt="10000"/>
            <a:extLst>
              <a:ext uri="{28A0092B-C50C-407E-A947-70E740481C1C}">
                <a14:useLocalDpi xmlns:a14="http://schemas.microsoft.com/office/drawing/2010/main"/>
              </a:ext>
            </a:extLst>
          </a:blip>
          <a:srcRect t="-5206" r="-22588"/>
          <a:stretch>
            <a:fillRect/>
          </a:stretch>
        </p:blipFill>
        <p:spPr bwMode="auto">
          <a:xfrm>
            <a:off x="0" y="3582988"/>
            <a:ext cx="3551238" cy="3275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5">
            <a:extLst>
              <a:ext uri="{FF2B5EF4-FFF2-40B4-BE49-F238E27FC236}">
                <a16:creationId xmlns:a16="http://schemas.microsoft.com/office/drawing/2014/main" id="{9DBFBFC3-38DB-4A4A-A792-B70348E552B8}"/>
              </a:ext>
            </a:extLst>
          </p:cNvPr>
          <p:cNvSpPr>
            <a:spLocks noGrp="1"/>
          </p:cNvSpPr>
          <p:nvPr>
            <p:ph sz="quarter" idx="10"/>
          </p:nvPr>
        </p:nvSpPr>
        <p:spPr>
          <a:xfrm>
            <a:off x="277290" y="1551008"/>
            <a:ext cx="11552760" cy="4635478"/>
          </a:xfrm>
          <a:prstGeom prst="rect">
            <a:avLst/>
          </a:prstGeom>
        </p:spPr>
        <p:txBody>
          <a:bodyPr/>
          <a:lstStyle>
            <a:lvl1pPr>
              <a:defRPr sz="2000" b="1" i="0">
                <a:solidFill>
                  <a:schemeClr val="tx2"/>
                </a:solidFill>
                <a:latin typeface="Montserrat SemiBold" pitchFamily="2" charset="77"/>
              </a:defRPr>
            </a:lvl1pPr>
            <a:lvl2pPr>
              <a:defRPr sz="1800">
                <a:solidFill>
                  <a:schemeClr val="tx2"/>
                </a:solidFill>
                <a:latin typeface="Montserrat" pitchFamily="2" charset="77"/>
              </a:defRPr>
            </a:lvl2pPr>
            <a:lvl3pPr>
              <a:defRPr sz="1600">
                <a:solidFill>
                  <a:schemeClr val="tx2"/>
                </a:solidFill>
                <a:latin typeface="Montserrat" pitchFamily="2" charset="77"/>
              </a:defRPr>
            </a:lvl3pPr>
            <a:lvl4pPr>
              <a:defRPr>
                <a:latin typeface="Montserrat" pitchFamily="2" charset="77"/>
              </a:defRPr>
            </a:lvl4pPr>
            <a:lvl5pPr>
              <a:defRPr>
                <a:latin typeface="Montserrat" pitchFamily="2" charset="77"/>
              </a:defRPr>
            </a:lvl5pPr>
          </a:lstStyle>
          <a:p>
            <a:pPr lvl="0"/>
            <a:r>
              <a:rPr lang="it-IT"/>
              <a:t>Fare clic per modificare gli stili del testo dello schema</a:t>
            </a:r>
          </a:p>
          <a:p>
            <a:pPr lvl="1"/>
            <a:r>
              <a:rPr lang="it-IT"/>
              <a:t>Secondo livello</a:t>
            </a:r>
          </a:p>
          <a:p>
            <a:pPr lvl="2"/>
            <a:r>
              <a:rPr lang="it-IT"/>
              <a:t>Terzo livello</a:t>
            </a:r>
          </a:p>
        </p:txBody>
      </p:sp>
    </p:spTree>
    <p:extLst>
      <p:ext uri="{BB962C8B-B14F-4D97-AF65-F5344CB8AC3E}">
        <p14:creationId xmlns:p14="http://schemas.microsoft.com/office/powerpoint/2010/main" val="2473667333"/>
      </p:ext>
    </p:extLst>
  </p:cSld>
  <p:clrMapOvr>
    <a:masterClrMapping/>
  </p:clrMapOvr>
  <mc:AlternateContent xmlns:mc="http://schemas.openxmlformats.org/markup-compatibility/2006" xmlns:p14="http://schemas.microsoft.com/office/powerpoint/2010/main">
    <mc:Choice Requires="p14">
      <p:transition spd="slow" p14:dur="1250">
        <p14:reveal/>
      </p:transition>
    </mc:Choice>
    <mc:Fallback xmlns="">
      <p:transition spd="slow">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itle slide White">
    <p:spTree>
      <p:nvGrpSpPr>
        <p:cNvPr id="1" name=""/>
        <p:cNvGrpSpPr/>
        <p:nvPr/>
      </p:nvGrpSpPr>
      <p:grpSpPr>
        <a:xfrm>
          <a:off x="0" y="0"/>
          <a:ext cx="0" cy="0"/>
          <a:chOff x="0" y="0"/>
          <a:chExt cx="0" cy="0"/>
        </a:xfrm>
      </p:grpSpPr>
      <p:pic>
        <p:nvPicPr>
          <p:cNvPr id="17" name="Immagine 4">
            <a:extLst>
              <a:ext uri="{FF2B5EF4-FFF2-40B4-BE49-F238E27FC236}">
                <a16:creationId xmlns:a16="http://schemas.microsoft.com/office/drawing/2014/main" id="{61438ECA-CAE9-E946-8FF2-14042F4EC51C}"/>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p:blipFill>
        <p:spPr bwMode="auto">
          <a:xfrm>
            <a:off x="10477500" y="302656"/>
            <a:ext cx="1352549" cy="431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olo 1">
            <a:extLst>
              <a:ext uri="{FF2B5EF4-FFF2-40B4-BE49-F238E27FC236}">
                <a16:creationId xmlns:a16="http://schemas.microsoft.com/office/drawing/2014/main" id="{9D4A86F5-83AF-4BC1-B9AB-27002FBFB086}"/>
              </a:ext>
            </a:extLst>
          </p:cNvPr>
          <p:cNvSpPr>
            <a:spLocks noGrp="1"/>
          </p:cNvSpPr>
          <p:nvPr>
            <p:ph type="ctrTitle" hasCustomPrompt="1"/>
          </p:nvPr>
        </p:nvSpPr>
        <p:spPr>
          <a:xfrm>
            <a:off x="520377" y="1117526"/>
            <a:ext cx="2837633" cy="456632"/>
          </a:xfrm>
          <a:prstGeom prst="rect">
            <a:avLst/>
          </a:prstGeom>
        </p:spPr>
        <p:txBody>
          <a:bodyPr anchor="t" anchorCtr="0">
            <a:noAutofit/>
          </a:bodyPr>
          <a:lstStyle>
            <a:lvl1pPr algn="l">
              <a:defRPr sz="2400" b="1" i="0">
                <a:solidFill>
                  <a:schemeClr val="accent1"/>
                </a:solidFill>
                <a:latin typeface="Montserrat" pitchFamily="2" charset="77"/>
              </a:defRPr>
            </a:lvl1pPr>
          </a:lstStyle>
          <a:p>
            <a:r>
              <a:rPr lang="it-IT"/>
              <a:t>LOREM IPSUM</a:t>
            </a:r>
          </a:p>
        </p:txBody>
      </p:sp>
      <p:pic>
        <p:nvPicPr>
          <p:cNvPr id="3" name="Image 2">
            <a:extLst>
              <a:ext uri="{FF2B5EF4-FFF2-40B4-BE49-F238E27FC236}">
                <a16:creationId xmlns:a16="http://schemas.microsoft.com/office/drawing/2014/main" id="{3E6E016B-E5E5-417D-A29A-EED4321B0B28}"/>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214872" y="6261862"/>
            <a:ext cx="11762256" cy="94487"/>
          </a:xfrm>
          <a:prstGeom prst="rect">
            <a:avLst/>
          </a:prstGeom>
        </p:spPr>
      </p:pic>
      <p:sp>
        <p:nvSpPr>
          <p:cNvPr id="6" name="Segnaposto numero diapositiva 5">
            <a:extLst>
              <a:ext uri="{FF2B5EF4-FFF2-40B4-BE49-F238E27FC236}">
                <a16:creationId xmlns:a16="http://schemas.microsoft.com/office/drawing/2014/main" id="{D752CA4A-C80D-4B42-A36D-1BCBA82DF709}"/>
              </a:ext>
            </a:extLst>
          </p:cNvPr>
          <p:cNvSpPr txBox="1">
            <a:spLocks/>
          </p:cNvSpPr>
          <p:nvPr userDrawn="1"/>
        </p:nvSpPr>
        <p:spPr>
          <a:xfrm>
            <a:off x="9145588" y="6356350"/>
            <a:ext cx="2743200" cy="365125"/>
          </a:xfrm>
          <a:prstGeom prst="rect">
            <a:avLst/>
          </a:prstGeom>
        </p:spPr>
        <p:txBody>
          <a:bodyPr anchor="ctr"/>
          <a:lstStyle>
            <a:defPPr>
              <a:defRPr lang="it-IT"/>
            </a:defPPr>
            <a:lvl1pPr marL="0" algn="r" defTabSz="914400" rtl="0" eaLnBrk="1" latinLnBrk="0" hangingPunct="1">
              <a:defRPr sz="1200" kern="1200">
                <a:solidFill>
                  <a:srgbClr val="0070C0"/>
                </a:solidFill>
                <a:latin typeface="Montserrat" pitchFamily="2"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ACC2F8CE-7A66-6E40-9970-A07E8F047879}" type="slidenum">
              <a:rPr lang="it-IT" smtClean="0"/>
              <a:pPr fontAlgn="auto">
                <a:spcBef>
                  <a:spcPts val="0"/>
                </a:spcBef>
                <a:spcAft>
                  <a:spcPts val="0"/>
                </a:spcAft>
                <a:defRPr/>
              </a:pPr>
              <a:t>‹Nr.›</a:t>
            </a:fld>
            <a:endParaRPr lang="it-IT"/>
          </a:p>
        </p:txBody>
      </p:sp>
      <p:sp>
        <p:nvSpPr>
          <p:cNvPr id="9" name="Content Placeholder 4">
            <a:extLst>
              <a:ext uri="{FF2B5EF4-FFF2-40B4-BE49-F238E27FC236}">
                <a16:creationId xmlns:a16="http://schemas.microsoft.com/office/drawing/2014/main" id="{741B1244-7464-47A4-B0E5-250625720EFE}"/>
              </a:ext>
            </a:extLst>
          </p:cNvPr>
          <p:cNvSpPr>
            <a:spLocks noGrp="1"/>
          </p:cNvSpPr>
          <p:nvPr>
            <p:ph sz="quarter" idx="13"/>
          </p:nvPr>
        </p:nvSpPr>
        <p:spPr>
          <a:xfrm>
            <a:off x="520700" y="1900762"/>
            <a:ext cx="3571875" cy="41444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4">
            <a:extLst>
              <a:ext uri="{FF2B5EF4-FFF2-40B4-BE49-F238E27FC236}">
                <a16:creationId xmlns:a16="http://schemas.microsoft.com/office/drawing/2014/main" id="{E5A9D0D8-B482-4922-8C73-476B278362FB}"/>
              </a:ext>
            </a:extLst>
          </p:cNvPr>
          <p:cNvSpPr>
            <a:spLocks noGrp="1"/>
          </p:cNvSpPr>
          <p:nvPr>
            <p:ph sz="quarter" idx="14"/>
          </p:nvPr>
        </p:nvSpPr>
        <p:spPr>
          <a:xfrm>
            <a:off x="4310062" y="1900762"/>
            <a:ext cx="3571875" cy="41444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4">
            <a:extLst>
              <a:ext uri="{FF2B5EF4-FFF2-40B4-BE49-F238E27FC236}">
                <a16:creationId xmlns:a16="http://schemas.microsoft.com/office/drawing/2014/main" id="{879DB536-F165-43B4-87BF-62D72069C54E}"/>
              </a:ext>
            </a:extLst>
          </p:cNvPr>
          <p:cNvSpPr>
            <a:spLocks noGrp="1"/>
          </p:cNvSpPr>
          <p:nvPr>
            <p:ph sz="quarter" idx="15"/>
          </p:nvPr>
        </p:nvSpPr>
        <p:spPr>
          <a:xfrm>
            <a:off x="8099424" y="1900762"/>
            <a:ext cx="3571875" cy="41444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0208362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7_Our Leaders">
    <p:spTree>
      <p:nvGrpSpPr>
        <p:cNvPr id="1" name=""/>
        <p:cNvGrpSpPr/>
        <p:nvPr/>
      </p:nvGrpSpPr>
      <p:grpSpPr>
        <a:xfrm>
          <a:off x="0" y="0"/>
          <a:ext cx="0" cy="0"/>
          <a:chOff x="0" y="0"/>
          <a:chExt cx="0" cy="0"/>
        </a:xfrm>
      </p:grpSpPr>
      <p:pic>
        <p:nvPicPr>
          <p:cNvPr id="17" name="Immagine 4">
            <a:extLst>
              <a:ext uri="{FF2B5EF4-FFF2-40B4-BE49-F238E27FC236}">
                <a16:creationId xmlns:a16="http://schemas.microsoft.com/office/drawing/2014/main" id="{61438ECA-CAE9-E946-8FF2-14042F4EC51C}"/>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0477500" y="265113"/>
            <a:ext cx="1352550" cy="506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Segnaposto numero diapositiva 5">
            <a:extLst>
              <a:ext uri="{FF2B5EF4-FFF2-40B4-BE49-F238E27FC236}">
                <a16:creationId xmlns:a16="http://schemas.microsoft.com/office/drawing/2014/main" id="{80C57BDD-4146-964D-A707-D40AE916D405}"/>
              </a:ext>
            </a:extLst>
          </p:cNvPr>
          <p:cNvSpPr txBox="1">
            <a:spLocks/>
          </p:cNvSpPr>
          <p:nvPr userDrawn="1"/>
        </p:nvSpPr>
        <p:spPr>
          <a:xfrm>
            <a:off x="9145588" y="6356350"/>
            <a:ext cx="2743200" cy="365125"/>
          </a:xfrm>
          <a:prstGeom prst="rect">
            <a:avLst/>
          </a:prstGeom>
        </p:spPr>
        <p:txBody>
          <a:bodyPr anchor="ctr"/>
          <a:lstStyle>
            <a:defPPr>
              <a:defRPr lang="it-IT"/>
            </a:defPPr>
            <a:lvl1pPr marL="0" algn="r" defTabSz="914400" rtl="0" eaLnBrk="1" latinLnBrk="0" hangingPunct="1">
              <a:defRPr sz="1200" kern="1200">
                <a:solidFill>
                  <a:srgbClr val="0070C0"/>
                </a:solidFill>
                <a:latin typeface="Montserrat" pitchFamily="2"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ACC2F8CE-7A66-6E40-9970-A07E8F047879}" type="slidenum">
              <a:rPr lang="it-IT" smtClean="0"/>
              <a:pPr fontAlgn="auto">
                <a:spcBef>
                  <a:spcPts val="0"/>
                </a:spcBef>
                <a:spcAft>
                  <a:spcPts val="0"/>
                </a:spcAft>
                <a:defRPr/>
              </a:pPr>
              <a:t>‹Nr.›</a:t>
            </a:fld>
            <a:endParaRPr lang="it-IT"/>
          </a:p>
        </p:txBody>
      </p:sp>
      <p:sp>
        <p:nvSpPr>
          <p:cNvPr id="34" name="Rectangle 33">
            <a:extLst>
              <a:ext uri="{FF2B5EF4-FFF2-40B4-BE49-F238E27FC236}">
                <a16:creationId xmlns:a16="http://schemas.microsoft.com/office/drawing/2014/main" id="{2B1B6290-D020-4D84-9EFE-958B50267DEC}"/>
              </a:ext>
            </a:extLst>
          </p:cNvPr>
          <p:cNvSpPr/>
          <p:nvPr userDrawn="1"/>
        </p:nvSpPr>
        <p:spPr>
          <a:xfrm>
            <a:off x="0" y="1928613"/>
            <a:ext cx="9780105" cy="2886062"/>
          </a:xfrm>
          <a:prstGeom prst="rect">
            <a:avLst/>
          </a:prstGeom>
          <a:solidFill>
            <a:schemeClr val="accent1"/>
          </a:solidFill>
          <a:ln w="12700" cap="flat" cmpd="sng" algn="ctr">
            <a:noFill/>
            <a:prstDash val="solid"/>
            <a:miter lim="800000"/>
          </a:ln>
          <a:effectLst>
            <a:outerShdw blurRad="482600" dist="635000" dir="5400000" sx="92000" sy="92000" algn="t" rotWithShape="0">
              <a:prstClr val="black">
                <a:alpha val="8000"/>
              </a:prstClr>
            </a:outerShdw>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D" sz="1800" b="0" i="0" u="none" strike="noStrike" kern="0" cap="none" spc="0" normalizeH="0" baseline="0" noProof="0">
              <a:ln>
                <a:noFill/>
              </a:ln>
              <a:solidFill>
                <a:srgbClr val="FFFFFF"/>
              </a:solidFill>
              <a:effectLst/>
              <a:uLnTx/>
              <a:uFillTx/>
              <a:latin typeface="Manrope Light"/>
              <a:ea typeface="+mn-ea"/>
              <a:cs typeface="+mn-cs"/>
            </a:endParaRPr>
          </a:p>
        </p:txBody>
      </p:sp>
      <p:pic>
        <p:nvPicPr>
          <p:cNvPr id="6" name="Image 5">
            <a:extLst>
              <a:ext uri="{FF2B5EF4-FFF2-40B4-BE49-F238E27FC236}">
                <a16:creationId xmlns:a16="http://schemas.microsoft.com/office/drawing/2014/main" id="{67BEF2D3-CFB2-45CE-9541-3F43538B6865}"/>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22696" y="1521124"/>
            <a:ext cx="11762256" cy="94487"/>
          </a:xfrm>
          <a:prstGeom prst="rect">
            <a:avLst/>
          </a:prstGeom>
        </p:spPr>
      </p:pic>
    </p:spTree>
    <p:extLst>
      <p:ext uri="{BB962C8B-B14F-4D97-AF65-F5344CB8AC3E}">
        <p14:creationId xmlns:p14="http://schemas.microsoft.com/office/powerpoint/2010/main" val="329909455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rt graph +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700048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1" name="think-cell Slide" r:id="rId4" imgW="353" imgH="318" progId="TCLayout.ActiveDocument.1">
                  <p:embed/>
                </p:oleObj>
              </mc:Choice>
              <mc:Fallback>
                <p:oleObj name="think-cell Slide" r:id="rId4" imgW="353" imgH="318"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p:cNvSpPr/>
          <p:nvPr userDrawn="1"/>
        </p:nvSpPr>
        <p:spPr>
          <a:xfrm>
            <a:off x="0" y="0"/>
            <a:ext cx="12192000" cy="6858000"/>
          </a:xfrm>
          <a:prstGeom prst="rect">
            <a:avLst/>
          </a:prstGeom>
          <a:gradFill flip="none" rotWithShape="1">
            <a:gsLst>
              <a:gs pos="31000">
                <a:schemeClr val="accent1"/>
              </a:gs>
              <a:gs pos="100000">
                <a:schemeClr val="accent2"/>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Immagine 4" descr="Immagine che contiene freccia&#10;&#10;Descrizione generata automaticamente">
            <a:extLst>
              <a:ext uri="{FF2B5EF4-FFF2-40B4-BE49-F238E27FC236}">
                <a16:creationId xmlns:a16="http://schemas.microsoft.com/office/drawing/2014/main" id="{D8E14485-B979-A247-9DEA-146D3E0CF637}"/>
              </a:ext>
            </a:extLst>
          </p:cNvPr>
          <p:cNvPicPr>
            <a:picLocks noChangeAspect="1" noChangeArrowheads="1"/>
          </p:cNvPicPr>
          <p:nvPr userDrawn="1"/>
        </p:nvPicPr>
        <p:blipFill>
          <a:blip r:embed="rId6" cstate="screen">
            <a:alphaModFix amt="10000"/>
            <a:extLst>
              <a:ext uri="{28A0092B-C50C-407E-A947-70E740481C1C}">
                <a14:useLocalDpi xmlns:a14="http://schemas.microsoft.com/office/drawing/2010/main"/>
              </a:ext>
            </a:extLst>
          </a:blip>
          <a:srcRect t="-5206" r="-22588"/>
          <a:stretch>
            <a:fillRect/>
          </a:stretch>
        </p:blipFill>
        <p:spPr bwMode="auto">
          <a:xfrm>
            <a:off x="8344" y="3582988"/>
            <a:ext cx="3551238" cy="3275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Immagine 1">
            <a:extLst>
              <a:ext uri="{FF2B5EF4-FFF2-40B4-BE49-F238E27FC236}">
                <a16:creationId xmlns:a16="http://schemas.microsoft.com/office/drawing/2014/main" id="{BAC01275-D208-FA40-BFFB-CDFAE06FCC7C}"/>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5030788" y="6488113"/>
            <a:ext cx="213042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Immagine 2">
            <a:extLst>
              <a:ext uri="{FF2B5EF4-FFF2-40B4-BE49-F238E27FC236}">
                <a16:creationId xmlns:a16="http://schemas.microsoft.com/office/drawing/2014/main" id="{D07A18DD-24B7-3540-935C-1C71CC6B3344}"/>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10477500" y="265113"/>
            <a:ext cx="1352550" cy="506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Segnaposto numero diapositiva 5">
            <a:extLst>
              <a:ext uri="{FF2B5EF4-FFF2-40B4-BE49-F238E27FC236}">
                <a16:creationId xmlns:a16="http://schemas.microsoft.com/office/drawing/2014/main" id="{8953AC5F-B5AC-8448-962D-952F5C29A972}"/>
              </a:ext>
            </a:extLst>
          </p:cNvPr>
          <p:cNvSpPr txBox="1">
            <a:spLocks/>
          </p:cNvSpPr>
          <p:nvPr/>
        </p:nvSpPr>
        <p:spPr>
          <a:xfrm>
            <a:off x="9145588" y="6356350"/>
            <a:ext cx="2743200" cy="365125"/>
          </a:xfrm>
          <a:prstGeom prst="rect">
            <a:avLst/>
          </a:prstGeom>
        </p:spPr>
        <p:txBody>
          <a:bodyPr anchor="ctr"/>
          <a:lstStyle>
            <a:defPPr>
              <a:defRPr lang="it-IT"/>
            </a:defPPr>
            <a:lvl1pPr marL="0" algn="r" defTabSz="914400" rtl="0" eaLnBrk="1" latinLnBrk="0" hangingPunct="1">
              <a:defRPr sz="1200" kern="1200">
                <a:solidFill>
                  <a:srgbClr val="0070C0"/>
                </a:solidFill>
                <a:latin typeface="Montserrat" pitchFamily="2"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532A690C-E27A-8549-AE5E-6094FA7FDE65}" type="slidenum">
              <a:rPr lang="it-IT" smtClean="0">
                <a:solidFill>
                  <a:schemeClr val="bg1"/>
                </a:solidFill>
              </a:rPr>
              <a:pPr fontAlgn="auto">
                <a:spcBef>
                  <a:spcPts val="0"/>
                </a:spcBef>
                <a:spcAft>
                  <a:spcPts val="0"/>
                </a:spcAft>
                <a:defRPr/>
              </a:pPr>
              <a:t>‹Nr.›</a:t>
            </a:fld>
            <a:endParaRPr lang="it-IT">
              <a:solidFill>
                <a:schemeClr val="bg1"/>
              </a:solidFill>
            </a:endParaRPr>
          </a:p>
        </p:txBody>
      </p:sp>
      <p:sp>
        <p:nvSpPr>
          <p:cNvPr id="13" name="Titolo 1"/>
          <p:cNvSpPr>
            <a:spLocks noGrp="1"/>
          </p:cNvSpPr>
          <p:nvPr>
            <p:ph type="ctrTitle" hasCustomPrompt="1"/>
          </p:nvPr>
        </p:nvSpPr>
        <p:spPr>
          <a:xfrm>
            <a:off x="277290" y="223790"/>
            <a:ext cx="10200210" cy="547735"/>
          </a:xfrm>
          <a:prstGeom prst="rect">
            <a:avLst/>
          </a:prstGeom>
        </p:spPr>
        <p:txBody>
          <a:bodyPr vert="horz" anchor="t" anchorCtr="0">
            <a:noAutofit/>
          </a:bodyPr>
          <a:lstStyle>
            <a:lvl1pPr algn="l">
              <a:defRPr sz="2600" b="1" i="0">
                <a:solidFill>
                  <a:schemeClr val="tx2"/>
                </a:solidFill>
                <a:latin typeface="Montserrat" pitchFamily="2" charset="77"/>
              </a:defRPr>
            </a:lvl1pPr>
          </a:lstStyle>
          <a:p>
            <a:r>
              <a:rPr lang="it-IT" err="1"/>
              <a:t>Appendix</a:t>
            </a:r>
            <a:endParaRPr lang="it-IT"/>
          </a:p>
        </p:txBody>
      </p:sp>
      <p:pic>
        <p:nvPicPr>
          <p:cNvPr id="10" name="Immagine 4" descr="Immagine che contiene freccia&#10;&#10;Descrizione generata automaticamente">
            <a:extLst>
              <a:ext uri="{FF2B5EF4-FFF2-40B4-BE49-F238E27FC236}">
                <a16:creationId xmlns:a16="http://schemas.microsoft.com/office/drawing/2014/main" id="{82EB41B5-F4AF-634A-8830-EC851DD96DD7}"/>
              </a:ext>
            </a:extLst>
          </p:cNvPr>
          <p:cNvPicPr>
            <a:picLocks noChangeAspect="1" noChangeArrowheads="1"/>
          </p:cNvPicPr>
          <p:nvPr userDrawn="1"/>
        </p:nvPicPr>
        <p:blipFill>
          <a:blip r:embed="rId6" cstate="screen">
            <a:alphaModFix amt="10000"/>
            <a:extLst>
              <a:ext uri="{28A0092B-C50C-407E-A947-70E740481C1C}">
                <a14:useLocalDpi xmlns:a14="http://schemas.microsoft.com/office/drawing/2010/main"/>
              </a:ext>
            </a:extLst>
          </a:blip>
          <a:srcRect t="-5206" r="-22588"/>
          <a:stretch>
            <a:fillRect/>
          </a:stretch>
        </p:blipFill>
        <p:spPr bwMode="auto">
          <a:xfrm>
            <a:off x="0" y="3582988"/>
            <a:ext cx="3551238" cy="3275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5">
            <a:extLst>
              <a:ext uri="{FF2B5EF4-FFF2-40B4-BE49-F238E27FC236}">
                <a16:creationId xmlns:a16="http://schemas.microsoft.com/office/drawing/2014/main" id="{9DBFBFC3-38DB-4A4A-A792-B70348E552B8}"/>
              </a:ext>
            </a:extLst>
          </p:cNvPr>
          <p:cNvSpPr>
            <a:spLocks noGrp="1"/>
          </p:cNvSpPr>
          <p:nvPr>
            <p:ph sz="quarter" idx="10"/>
          </p:nvPr>
        </p:nvSpPr>
        <p:spPr>
          <a:xfrm>
            <a:off x="277290" y="1551008"/>
            <a:ext cx="11552760" cy="4635478"/>
          </a:xfrm>
          <a:prstGeom prst="rect">
            <a:avLst/>
          </a:prstGeom>
        </p:spPr>
        <p:txBody>
          <a:bodyPr/>
          <a:lstStyle>
            <a:lvl1pPr>
              <a:defRPr sz="2000" b="1" i="0">
                <a:solidFill>
                  <a:schemeClr val="tx2"/>
                </a:solidFill>
                <a:latin typeface="Montserrat SemiBold" pitchFamily="2" charset="77"/>
              </a:defRPr>
            </a:lvl1pPr>
            <a:lvl2pPr>
              <a:defRPr sz="1800">
                <a:solidFill>
                  <a:schemeClr val="tx2"/>
                </a:solidFill>
                <a:latin typeface="Montserrat" pitchFamily="2" charset="77"/>
              </a:defRPr>
            </a:lvl2pPr>
            <a:lvl3pPr>
              <a:defRPr sz="1600">
                <a:solidFill>
                  <a:schemeClr val="tx2"/>
                </a:solidFill>
                <a:latin typeface="Montserrat" pitchFamily="2" charset="77"/>
              </a:defRPr>
            </a:lvl3pPr>
            <a:lvl4pPr>
              <a:defRPr>
                <a:latin typeface="Montserrat" pitchFamily="2" charset="77"/>
              </a:defRPr>
            </a:lvl4pPr>
            <a:lvl5pPr>
              <a:defRPr>
                <a:latin typeface="Montserrat" pitchFamily="2" charset="77"/>
              </a:defRPr>
            </a:lvl5pPr>
          </a:lstStyle>
          <a:p>
            <a:pPr lvl="0"/>
            <a:r>
              <a:rPr lang="it-IT"/>
              <a:t>Fare clic per modificare gli stili del testo dello schema</a:t>
            </a:r>
          </a:p>
          <a:p>
            <a:pPr lvl="1"/>
            <a:r>
              <a:rPr lang="it-IT"/>
              <a:t>Secondo livello</a:t>
            </a:r>
          </a:p>
          <a:p>
            <a:pPr lvl="2"/>
            <a:r>
              <a:rPr lang="it-IT"/>
              <a:t>Terzo livello</a:t>
            </a:r>
          </a:p>
        </p:txBody>
      </p:sp>
    </p:spTree>
    <p:extLst>
      <p:ext uri="{BB962C8B-B14F-4D97-AF65-F5344CB8AC3E}">
        <p14:creationId xmlns:p14="http://schemas.microsoft.com/office/powerpoint/2010/main" val="327750577"/>
      </p:ext>
    </p:extLst>
  </p:cSld>
  <p:clrMapOvr>
    <a:masterClrMapping/>
  </p:clrMapOvr>
  <mc:AlternateContent xmlns:mc="http://schemas.openxmlformats.org/markup-compatibility/2006" xmlns:p14="http://schemas.microsoft.com/office/powerpoint/2010/main">
    <mc:Choice Requires="p14">
      <p:transition spd="slow" p14:dur="1250">
        <p14:reveal/>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Cover">
    <p:spTree>
      <p:nvGrpSpPr>
        <p:cNvPr id="1" name=""/>
        <p:cNvGrpSpPr/>
        <p:nvPr/>
      </p:nvGrpSpPr>
      <p:grpSpPr>
        <a:xfrm>
          <a:off x="0" y="0"/>
          <a:ext cx="0" cy="0"/>
          <a:chOff x="0" y="0"/>
          <a:chExt cx="0" cy="0"/>
        </a:xfrm>
      </p:grpSpPr>
      <p:pic>
        <p:nvPicPr>
          <p:cNvPr id="9" name="Immagine 4" descr="Immagine che contiene freccia&#10;&#10;Descrizione generata automaticamente">
            <a:extLst>
              <a:ext uri="{FF2B5EF4-FFF2-40B4-BE49-F238E27FC236}">
                <a16:creationId xmlns:a16="http://schemas.microsoft.com/office/drawing/2014/main" id="{8D5C7E40-0CDC-BC41-9D29-9B8AD3C55EEE}"/>
              </a:ext>
            </a:extLst>
          </p:cNvPr>
          <p:cNvPicPr>
            <a:picLocks noChangeAspect="1" noChangeArrowheads="1"/>
          </p:cNvPicPr>
          <p:nvPr userDrawn="1"/>
        </p:nvPicPr>
        <p:blipFill>
          <a:blip r:embed="rId2" cstate="screen">
            <a:alphaModFix amt="10000"/>
            <a:extLst>
              <a:ext uri="{28A0092B-C50C-407E-A947-70E740481C1C}">
                <a14:useLocalDpi xmlns:a14="http://schemas.microsoft.com/office/drawing/2010/main"/>
              </a:ext>
            </a:extLst>
          </a:blip>
          <a:srcRect t="-5206" r="-22588"/>
          <a:stretch>
            <a:fillRect/>
          </a:stretch>
        </p:blipFill>
        <p:spPr bwMode="auto">
          <a:xfrm>
            <a:off x="0" y="3582988"/>
            <a:ext cx="3551238" cy="32750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5" name="Immagine 2">
            <a:extLst>
              <a:ext uri="{FF2B5EF4-FFF2-40B4-BE49-F238E27FC236}">
                <a16:creationId xmlns:a16="http://schemas.microsoft.com/office/drawing/2014/main" id="{6D746C32-CA41-D347-A50C-9B70C1E6CB87}"/>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10477500" y="265113"/>
            <a:ext cx="1352550" cy="5064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6" name="Segnaposto numero diapositiva 5">
            <a:extLst>
              <a:ext uri="{FF2B5EF4-FFF2-40B4-BE49-F238E27FC236}">
                <a16:creationId xmlns:a16="http://schemas.microsoft.com/office/drawing/2014/main" id="{AAA818DC-06C1-2342-B806-392EA9649872}"/>
              </a:ext>
            </a:extLst>
          </p:cNvPr>
          <p:cNvSpPr txBox="1">
            <a:spLocks/>
          </p:cNvSpPr>
          <p:nvPr/>
        </p:nvSpPr>
        <p:spPr>
          <a:xfrm>
            <a:off x="9145588" y="6356350"/>
            <a:ext cx="2743200" cy="365125"/>
          </a:xfrm>
          <a:prstGeom prst="rect">
            <a:avLst/>
          </a:prstGeom>
        </p:spPr>
        <p:txBody>
          <a:bodyPr anchor="ctr"/>
          <a:lstStyle>
            <a:defPPr>
              <a:defRPr lang="it-IT"/>
            </a:defPPr>
            <a:lvl1pPr marL="0" algn="r" defTabSz="914400" rtl="0" eaLnBrk="1" latinLnBrk="0" hangingPunct="1">
              <a:defRPr sz="1200" kern="1200">
                <a:solidFill>
                  <a:srgbClr val="0070C0"/>
                </a:solidFill>
                <a:latin typeface="Montserrat" pitchFamily="2"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234DEC44-A291-A44B-A1A0-B14AC4E15AE1}" type="slidenum">
              <a:rPr lang="it-IT" smtClean="0"/>
              <a:pPr fontAlgn="auto">
                <a:spcBef>
                  <a:spcPts val="0"/>
                </a:spcBef>
                <a:spcAft>
                  <a:spcPts val="0"/>
                </a:spcAft>
                <a:defRPr/>
              </a:pPr>
              <a:t>‹Nr.›</a:t>
            </a:fld>
            <a:endParaRPr lang="it-IT"/>
          </a:p>
        </p:txBody>
      </p:sp>
      <p:pic>
        <p:nvPicPr>
          <p:cNvPr id="22" name="Immagine 21">
            <a:extLst>
              <a:ext uri="{FF2B5EF4-FFF2-40B4-BE49-F238E27FC236}">
                <a16:creationId xmlns:a16="http://schemas.microsoft.com/office/drawing/2014/main" id="{5357817E-718E-46D3-B53C-66EF11830B9D}"/>
              </a:ext>
            </a:extLst>
          </p:cNvPr>
          <p:cNvPicPr>
            <a:picLocks noChangeAspect="1"/>
          </p:cNvPicPr>
          <p:nvPr userDrawn="1"/>
        </p:nvPicPr>
        <p:blipFill rotWithShape="1">
          <a:blip r:embed="rId4"/>
          <a:srcRect t="9622" r="8452"/>
          <a:stretch/>
        </p:blipFill>
        <p:spPr>
          <a:xfrm>
            <a:off x="-2" y="1127496"/>
            <a:ext cx="8098252" cy="5730503"/>
          </a:xfrm>
          <a:prstGeom prst="rect">
            <a:avLst/>
          </a:prstGeom>
        </p:spPr>
      </p:pic>
      <p:sp>
        <p:nvSpPr>
          <p:cNvPr id="11" name="Rettangolo 10">
            <a:extLst>
              <a:ext uri="{FF2B5EF4-FFF2-40B4-BE49-F238E27FC236}">
                <a16:creationId xmlns:a16="http://schemas.microsoft.com/office/drawing/2014/main" id="{5B710519-46B2-CB47-AA51-E1F27684850B}"/>
              </a:ext>
            </a:extLst>
          </p:cNvPr>
          <p:cNvSpPr/>
          <p:nvPr userDrawn="1"/>
        </p:nvSpPr>
        <p:spPr>
          <a:xfrm rot="16200000">
            <a:off x="4088606" y="-2113756"/>
            <a:ext cx="3430588" cy="11607800"/>
          </a:xfrm>
          <a:prstGeom prst="rect">
            <a:avLst/>
          </a:prstGeom>
          <a:solidFill>
            <a:schemeClr val="accent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it-IT">
              <a:solidFill>
                <a:schemeClr val="accent1"/>
              </a:solidFill>
              <a:latin typeface="Montserrat Medium" pitchFamily="2" charset="77"/>
            </a:endParaRPr>
          </a:p>
        </p:txBody>
      </p:sp>
      <p:pic>
        <p:nvPicPr>
          <p:cNvPr id="10" name="Immagine 9">
            <a:extLst>
              <a:ext uri="{FF2B5EF4-FFF2-40B4-BE49-F238E27FC236}">
                <a16:creationId xmlns:a16="http://schemas.microsoft.com/office/drawing/2014/main" id="{8EC3446C-9DE2-4E45-B8EE-8A85800D4D34}"/>
              </a:ext>
            </a:extLst>
          </p:cNvPr>
          <p:cNvPicPr>
            <a:picLocks/>
          </p:cNvPicPr>
          <p:nvPr userDrawn="1"/>
        </p:nvPicPr>
        <p:blipFill rotWithShape="1">
          <a:blip r:embed="rId5"/>
          <a:srcRect r="1556"/>
          <a:stretch/>
        </p:blipFill>
        <p:spPr>
          <a:xfrm>
            <a:off x="0" y="5400568"/>
            <a:ext cx="11607800" cy="108000"/>
          </a:xfrm>
          <a:prstGeom prst="rect">
            <a:avLst/>
          </a:prstGeom>
        </p:spPr>
      </p:pic>
      <p:pic>
        <p:nvPicPr>
          <p:cNvPr id="8" name="Immagine 5">
            <a:extLst>
              <a:ext uri="{FF2B5EF4-FFF2-40B4-BE49-F238E27FC236}">
                <a16:creationId xmlns:a16="http://schemas.microsoft.com/office/drawing/2014/main" id="{790A49EC-780E-A743-B353-53E55FC0D013}"/>
              </a:ext>
            </a:extLst>
          </p:cNvPr>
          <p:cNvPicPr>
            <a:picLocks noChangeAspect="1" noChangeArrowheads="1"/>
          </p:cNvPicPr>
          <p:nvPr userDrawn="1"/>
        </p:nvPicPr>
        <p:blipFill>
          <a:blip r:embed="rId6" cstate="screen">
            <a:alphaModFix amt="60000"/>
            <a:extLst>
              <a:ext uri="{28A0092B-C50C-407E-A947-70E740481C1C}">
                <a14:useLocalDpi xmlns:a14="http://schemas.microsoft.com/office/drawing/2010/main"/>
              </a:ext>
            </a:extLst>
          </a:blip>
          <a:srcRect l="17816" t="-2272" b="13448"/>
          <a:stretch>
            <a:fillRect/>
          </a:stretch>
        </p:blipFill>
        <p:spPr bwMode="auto">
          <a:xfrm>
            <a:off x="-12700" y="3582988"/>
            <a:ext cx="2917825" cy="3979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Sottotitolo 2">
            <a:extLst>
              <a:ext uri="{FF2B5EF4-FFF2-40B4-BE49-F238E27FC236}">
                <a16:creationId xmlns:a16="http://schemas.microsoft.com/office/drawing/2014/main" id="{419F3B2F-4695-4353-BD20-B99AA8CF3723}"/>
              </a:ext>
            </a:extLst>
          </p:cNvPr>
          <p:cNvSpPr>
            <a:spLocks noGrp="1"/>
          </p:cNvSpPr>
          <p:nvPr>
            <p:ph type="subTitle" idx="1"/>
          </p:nvPr>
        </p:nvSpPr>
        <p:spPr>
          <a:xfrm>
            <a:off x="314960" y="3927158"/>
            <a:ext cx="2661920" cy="1223962"/>
          </a:xfrm>
          <a:prstGeom prst="rect">
            <a:avLst/>
          </a:prstGeom>
        </p:spPr>
        <p:txBody>
          <a:bodyPr>
            <a:normAutofit/>
          </a:bodyPr>
          <a:lstStyle>
            <a:lvl1pPr marL="0" indent="0" algn="l">
              <a:buNone/>
              <a:defRPr sz="1600" b="0" i="0">
                <a:solidFill>
                  <a:schemeClr val="bg1"/>
                </a:solidFill>
                <a:latin typeface="Montserrat Light" panose="000004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it-IT"/>
              <a:t>Fare clic per modificare lo stile del sottotitolo dello schema</a:t>
            </a:r>
          </a:p>
        </p:txBody>
      </p:sp>
      <p:sp>
        <p:nvSpPr>
          <p:cNvPr id="14" name="Titolo 1">
            <a:extLst>
              <a:ext uri="{FF2B5EF4-FFF2-40B4-BE49-F238E27FC236}">
                <a16:creationId xmlns:a16="http://schemas.microsoft.com/office/drawing/2014/main" id="{D837711F-7699-4785-9C2B-110A6AF7EA1E}"/>
              </a:ext>
            </a:extLst>
          </p:cNvPr>
          <p:cNvSpPr>
            <a:spLocks noGrp="1"/>
          </p:cNvSpPr>
          <p:nvPr>
            <p:ph type="ctrTitle"/>
          </p:nvPr>
        </p:nvSpPr>
        <p:spPr>
          <a:xfrm>
            <a:off x="314960" y="2722879"/>
            <a:ext cx="9144000" cy="1112203"/>
          </a:xfrm>
          <a:prstGeom prst="rect">
            <a:avLst/>
          </a:prstGeom>
        </p:spPr>
        <p:txBody>
          <a:bodyPr anchor="b">
            <a:normAutofit/>
          </a:bodyPr>
          <a:lstStyle>
            <a:lvl1pPr algn="l">
              <a:defRPr sz="3600" b="1" i="0">
                <a:solidFill>
                  <a:schemeClr val="bg1"/>
                </a:solidFill>
                <a:latin typeface="Montserrat" pitchFamily="2" charset="77"/>
              </a:defRPr>
            </a:lvl1pPr>
          </a:lstStyle>
          <a:p>
            <a:r>
              <a:rPr lang="it-IT"/>
              <a:t>Fare clic per modificare lo stile del titolo dello schema</a:t>
            </a:r>
          </a:p>
        </p:txBody>
      </p:sp>
    </p:spTree>
    <p:extLst>
      <p:ext uri="{BB962C8B-B14F-4D97-AF65-F5344CB8AC3E}">
        <p14:creationId xmlns:p14="http://schemas.microsoft.com/office/powerpoint/2010/main" val="520958263"/>
      </p:ext>
    </p:extLst>
  </p:cSld>
  <p:clrMapOvr>
    <a:masterClrMapping/>
  </p:clrMapOvr>
  <mc:AlternateContent xmlns:mc="http://schemas.openxmlformats.org/markup-compatibility/2006" xmlns:p14="http://schemas.microsoft.com/office/powerpoint/2010/main">
    <mc:Choice Requires="p14">
      <p:transition spd="slow" p14:dur="1250">
        <p14:reveal/>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Chart Title, Text &amp; Graphics 01">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5" name="think-cell Slide" r:id="rId4" imgW="353" imgH="318" progId="TCLayout.ActiveDocument.1">
                  <p:embed/>
                </p:oleObj>
              </mc:Choice>
              <mc:Fallback>
                <p:oleObj name="think-cell Slide" r:id="rId4" imgW="353" imgH="318"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3" name="Picture 12"/>
          <p:cNvPicPr>
            <a:picLocks noChangeAspect="1"/>
          </p:cNvPicPr>
          <p:nvPr userDrawn="1"/>
        </p:nvPicPr>
        <p:blipFill rotWithShape="1">
          <a:blip r:embed="rId6">
            <a:duotone>
              <a:prstClr val="black"/>
              <a:srgbClr val="D9C3A5">
                <a:tint val="50000"/>
                <a:satMod val="180000"/>
              </a:srgbClr>
            </a:duotone>
            <a:extLst>
              <a:ext uri="{28A0092B-C50C-407E-A947-70E740481C1C}">
                <a14:useLocalDpi xmlns:a14="http://schemas.microsoft.com/office/drawing/2010/main" val="0"/>
              </a:ext>
            </a:extLst>
          </a:blip>
          <a:srcRect r="41487"/>
          <a:stretch/>
        </p:blipFill>
        <p:spPr>
          <a:xfrm>
            <a:off x="5329062" y="-9997"/>
            <a:ext cx="6880073" cy="6880403"/>
          </a:xfrm>
          <a:prstGeom prst="rect">
            <a:avLst/>
          </a:prstGeom>
        </p:spPr>
      </p:pic>
      <p:pic>
        <p:nvPicPr>
          <p:cNvPr id="14" name="Picture 16" descr="https://www.dedalus.com/iberia/wp-content/uploads/sites/16/2021/03/imgpsh_fullsize_anim-3s.jpg"/>
          <p:cNvPicPr>
            <a:picLocks noChangeAspect="1" noChangeArrowheads="1"/>
          </p:cNvPicPr>
          <p:nvPr userDrawn="1"/>
        </p:nvPicPr>
        <p:blipFill rotWithShape="1">
          <a:blip r:embed="rId7">
            <a:duotone>
              <a:prstClr val="black"/>
              <a:schemeClr val="accent6">
                <a:tint val="45000"/>
                <a:satMod val="400000"/>
              </a:schemeClr>
            </a:duotone>
            <a:extLst>
              <a:ext uri="{BEBA8EAE-BF5A-486C-A8C5-ECC9F3942E4B}">
                <a14:imgProps xmlns:a14="http://schemas.microsoft.com/office/drawing/2010/main">
                  <a14:imgLayer r:embed="rId8">
                    <a14:imgEffect>
                      <a14:colorTemperature colorTemp="4700"/>
                    </a14:imgEffect>
                    <a14:imgEffect>
                      <a14:saturation sat="200000"/>
                    </a14:imgEffect>
                  </a14:imgLayer>
                </a14:imgProps>
              </a:ext>
              <a:ext uri="{28A0092B-C50C-407E-A947-70E740481C1C}">
                <a14:useLocalDpi xmlns:a14="http://schemas.microsoft.com/office/drawing/2010/main" val="0"/>
              </a:ext>
            </a:extLst>
          </a:blip>
          <a:srcRect l="29807" r="12945" b="4737"/>
          <a:stretch/>
        </p:blipFill>
        <p:spPr bwMode="auto">
          <a:xfrm flipH="1">
            <a:off x="-30487" y="-9997"/>
            <a:ext cx="6158354" cy="6880403"/>
          </a:xfrm>
          <a:prstGeom prst="rect">
            <a:avLst/>
          </a:prstGeom>
          <a:noFill/>
          <a:extLst>
            <a:ext uri="{909E8E84-426E-40DD-AFC4-6F175D3DCCD1}">
              <a14:hiddenFill xmlns:a14="http://schemas.microsoft.com/office/drawing/2010/main">
                <a:solidFill>
                  <a:srgbClr val="FFFFFF"/>
                </a:solidFill>
              </a14:hiddenFill>
            </a:ext>
          </a:extLst>
        </p:spPr>
      </p:pic>
      <p:pic>
        <p:nvPicPr>
          <p:cNvPr id="11" name="Immagine 4" descr="Immagine che contiene freccia&#10;&#10;Descrizione generata automaticamente">
            <a:extLst>
              <a:ext uri="{FF2B5EF4-FFF2-40B4-BE49-F238E27FC236}">
                <a16:creationId xmlns:a16="http://schemas.microsoft.com/office/drawing/2014/main" id="{1A09EE3A-23CE-334A-AE02-43F5DDDDA789}"/>
              </a:ext>
            </a:extLst>
          </p:cNvPr>
          <p:cNvPicPr>
            <a:picLocks noChangeAspect="1" noChangeArrowheads="1"/>
          </p:cNvPicPr>
          <p:nvPr userDrawn="1"/>
        </p:nvPicPr>
        <p:blipFill>
          <a:blip r:embed="rId9" cstate="screen">
            <a:alphaModFix amt="10000"/>
            <a:extLst>
              <a:ext uri="{28A0092B-C50C-407E-A947-70E740481C1C}">
                <a14:useLocalDpi xmlns:a14="http://schemas.microsoft.com/office/drawing/2010/main"/>
              </a:ext>
            </a:extLst>
          </a:blip>
          <a:srcRect t="-5206" r="-22588"/>
          <a:stretch>
            <a:fillRect/>
          </a:stretch>
        </p:blipFill>
        <p:spPr bwMode="auto">
          <a:xfrm>
            <a:off x="0" y="3582988"/>
            <a:ext cx="3551238" cy="3275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Immagine 1">
            <a:extLst>
              <a:ext uri="{FF2B5EF4-FFF2-40B4-BE49-F238E27FC236}">
                <a16:creationId xmlns:a16="http://schemas.microsoft.com/office/drawing/2014/main" id="{4F8EBA92-CADC-044B-8BFD-A68D0D24E370}"/>
              </a:ext>
            </a:extLst>
          </p:cNvPr>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5030788" y="6488113"/>
            <a:ext cx="213042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Immagine 2">
            <a:extLst>
              <a:ext uri="{FF2B5EF4-FFF2-40B4-BE49-F238E27FC236}">
                <a16:creationId xmlns:a16="http://schemas.microsoft.com/office/drawing/2014/main" id="{BD6A18FA-5510-234A-AA4C-3B74B12B78EC}"/>
              </a:ext>
            </a:extLst>
          </p:cNvPr>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10477500" y="265113"/>
            <a:ext cx="1352550" cy="506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Segnaposto numero diapositiva 5">
            <a:extLst>
              <a:ext uri="{FF2B5EF4-FFF2-40B4-BE49-F238E27FC236}">
                <a16:creationId xmlns:a16="http://schemas.microsoft.com/office/drawing/2014/main" id="{DEA462BC-A894-BD4D-A7C6-5427DE793DE3}"/>
              </a:ext>
            </a:extLst>
          </p:cNvPr>
          <p:cNvSpPr txBox="1">
            <a:spLocks/>
          </p:cNvSpPr>
          <p:nvPr/>
        </p:nvSpPr>
        <p:spPr>
          <a:xfrm>
            <a:off x="9145588" y="6356350"/>
            <a:ext cx="2743200" cy="365125"/>
          </a:xfrm>
          <a:prstGeom prst="rect">
            <a:avLst/>
          </a:prstGeom>
        </p:spPr>
        <p:txBody>
          <a:bodyPr anchor="ctr"/>
          <a:lstStyle>
            <a:defPPr>
              <a:defRPr lang="it-IT"/>
            </a:defPPr>
            <a:lvl1pPr marL="0" algn="r" defTabSz="914400" rtl="0" eaLnBrk="1" latinLnBrk="0" hangingPunct="1">
              <a:defRPr sz="1200" kern="1200">
                <a:solidFill>
                  <a:srgbClr val="0070C0"/>
                </a:solidFill>
                <a:latin typeface="Montserrat" pitchFamily="2"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2329C187-DB58-EB45-8DE9-FB8413A6FD6B}" type="slidenum">
              <a:rPr lang="it-IT" smtClean="0">
                <a:solidFill>
                  <a:schemeClr val="bg1"/>
                </a:solidFill>
              </a:rPr>
              <a:pPr fontAlgn="auto">
                <a:spcBef>
                  <a:spcPts val="0"/>
                </a:spcBef>
                <a:spcAft>
                  <a:spcPts val="0"/>
                </a:spcAft>
                <a:defRPr/>
              </a:pPr>
              <a:t>‹Nr.›</a:t>
            </a:fld>
            <a:endParaRPr lang="it-IT">
              <a:solidFill>
                <a:schemeClr val="bg1"/>
              </a:solidFill>
            </a:endParaRPr>
          </a:p>
        </p:txBody>
      </p:sp>
      <p:sp>
        <p:nvSpPr>
          <p:cNvPr id="12" name="Titolo 1"/>
          <p:cNvSpPr>
            <a:spLocks noGrp="1"/>
          </p:cNvSpPr>
          <p:nvPr>
            <p:ph type="ctrTitle"/>
          </p:nvPr>
        </p:nvSpPr>
        <p:spPr>
          <a:xfrm>
            <a:off x="277289" y="534147"/>
            <a:ext cx="5183187" cy="1141459"/>
          </a:xfrm>
          <a:prstGeom prst="rect">
            <a:avLst/>
          </a:prstGeom>
        </p:spPr>
        <p:txBody>
          <a:bodyPr vert="horz" anchor="b" anchorCtr="0">
            <a:noAutofit/>
          </a:bodyPr>
          <a:lstStyle>
            <a:lvl1pPr algn="l">
              <a:defRPr sz="2800" b="1" i="0">
                <a:solidFill>
                  <a:schemeClr val="tx2"/>
                </a:solidFill>
                <a:latin typeface="Montserrat" pitchFamily="2" charset="77"/>
              </a:defRPr>
            </a:lvl1pPr>
          </a:lstStyle>
          <a:p>
            <a:r>
              <a:rPr lang="it-IT"/>
              <a:t>Fare clic per modificare lo stile del titolo dello schema</a:t>
            </a:r>
          </a:p>
        </p:txBody>
      </p:sp>
      <p:sp>
        <p:nvSpPr>
          <p:cNvPr id="16" name="Text Placeholder 2"/>
          <p:cNvSpPr>
            <a:spLocks noGrp="1"/>
          </p:cNvSpPr>
          <p:nvPr>
            <p:ph type="body" idx="1"/>
          </p:nvPr>
        </p:nvSpPr>
        <p:spPr>
          <a:xfrm>
            <a:off x="265418" y="1681163"/>
            <a:ext cx="5183188" cy="823912"/>
          </a:xfrm>
          <a:prstGeom prst="rect">
            <a:avLst/>
          </a:prstGeom>
        </p:spPr>
        <p:txBody>
          <a:bodyPr anchor="b"/>
          <a:lstStyle>
            <a:lvl1pPr marL="0" indent="0">
              <a:buNone/>
              <a:defRPr sz="2400" b="1">
                <a:solidFill>
                  <a:schemeClr val="tx2"/>
                </a:solidFill>
                <a:latin typeface="Montserrat" pitchFamily="2" charset="77"/>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gli stili del testo dello schema</a:t>
            </a:r>
          </a:p>
        </p:txBody>
      </p:sp>
      <p:sp>
        <p:nvSpPr>
          <p:cNvPr id="17" name="Text Placeholder 4"/>
          <p:cNvSpPr>
            <a:spLocks noGrp="1"/>
          </p:cNvSpPr>
          <p:nvPr>
            <p:ph type="body" sz="quarter" idx="3"/>
          </p:nvPr>
        </p:nvSpPr>
        <p:spPr>
          <a:xfrm>
            <a:off x="6646862" y="1675606"/>
            <a:ext cx="5183188" cy="823912"/>
          </a:xfrm>
          <a:prstGeom prst="rect">
            <a:avLst/>
          </a:prstGeom>
        </p:spPr>
        <p:txBody>
          <a:bodyPr anchor="b"/>
          <a:lstStyle>
            <a:lvl1pPr marL="0" indent="0">
              <a:buNone/>
              <a:defRPr sz="2400" b="1">
                <a:solidFill>
                  <a:schemeClr val="tx2"/>
                </a:solidFill>
                <a:latin typeface="Montserrat" pitchFamily="2" charset="77"/>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gli stili del testo dello schema</a:t>
            </a:r>
          </a:p>
        </p:txBody>
      </p:sp>
      <p:sp>
        <p:nvSpPr>
          <p:cNvPr id="20" name="Content Placeholder 5"/>
          <p:cNvSpPr>
            <a:spLocks noGrp="1"/>
          </p:cNvSpPr>
          <p:nvPr>
            <p:ph sz="quarter" idx="4"/>
          </p:nvPr>
        </p:nvSpPr>
        <p:spPr>
          <a:xfrm>
            <a:off x="6646862" y="2505075"/>
            <a:ext cx="5183188" cy="3684588"/>
          </a:xfrm>
          <a:prstGeom prst="rect">
            <a:avLst/>
          </a:prstGeom>
        </p:spPr>
        <p:txBody>
          <a:bodyPr/>
          <a:lstStyle>
            <a:lvl1pPr>
              <a:defRPr sz="2000">
                <a:solidFill>
                  <a:schemeClr val="tx2"/>
                </a:solidFill>
                <a:latin typeface="Montserrat" pitchFamily="2" charset="77"/>
              </a:defRPr>
            </a:lvl1pPr>
            <a:lvl2pPr>
              <a:defRPr sz="1800">
                <a:solidFill>
                  <a:schemeClr val="tx2"/>
                </a:solidFill>
                <a:latin typeface="Montserrat" pitchFamily="2" charset="77"/>
              </a:defRPr>
            </a:lvl2pPr>
            <a:lvl3pPr>
              <a:defRPr sz="1600">
                <a:solidFill>
                  <a:schemeClr val="tx2"/>
                </a:solidFill>
                <a:latin typeface="Montserrat" pitchFamily="2" charset="77"/>
              </a:defRPr>
            </a:lvl3pPr>
            <a:lvl4pPr>
              <a:defRPr>
                <a:latin typeface="Montserrat" pitchFamily="2" charset="77"/>
              </a:defRPr>
            </a:lvl4pPr>
            <a:lvl5pPr>
              <a:defRPr>
                <a:latin typeface="Montserrat" pitchFamily="2" charset="77"/>
              </a:defRPr>
            </a:lvl5pPr>
          </a:lstStyle>
          <a:p>
            <a:pPr lvl="0"/>
            <a:r>
              <a:rPr lang="it-IT"/>
              <a:t>Fare clic per modificare gli stili del testo dello schema</a:t>
            </a:r>
          </a:p>
          <a:p>
            <a:pPr lvl="1"/>
            <a:r>
              <a:rPr lang="it-IT"/>
              <a:t>Secondo livello</a:t>
            </a:r>
          </a:p>
          <a:p>
            <a:pPr lvl="2"/>
            <a:r>
              <a:rPr lang="it-IT"/>
              <a:t>Terzo livello</a:t>
            </a:r>
          </a:p>
        </p:txBody>
      </p:sp>
      <p:sp>
        <p:nvSpPr>
          <p:cNvPr id="21" name="Content Placeholder 5"/>
          <p:cNvSpPr>
            <a:spLocks noGrp="1"/>
          </p:cNvSpPr>
          <p:nvPr>
            <p:ph sz="quarter" idx="10"/>
          </p:nvPr>
        </p:nvSpPr>
        <p:spPr>
          <a:xfrm>
            <a:off x="265418" y="2510632"/>
            <a:ext cx="5183188" cy="3684588"/>
          </a:xfrm>
          <a:prstGeom prst="rect">
            <a:avLst/>
          </a:prstGeom>
        </p:spPr>
        <p:txBody>
          <a:bodyPr/>
          <a:lstStyle>
            <a:lvl1pPr>
              <a:defRPr sz="2000">
                <a:solidFill>
                  <a:schemeClr val="tx2"/>
                </a:solidFill>
                <a:latin typeface="Montserrat" pitchFamily="2" charset="77"/>
              </a:defRPr>
            </a:lvl1pPr>
            <a:lvl2pPr>
              <a:defRPr sz="1800">
                <a:solidFill>
                  <a:schemeClr val="tx2"/>
                </a:solidFill>
                <a:latin typeface="Montserrat" pitchFamily="2" charset="77"/>
              </a:defRPr>
            </a:lvl2pPr>
            <a:lvl3pPr>
              <a:defRPr sz="1600">
                <a:solidFill>
                  <a:schemeClr val="tx2"/>
                </a:solidFill>
                <a:latin typeface="Montserrat" pitchFamily="2" charset="77"/>
              </a:defRPr>
            </a:lvl3pPr>
            <a:lvl4pPr>
              <a:defRPr>
                <a:latin typeface="Montserrat" pitchFamily="2" charset="77"/>
              </a:defRPr>
            </a:lvl4pPr>
            <a:lvl5pPr>
              <a:defRPr>
                <a:latin typeface="Montserrat" pitchFamily="2" charset="77"/>
              </a:defRPr>
            </a:lvl5pPr>
          </a:lstStyle>
          <a:p>
            <a:pPr lvl="0"/>
            <a:r>
              <a:rPr lang="it-IT"/>
              <a:t>Fare clic per modificare gli stili del testo dello schema</a:t>
            </a:r>
          </a:p>
          <a:p>
            <a:pPr lvl="1"/>
            <a:r>
              <a:rPr lang="it-IT"/>
              <a:t>Secondo livello</a:t>
            </a:r>
          </a:p>
          <a:p>
            <a:pPr lvl="2"/>
            <a:r>
              <a:rPr lang="it-IT"/>
              <a:t>Terzo livello</a:t>
            </a:r>
          </a:p>
        </p:txBody>
      </p:sp>
    </p:spTree>
    <p:extLst>
      <p:ext uri="{BB962C8B-B14F-4D97-AF65-F5344CB8AC3E}">
        <p14:creationId xmlns:p14="http://schemas.microsoft.com/office/powerpoint/2010/main" val="3524585473"/>
      </p:ext>
    </p:extLst>
  </p:cSld>
  <p:clrMapOvr>
    <a:masterClrMapping/>
  </p:clrMapOvr>
  <mc:AlternateContent xmlns:mc="http://schemas.openxmlformats.org/markup-compatibility/2006" xmlns:p14="http://schemas.microsoft.com/office/powerpoint/2010/main">
    <mc:Choice Requires="p14">
      <p:transition spd="slow" p14:dur="1250">
        <p14:reveal/>
      </p:transition>
    </mc:Choice>
    <mc:Fallback xmlns="">
      <p:transition spd="slow">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Chart Title, Text &amp; Graphics 01">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5611342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9" name="think-cell Slide" r:id="rId4" imgW="353" imgH="318" progId="TCLayout.ActiveDocument.1">
                  <p:embed/>
                </p:oleObj>
              </mc:Choice>
              <mc:Fallback>
                <p:oleObj name="think-cell Slide" r:id="rId4" imgW="353" imgH="318"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5" name="Picture 6" descr="Understanding the CMS and ONC Interoperability Rules for Payers"/>
          <p:cNvPicPr>
            <a:picLocks noChangeAspect="1" noChangeArrowheads="1"/>
          </p:cNvPicPr>
          <p:nvPr userDrawn="1"/>
        </p:nvPicPr>
        <p:blipFill rotWithShape="1">
          <a:blip r:embed="rId6">
            <a:duotone>
              <a:schemeClr val="accent3">
                <a:shade val="45000"/>
                <a:satMod val="135000"/>
              </a:schemeClr>
              <a:prstClr val="white"/>
            </a:duotone>
            <a:extLst>
              <a:ext uri="{28A0092B-C50C-407E-A947-70E740481C1C}">
                <a14:useLocalDpi xmlns:a14="http://schemas.microsoft.com/office/drawing/2010/main" val="0"/>
              </a:ext>
            </a:extLst>
          </a:blip>
          <a:srcRect b="-88"/>
          <a:stretch/>
        </p:blipFill>
        <p:spPr bwMode="auto">
          <a:xfrm>
            <a:off x="-10055" y="0"/>
            <a:ext cx="12202055" cy="6870700"/>
          </a:xfrm>
          <a:prstGeom prst="rect">
            <a:avLst/>
          </a:prstGeom>
          <a:solidFill>
            <a:schemeClr val="bg1">
              <a:alpha val="56000"/>
            </a:schemeClr>
          </a:solidFill>
        </p:spPr>
      </p:pic>
      <p:pic>
        <p:nvPicPr>
          <p:cNvPr id="11" name="Immagine 4" descr="Immagine che contiene freccia&#10;&#10;Descrizione generata automaticamente">
            <a:extLst>
              <a:ext uri="{FF2B5EF4-FFF2-40B4-BE49-F238E27FC236}">
                <a16:creationId xmlns:a16="http://schemas.microsoft.com/office/drawing/2014/main" id="{1A09EE3A-23CE-334A-AE02-43F5DDDDA789}"/>
              </a:ext>
            </a:extLst>
          </p:cNvPr>
          <p:cNvPicPr>
            <a:picLocks noChangeAspect="1" noChangeArrowheads="1"/>
          </p:cNvPicPr>
          <p:nvPr userDrawn="1"/>
        </p:nvPicPr>
        <p:blipFill>
          <a:blip r:embed="rId7" cstate="screen">
            <a:alphaModFix amt="10000"/>
            <a:extLst>
              <a:ext uri="{28A0092B-C50C-407E-A947-70E740481C1C}">
                <a14:useLocalDpi xmlns:a14="http://schemas.microsoft.com/office/drawing/2010/main"/>
              </a:ext>
            </a:extLst>
          </a:blip>
          <a:srcRect t="-5206" r="-22588"/>
          <a:stretch>
            <a:fillRect/>
          </a:stretch>
        </p:blipFill>
        <p:spPr bwMode="auto">
          <a:xfrm>
            <a:off x="0" y="3582988"/>
            <a:ext cx="3551238" cy="3275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Immagine 1">
            <a:extLst>
              <a:ext uri="{FF2B5EF4-FFF2-40B4-BE49-F238E27FC236}">
                <a16:creationId xmlns:a16="http://schemas.microsoft.com/office/drawing/2014/main" id="{4F8EBA92-CADC-044B-8BFD-A68D0D24E370}"/>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5030788" y="6488113"/>
            <a:ext cx="213042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Immagine 2">
            <a:extLst>
              <a:ext uri="{FF2B5EF4-FFF2-40B4-BE49-F238E27FC236}">
                <a16:creationId xmlns:a16="http://schemas.microsoft.com/office/drawing/2014/main" id="{BD6A18FA-5510-234A-AA4C-3B74B12B78EC}"/>
              </a:ext>
            </a:extLst>
          </p:cNvPr>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10477500" y="265113"/>
            <a:ext cx="1352550" cy="506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Segnaposto numero diapositiva 5">
            <a:extLst>
              <a:ext uri="{FF2B5EF4-FFF2-40B4-BE49-F238E27FC236}">
                <a16:creationId xmlns:a16="http://schemas.microsoft.com/office/drawing/2014/main" id="{DEA462BC-A894-BD4D-A7C6-5427DE793DE3}"/>
              </a:ext>
            </a:extLst>
          </p:cNvPr>
          <p:cNvSpPr txBox="1">
            <a:spLocks/>
          </p:cNvSpPr>
          <p:nvPr/>
        </p:nvSpPr>
        <p:spPr>
          <a:xfrm>
            <a:off x="9145588" y="6356350"/>
            <a:ext cx="2743200" cy="365125"/>
          </a:xfrm>
          <a:prstGeom prst="rect">
            <a:avLst/>
          </a:prstGeom>
        </p:spPr>
        <p:txBody>
          <a:bodyPr anchor="ctr"/>
          <a:lstStyle>
            <a:defPPr>
              <a:defRPr lang="it-IT"/>
            </a:defPPr>
            <a:lvl1pPr marL="0" algn="r" defTabSz="914400" rtl="0" eaLnBrk="1" latinLnBrk="0" hangingPunct="1">
              <a:defRPr sz="1200" kern="1200">
                <a:solidFill>
                  <a:srgbClr val="0070C0"/>
                </a:solidFill>
                <a:latin typeface="Montserrat" pitchFamily="2"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2329C187-DB58-EB45-8DE9-FB8413A6FD6B}" type="slidenum">
              <a:rPr lang="it-IT" smtClean="0">
                <a:solidFill>
                  <a:schemeClr val="bg1"/>
                </a:solidFill>
              </a:rPr>
              <a:pPr fontAlgn="auto">
                <a:spcBef>
                  <a:spcPts val="0"/>
                </a:spcBef>
                <a:spcAft>
                  <a:spcPts val="0"/>
                </a:spcAft>
                <a:defRPr/>
              </a:pPr>
              <a:t>‹Nr.›</a:t>
            </a:fld>
            <a:endParaRPr lang="it-IT">
              <a:solidFill>
                <a:schemeClr val="bg1"/>
              </a:solidFill>
            </a:endParaRPr>
          </a:p>
        </p:txBody>
      </p:sp>
      <p:sp>
        <p:nvSpPr>
          <p:cNvPr id="12" name="Titolo 1"/>
          <p:cNvSpPr>
            <a:spLocks noGrp="1"/>
          </p:cNvSpPr>
          <p:nvPr>
            <p:ph type="ctrTitle"/>
          </p:nvPr>
        </p:nvSpPr>
        <p:spPr>
          <a:xfrm>
            <a:off x="277289" y="534147"/>
            <a:ext cx="5183187" cy="1141459"/>
          </a:xfrm>
          <a:prstGeom prst="rect">
            <a:avLst/>
          </a:prstGeom>
        </p:spPr>
        <p:txBody>
          <a:bodyPr vert="horz" anchor="b" anchorCtr="0">
            <a:noAutofit/>
          </a:bodyPr>
          <a:lstStyle>
            <a:lvl1pPr algn="l">
              <a:defRPr sz="2800" b="1" i="0">
                <a:solidFill>
                  <a:schemeClr val="tx2"/>
                </a:solidFill>
                <a:latin typeface="Montserrat" pitchFamily="2" charset="77"/>
              </a:defRPr>
            </a:lvl1pPr>
          </a:lstStyle>
          <a:p>
            <a:r>
              <a:rPr lang="it-IT"/>
              <a:t>Fare clic per modificare lo stile del titolo dello schema</a:t>
            </a:r>
          </a:p>
        </p:txBody>
      </p:sp>
      <p:sp>
        <p:nvSpPr>
          <p:cNvPr id="16" name="Text Placeholder 2"/>
          <p:cNvSpPr>
            <a:spLocks noGrp="1"/>
          </p:cNvSpPr>
          <p:nvPr>
            <p:ph type="body" idx="1"/>
          </p:nvPr>
        </p:nvSpPr>
        <p:spPr>
          <a:xfrm>
            <a:off x="265418" y="1681163"/>
            <a:ext cx="5183188" cy="823912"/>
          </a:xfrm>
          <a:prstGeom prst="rect">
            <a:avLst/>
          </a:prstGeom>
        </p:spPr>
        <p:txBody>
          <a:bodyPr anchor="b"/>
          <a:lstStyle>
            <a:lvl1pPr marL="0" indent="0">
              <a:buNone/>
              <a:defRPr sz="2400" b="1">
                <a:solidFill>
                  <a:schemeClr val="tx2"/>
                </a:solidFill>
                <a:latin typeface="Montserrat" pitchFamily="2" charset="77"/>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gli stili del testo dello schema</a:t>
            </a:r>
          </a:p>
        </p:txBody>
      </p:sp>
      <p:sp>
        <p:nvSpPr>
          <p:cNvPr id="17" name="Text Placeholder 4"/>
          <p:cNvSpPr>
            <a:spLocks noGrp="1"/>
          </p:cNvSpPr>
          <p:nvPr>
            <p:ph type="body" sz="quarter" idx="3"/>
          </p:nvPr>
        </p:nvSpPr>
        <p:spPr>
          <a:xfrm>
            <a:off x="6646862" y="1675606"/>
            <a:ext cx="5183188" cy="823912"/>
          </a:xfrm>
          <a:prstGeom prst="rect">
            <a:avLst/>
          </a:prstGeom>
        </p:spPr>
        <p:txBody>
          <a:bodyPr anchor="b"/>
          <a:lstStyle>
            <a:lvl1pPr marL="0" indent="0">
              <a:buNone/>
              <a:defRPr sz="2400" b="1">
                <a:solidFill>
                  <a:schemeClr val="tx2"/>
                </a:solidFill>
                <a:latin typeface="Montserrat" pitchFamily="2" charset="77"/>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gli stili del testo dello schema</a:t>
            </a:r>
          </a:p>
        </p:txBody>
      </p:sp>
      <p:sp>
        <p:nvSpPr>
          <p:cNvPr id="20" name="Content Placeholder 5"/>
          <p:cNvSpPr>
            <a:spLocks noGrp="1"/>
          </p:cNvSpPr>
          <p:nvPr>
            <p:ph sz="quarter" idx="4"/>
          </p:nvPr>
        </p:nvSpPr>
        <p:spPr>
          <a:xfrm>
            <a:off x="6646862" y="2505075"/>
            <a:ext cx="5183188" cy="3684588"/>
          </a:xfrm>
          <a:prstGeom prst="rect">
            <a:avLst/>
          </a:prstGeom>
        </p:spPr>
        <p:txBody>
          <a:bodyPr/>
          <a:lstStyle>
            <a:lvl1pPr>
              <a:defRPr sz="2000">
                <a:solidFill>
                  <a:schemeClr val="tx2"/>
                </a:solidFill>
                <a:latin typeface="Montserrat" pitchFamily="2" charset="77"/>
              </a:defRPr>
            </a:lvl1pPr>
            <a:lvl2pPr>
              <a:defRPr sz="1800">
                <a:solidFill>
                  <a:schemeClr val="tx2"/>
                </a:solidFill>
                <a:latin typeface="Montserrat" pitchFamily="2" charset="77"/>
              </a:defRPr>
            </a:lvl2pPr>
            <a:lvl3pPr>
              <a:defRPr sz="1600">
                <a:solidFill>
                  <a:schemeClr val="tx2"/>
                </a:solidFill>
                <a:latin typeface="Montserrat" pitchFamily="2" charset="77"/>
              </a:defRPr>
            </a:lvl3pPr>
            <a:lvl4pPr>
              <a:defRPr>
                <a:latin typeface="Montserrat" pitchFamily="2" charset="77"/>
              </a:defRPr>
            </a:lvl4pPr>
            <a:lvl5pPr>
              <a:defRPr>
                <a:latin typeface="Montserrat" pitchFamily="2" charset="77"/>
              </a:defRPr>
            </a:lvl5pPr>
          </a:lstStyle>
          <a:p>
            <a:pPr lvl="0"/>
            <a:r>
              <a:rPr lang="it-IT"/>
              <a:t>Fare clic per modificare gli stili del testo dello schema</a:t>
            </a:r>
          </a:p>
          <a:p>
            <a:pPr lvl="1"/>
            <a:r>
              <a:rPr lang="it-IT"/>
              <a:t>Secondo livello</a:t>
            </a:r>
          </a:p>
          <a:p>
            <a:pPr lvl="2"/>
            <a:r>
              <a:rPr lang="it-IT"/>
              <a:t>Terzo livello</a:t>
            </a:r>
          </a:p>
        </p:txBody>
      </p:sp>
      <p:sp>
        <p:nvSpPr>
          <p:cNvPr id="21" name="Content Placeholder 5"/>
          <p:cNvSpPr>
            <a:spLocks noGrp="1"/>
          </p:cNvSpPr>
          <p:nvPr>
            <p:ph sz="quarter" idx="10"/>
          </p:nvPr>
        </p:nvSpPr>
        <p:spPr>
          <a:xfrm>
            <a:off x="265418" y="2510632"/>
            <a:ext cx="5183188" cy="3684588"/>
          </a:xfrm>
          <a:prstGeom prst="rect">
            <a:avLst/>
          </a:prstGeom>
        </p:spPr>
        <p:txBody>
          <a:bodyPr/>
          <a:lstStyle>
            <a:lvl1pPr>
              <a:defRPr sz="2000">
                <a:solidFill>
                  <a:schemeClr val="tx2"/>
                </a:solidFill>
                <a:latin typeface="Montserrat" pitchFamily="2" charset="77"/>
              </a:defRPr>
            </a:lvl1pPr>
            <a:lvl2pPr>
              <a:defRPr sz="1800">
                <a:solidFill>
                  <a:schemeClr val="tx2"/>
                </a:solidFill>
                <a:latin typeface="Montserrat" pitchFamily="2" charset="77"/>
              </a:defRPr>
            </a:lvl2pPr>
            <a:lvl3pPr>
              <a:defRPr sz="1600">
                <a:solidFill>
                  <a:schemeClr val="tx2"/>
                </a:solidFill>
                <a:latin typeface="Montserrat" pitchFamily="2" charset="77"/>
              </a:defRPr>
            </a:lvl3pPr>
            <a:lvl4pPr>
              <a:defRPr>
                <a:latin typeface="Montserrat" pitchFamily="2" charset="77"/>
              </a:defRPr>
            </a:lvl4pPr>
            <a:lvl5pPr>
              <a:defRPr>
                <a:latin typeface="Montserrat" pitchFamily="2" charset="77"/>
              </a:defRPr>
            </a:lvl5pPr>
          </a:lstStyle>
          <a:p>
            <a:pPr lvl="0"/>
            <a:r>
              <a:rPr lang="it-IT"/>
              <a:t>Fare clic per modificare gli stili del testo dello schema</a:t>
            </a:r>
          </a:p>
          <a:p>
            <a:pPr lvl="1"/>
            <a:r>
              <a:rPr lang="it-IT"/>
              <a:t>Secondo livello</a:t>
            </a:r>
          </a:p>
          <a:p>
            <a:pPr lvl="2"/>
            <a:r>
              <a:rPr lang="it-IT"/>
              <a:t>Terzo livello</a:t>
            </a:r>
          </a:p>
        </p:txBody>
      </p:sp>
    </p:spTree>
    <p:extLst>
      <p:ext uri="{BB962C8B-B14F-4D97-AF65-F5344CB8AC3E}">
        <p14:creationId xmlns:p14="http://schemas.microsoft.com/office/powerpoint/2010/main" val="1480641946"/>
      </p:ext>
    </p:extLst>
  </p:cSld>
  <p:clrMapOvr>
    <a:masterClrMapping/>
  </p:clrMapOvr>
  <mc:AlternateContent xmlns:mc="http://schemas.openxmlformats.org/markup-compatibility/2006" xmlns:p14="http://schemas.microsoft.com/office/powerpoint/2010/main">
    <mc:Choice Requires="p14">
      <p:transition spd="slow" p14:dur="1250">
        <p14:reveal/>
      </p:transition>
    </mc:Choice>
    <mc:Fallback xmlns="">
      <p:transition spd="slow">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3_FULLPAGE">
    <p:spTree>
      <p:nvGrpSpPr>
        <p:cNvPr id="1" name=""/>
        <p:cNvGrpSpPr/>
        <p:nvPr/>
      </p:nvGrpSpPr>
      <p:grpSpPr>
        <a:xfrm>
          <a:off x="0" y="0"/>
          <a:ext cx="0" cy="0"/>
          <a:chOff x="0" y="0"/>
          <a:chExt cx="0" cy="0"/>
        </a:xfrm>
      </p:grpSpPr>
      <p:sp>
        <p:nvSpPr>
          <p:cNvPr id="6" name="Titolo 1">
            <a:extLst>
              <a:ext uri="{FF2B5EF4-FFF2-40B4-BE49-F238E27FC236}">
                <a16:creationId xmlns:a16="http://schemas.microsoft.com/office/drawing/2014/main" id="{CC510423-36BA-45C6-B547-20CB7FA54215}"/>
              </a:ext>
            </a:extLst>
          </p:cNvPr>
          <p:cNvSpPr>
            <a:spLocks noGrp="1"/>
          </p:cNvSpPr>
          <p:nvPr>
            <p:ph type="title"/>
          </p:nvPr>
        </p:nvSpPr>
        <p:spPr>
          <a:xfrm>
            <a:off x="499402" y="316621"/>
            <a:ext cx="11692598" cy="412381"/>
          </a:xfrm>
          <a:prstGeom prst="rect">
            <a:avLst/>
          </a:prstGeom>
        </p:spPr>
        <p:txBody>
          <a:bodyPr/>
          <a:lstStyle>
            <a:lvl1pPr marL="0" indent="0" algn="l" defTabSz="914400" rtl="0" eaLnBrk="1" latinLnBrk="0" hangingPunct="1">
              <a:lnSpc>
                <a:spcPct val="85000"/>
              </a:lnSpc>
              <a:spcBef>
                <a:spcPct val="0"/>
              </a:spcBef>
              <a:spcAft>
                <a:spcPts val="200"/>
              </a:spcAft>
              <a:buClr>
                <a:schemeClr val="accent1"/>
              </a:buClr>
              <a:buSzPct val="100000"/>
              <a:buFont typeface="Calibri" panose="020F0502020204030204" pitchFamily="34" charset="0"/>
              <a:buNone/>
              <a:defRPr lang="it-IT" sz="3200" b="1" kern="1200" spc="20" baseline="0" dirty="0">
                <a:solidFill>
                  <a:srgbClr val="125092"/>
                </a:solidFill>
                <a:latin typeface="Calibri" panose="020F0502020204030204" pitchFamily="34" charset="0"/>
                <a:ea typeface="+mj-ea"/>
                <a:cs typeface="Calibri" panose="020F0502020204030204" pitchFamily="34" charset="0"/>
              </a:defRPr>
            </a:lvl1pPr>
          </a:lstStyle>
          <a:p>
            <a:r>
              <a:rPr lang="it-IT"/>
              <a:t>Fare clic per modificare lo stile del titolo dello schema</a:t>
            </a:r>
          </a:p>
        </p:txBody>
      </p:sp>
      <p:sp>
        <p:nvSpPr>
          <p:cNvPr id="7" name="Figura a mano libera: forma 6">
            <a:extLst>
              <a:ext uri="{FF2B5EF4-FFF2-40B4-BE49-F238E27FC236}">
                <a16:creationId xmlns:a16="http://schemas.microsoft.com/office/drawing/2014/main" id="{6118C1E7-66DD-474E-A6AA-587E0DA6728C}"/>
              </a:ext>
            </a:extLst>
          </p:cNvPr>
          <p:cNvSpPr/>
          <p:nvPr userDrawn="1"/>
        </p:nvSpPr>
        <p:spPr>
          <a:xfrm>
            <a:off x="0" y="67263"/>
            <a:ext cx="232117" cy="911096"/>
          </a:xfrm>
          <a:custGeom>
            <a:avLst/>
            <a:gdLst>
              <a:gd name="connsiteX0" fmla="*/ 0 w 394692"/>
              <a:gd name="connsiteY0" fmla="*/ 0 h 1828802"/>
              <a:gd name="connsiteX1" fmla="*/ 394692 w 394692"/>
              <a:gd name="connsiteY1" fmla="*/ 914402 h 1828802"/>
              <a:gd name="connsiteX2" fmla="*/ 0 w 394692"/>
              <a:gd name="connsiteY2" fmla="*/ 1828802 h 1828802"/>
              <a:gd name="connsiteX3" fmla="*/ 0 w 394692"/>
              <a:gd name="connsiteY3" fmla="*/ 0 h 1828802"/>
            </a:gdLst>
            <a:ahLst/>
            <a:cxnLst>
              <a:cxn ang="0">
                <a:pos x="connsiteX0" y="connsiteY0"/>
              </a:cxn>
              <a:cxn ang="0">
                <a:pos x="connsiteX1" y="connsiteY1"/>
              </a:cxn>
              <a:cxn ang="0">
                <a:pos x="connsiteX2" y="connsiteY2"/>
              </a:cxn>
              <a:cxn ang="0">
                <a:pos x="connsiteX3" y="connsiteY3"/>
              </a:cxn>
            </a:cxnLst>
            <a:rect l="l" t="t" r="r" b="b"/>
            <a:pathLst>
              <a:path w="394692" h="1828802">
                <a:moveTo>
                  <a:pt x="0" y="0"/>
                </a:moveTo>
                <a:cubicBezTo>
                  <a:pt x="8336" y="454023"/>
                  <a:pt x="391715" y="627230"/>
                  <a:pt x="394692" y="914402"/>
                </a:cubicBezTo>
                <a:cubicBezTo>
                  <a:pt x="395289" y="1201579"/>
                  <a:pt x="8336" y="1374779"/>
                  <a:pt x="0" y="1828802"/>
                </a:cubicBezTo>
                <a:lnTo>
                  <a:pt x="0" y="0"/>
                </a:lnTo>
                <a:close/>
              </a:path>
            </a:pathLst>
          </a:custGeom>
          <a:gradFill>
            <a:gsLst>
              <a:gs pos="0">
                <a:schemeClr val="accent1">
                  <a:lumMod val="60000"/>
                  <a:lumOff val="40000"/>
                </a:schemeClr>
              </a:gs>
              <a:gs pos="99000">
                <a:schemeClr val="accent1"/>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350">
              <a:latin typeface="Calibri" panose="020F0502020204030204" pitchFamily="34" charset="0"/>
              <a:cs typeface="Calibri" panose="020F0502020204030204" pitchFamily="34" charset="0"/>
            </a:endParaRPr>
          </a:p>
        </p:txBody>
      </p:sp>
      <p:sp>
        <p:nvSpPr>
          <p:cNvPr id="8" name="Freeform 12">
            <a:extLst>
              <a:ext uri="{FF2B5EF4-FFF2-40B4-BE49-F238E27FC236}">
                <a16:creationId xmlns:a16="http://schemas.microsoft.com/office/drawing/2014/main" id="{0C24F1ED-DAF9-48A7-A744-937F3A958356}"/>
              </a:ext>
            </a:extLst>
          </p:cNvPr>
          <p:cNvSpPr>
            <a:spLocks/>
          </p:cNvSpPr>
          <p:nvPr userDrawn="1"/>
        </p:nvSpPr>
        <p:spPr bwMode="auto">
          <a:xfrm>
            <a:off x="77680" y="457996"/>
            <a:ext cx="76755" cy="129630"/>
          </a:xfrm>
          <a:custGeom>
            <a:avLst/>
            <a:gdLst>
              <a:gd name="T0" fmla="*/ 71438 w 21"/>
              <a:gd name="T1" fmla="*/ 62049 h 35"/>
              <a:gd name="T2" fmla="*/ 13607 w 21"/>
              <a:gd name="T3" fmla="*/ 120650 h 35"/>
              <a:gd name="T4" fmla="*/ 10205 w 21"/>
              <a:gd name="T5" fmla="*/ 120650 h 35"/>
              <a:gd name="T6" fmla="*/ 6804 w 21"/>
              <a:gd name="T7" fmla="*/ 120650 h 35"/>
              <a:gd name="T8" fmla="*/ 3402 w 21"/>
              <a:gd name="T9" fmla="*/ 113756 h 35"/>
              <a:gd name="T10" fmla="*/ 0 w 21"/>
              <a:gd name="T11" fmla="*/ 110309 h 35"/>
              <a:gd name="T12" fmla="*/ 3402 w 21"/>
              <a:gd name="T13" fmla="*/ 106861 h 35"/>
              <a:gd name="T14" fmla="*/ 51027 w 21"/>
              <a:gd name="T15" fmla="*/ 58601 h 35"/>
              <a:gd name="T16" fmla="*/ 3402 w 21"/>
              <a:gd name="T17" fmla="*/ 10341 h 35"/>
              <a:gd name="T18" fmla="*/ 0 w 21"/>
              <a:gd name="T19" fmla="*/ 10341 h 35"/>
              <a:gd name="T20" fmla="*/ 3402 w 21"/>
              <a:gd name="T21" fmla="*/ 6894 h 35"/>
              <a:gd name="T22" fmla="*/ 6804 w 21"/>
              <a:gd name="T23" fmla="*/ 0 h 35"/>
              <a:gd name="T24" fmla="*/ 10205 w 21"/>
              <a:gd name="T25" fmla="*/ 0 h 35"/>
              <a:gd name="T26" fmla="*/ 13607 w 21"/>
              <a:gd name="T27" fmla="*/ 0 h 35"/>
              <a:gd name="T28" fmla="*/ 71438 w 21"/>
              <a:gd name="T29" fmla="*/ 58601 h 35"/>
              <a:gd name="T30" fmla="*/ 71438 w 21"/>
              <a:gd name="T31" fmla="*/ 58601 h 35"/>
              <a:gd name="T32" fmla="*/ 71438 w 21"/>
              <a:gd name="T33" fmla="*/ 62049 h 3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1" h="35">
                <a:moveTo>
                  <a:pt x="21" y="18"/>
                </a:moveTo>
                <a:cubicBezTo>
                  <a:pt x="4" y="35"/>
                  <a:pt x="4" y="35"/>
                  <a:pt x="4" y="35"/>
                </a:cubicBezTo>
                <a:cubicBezTo>
                  <a:pt x="4" y="35"/>
                  <a:pt x="3" y="35"/>
                  <a:pt x="3" y="35"/>
                </a:cubicBezTo>
                <a:cubicBezTo>
                  <a:pt x="3" y="35"/>
                  <a:pt x="3" y="35"/>
                  <a:pt x="2" y="35"/>
                </a:cubicBezTo>
                <a:cubicBezTo>
                  <a:pt x="1" y="33"/>
                  <a:pt x="1" y="33"/>
                  <a:pt x="1" y="33"/>
                </a:cubicBezTo>
                <a:cubicBezTo>
                  <a:pt x="0" y="33"/>
                  <a:pt x="0" y="33"/>
                  <a:pt x="0" y="32"/>
                </a:cubicBezTo>
                <a:cubicBezTo>
                  <a:pt x="0" y="32"/>
                  <a:pt x="0" y="32"/>
                  <a:pt x="1" y="31"/>
                </a:cubicBezTo>
                <a:cubicBezTo>
                  <a:pt x="15" y="17"/>
                  <a:pt x="15" y="17"/>
                  <a:pt x="15" y="17"/>
                </a:cubicBezTo>
                <a:cubicBezTo>
                  <a:pt x="1" y="3"/>
                  <a:pt x="1" y="3"/>
                  <a:pt x="1" y="3"/>
                </a:cubicBezTo>
                <a:cubicBezTo>
                  <a:pt x="0" y="3"/>
                  <a:pt x="0" y="3"/>
                  <a:pt x="0" y="3"/>
                </a:cubicBezTo>
                <a:cubicBezTo>
                  <a:pt x="0" y="2"/>
                  <a:pt x="0" y="2"/>
                  <a:pt x="1" y="2"/>
                </a:cubicBezTo>
                <a:cubicBezTo>
                  <a:pt x="2" y="0"/>
                  <a:pt x="2" y="0"/>
                  <a:pt x="2" y="0"/>
                </a:cubicBezTo>
                <a:cubicBezTo>
                  <a:pt x="3" y="0"/>
                  <a:pt x="3" y="0"/>
                  <a:pt x="3" y="0"/>
                </a:cubicBezTo>
                <a:cubicBezTo>
                  <a:pt x="3" y="0"/>
                  <a:pt x="4" y="0"/>
                  <a:pt x="4" y="0"/>
                </a:cubicBezTo>
                <a:cubicBezTo>
                  <a:pt x="21" y="17"/>
                  <a:pt x="21" y="17"/>
                  <a:pt x="21" y="17"/>
                </a:cubicBezTo>
                <a:cubicBezTo>
                  <a:pt x="21" y="17"/>
                  <a:pt x="21" y="17"/>
                  <a:pt x="21" y="17"/>
                </a:cubicBezTo>
                <a:cubicBezTo>
                  <a:pt x="21" y="18"/>
                  <a:pt x="21" y="18"/>
                  <a:pt x="21" y="1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350">
              <a:latin typeface="Calibri" panose="020F0502020204030204" pitchFamily="34" charset="0"/>
              <a:cs typeface="Calibri" panose="020F0502020204030204" pitchFamily="34" charset="0"/>
            </a:endParaRPr>
          </a:p>
        </p:txBody>
      </p:sp>
      <p:pic>
        <p:nvPicPr>
          <p:cNvPr id="9" name="Immagine 8" descr="Immagine che contiene disegnando, segnale&#10;&#10;Descrizione generata automaticamente">
            <a:extLst>
              <a:ext uri="{FF2B5EF4-FFF2-40B4-BE49-F238E27FC236}">
                <a16:creationId xmlns:a16="http://schemas.microsoft.com/office/drawing/2014/main" id="{2F25C0F1-A6CD-4873-ADE8-FB991403492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0562" y="6391082"/>
            <a:ext cx="1121992" cy="357607"/>
          </a:xfrm>
          <a:prstGeom prst="rect">
            <a:avLst/>
          </a:prstGeom>
        </p:spPr>
      </p:pic>
      <p:sp>
        <p:nvSpPr>
          <p:cNvPr id="10" name="Figura a mano libera: forma 9">
            <a:extLst>
              <a:ext uri="{FF2B5EF4-FFF2-40B4-BE49-F238E27FC236}">
                <a16:creationId xmlns:a16="http://schemas.microsoft.com/office/drawing/2014/main" id="{636455D0-F743-4826-BD63-7A0D4397CFD5}"/>
              </a:ext>
            </a:extLst>
          </p:cNvPr>
          <p:cNvSpPr/>
          <p:nvPr userDrawn="1"/>
        </p:nvSpPr>
        <p:spPr>
          <a:xfrm>
            <a:off x="10583916" y="6420038"/>
            <a:ext cx="1608083" cy="437961"/>
          </a:xfrm>
          <a:custGeom>
            <a:avLst/>
            <a:gdLst>
              <a:gd name="connsiteX0" fmla="*/ 1081730 w 1714406"/>
              <a:gd name="connsiteY0" fmla="*/ 1 h 466918"/>
              <a:gd name="connsiteX1" fmla="*/ 1674736 w 1714406"/>
              <a:gd name="connsiteY1" fmla="*/ 314662 h 466918"/>
              <a:gd name="connsiteX2" fmla="*/ 1714406 w 1714406"/>
              <a:gd name="connsiteY2" fmla="*/ 335792 h 466918"/>
              <a:gd name="connsiteX3" fmla="*/ 1714406 w 1714406"/>
              <a:gd name="connsiteY3" fmla="*/ 466918 h 466918"/>
              <a:gd name="connsiteX4" fmla="*/ 0 w 1714406"/>
              <a:gd name="connsiteY4" fmla="*/ 466918 h 466918"/>
              <a:gd name="connsiteX5" fmla="*/ 1081730 w 1714406"/>
              <a:gd name="connsiteY5" fmla="*/ 1 h 466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14406" h="466918">
                <a:moveTo>
                  <a:pt x="1081730" y="1"/>
                </a:moveTo>
                <a:cubicBezTo>
                  <a:pt x="1294060" y="-441"/>
                  <a:pt x="1453720" y="178207"/>
                  <a:pt x="1674736" y="314662"/>
                </a:cubicBezTo>
                <a:lnTo>
                  <a:pt x="1714406" y="335792"/>
                </a:lnTo>
                <a:lnTo>
                  <a:pt x="1714406" y="466918"/>
                </a:lnTo>
                <a:lnTo>
                  <a:pt x="0" y="466918"/>
                </a:lnTo>
                <a:cubicBezTo>
                  <a:pt x="537106" y="457056"/>
                  <a:pt x="742008" y="3522"/>
                  <a:pt x="1081730" y="1"/>
                </a:cubicBezTo>
                <a:close/>
              </a:path>
            </a:pathLst>
          </a:custGeom>
          <a:gradFill>
            <a:gsLst>
              <a:gs pos="0">
                <a:srgbClr val="5380C2"/>
              </a:gs>
              <a:gs pos="27000">
                <a:srgbClr val="5380C2"/>
              </a:gs>
              <a:gs pos="100000">
                <a:srgbClr val="125092"/>
              </a:gs>
            </a:gsLst>
            <a:lin ang="21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t-IT">
              <a:latin typeface="Calibri" panose="020F0502020204030204" pitchFamily="34" charset="0"/>
              <a:cs typeface="Calibri" panose="020F0502020204030204" pitchFamily="34" charset="0"/>
            </a:endParaRPr>
          </a:p>
        </p:txBody>
      </p:sp>
      <p:sp>
        <p:nvSpPr>
          <p:cNvPr id="11" name="Slide Number Placeholder 5">
            <a:extLst>
              <a:ext uri="{FF2B5EF4-FFF2-40B4-BE49-F238E27FC236}">
                <a16:creationId xmlns:a16="http://schemas.microsoft.com/office/drawing/2014/main" id="{E1E2C224-FCEA-40F5-85C0-D7D0B41DE4B2}"/>
              </a:ext>
            </a:extLst>
          </p:cNvPr>
          <p:cNvSpPr txBox="1">
            <a:spLocks/>
          </p:cNvSpPr>
          <p:nvPr userDrawn="1"/>
        </p:nvSpPr>
        <p:spPr>
          <a:xfrm>
            <a:off x="11306786" y="6535531"/>
            <a:ext cx="576776" cy="213158"/>
          </a:xfrm>
          <a:prstGeom prst="rect">
            <a:avLst/>
          </a:prstGeom>
          <a:noFill/>
        </p:spPr>
        <p:txBody>
          <a:bodyPr lIns="0" tIns="0" rIns="0" bIns="0" anchor="ctr" anchorCtr="0">
            <a:normAutofit/>
          </a:bodyPr>
          <a:lstStyle>
            <a:defPPr>
              <a:defRPr lang="en-US"/>
            </a:defPPr>
            <a:lvl1pPr marL="0" algn="ctr" defTabSz="457200" rtl="0" eaLnBrk="1" latinLnBrk="0" hangingPunct="1">
              <a:defRPr sz="9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7875E89A-3209-45B2-AFB0-8EF2492134E1}" type="slidenum">
              <a:rPr lang="en-IN" sz="1000" b="1" smtClean="0">
                <a:solidFill>
                  <a:schemeClr val="bg1"/>
                </a:solidFill>
                <a:latin typeface="Calibri" panose="020F0502020204030204" pitchFamily="34" charset="0"/>
                <a:cs typeface="Calibri" panose="020F0502020204030204" pitchFamily="34" charset="0"/>
              </a:rPr>
              <a:pPr/>
              <a:t>‹Nr.›</a:t>
            </a:fld>
            <a:endParaRPr lang="en-IN" b="1">
              <a:solidFill>
                <a:schemeClr val="bg1"/>
              </a:solidFill>
              <a:latin typeface="Calibri" panose="020F0502020204030204" pitchFamily="34" charset="0"/>
              <a:cs typeface="Calibri" panose="020F0502020204030204" pitchFamily="34" charset="0"/>
            </a:endParaRPr>
          </a:p>
        </p:txBody>
      </p:sp>
      <p:pic>
        <p:nvPicPr>
          <p:cNvPr id="12" name="Elemento grafico 11">
            <a:extLst>
              <a:ext uri="{FF2B5EF4-FFF2-40B4-BE49-F238E27FC236}">
                <a16:creationId xmlns:a16="http://schemas.microsoft.com/office/drawing/2014/main" id="{01734EEE-AAD4-4470-BADC-1C67AFE57571}"/>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053523" y="6463306"/>
            <a:ext cx="2084954" cy="213158"/>
          </a:xfrm>
          <a:prstGeom prst="rect">
            <a:avLst/>
          </a:prstGeom>
        </p:spPr>
      </p:pic>
      <p:sp>
        <p:nvSpPr>
          <p:cNvPr id="13" name="Segnaposto testo 3">
            <a:extLst>
              <a:ext uri="{FF2B5EF4-FFF2-40B4-BE49-F238E27FC236}">
                <a16:creationId xmlns:a16="http://schemas.microsoft.com/office/drawing/2014/main" id="{55E6A26F-CD77-479C-BC9F-9DE1BF887BFA}"/>
              </a:ext>
            </a:extLst>
          </p:cNvPr>
          <p:cNvSpPr>
            <a:spLocks noGrp="1"/>
          </p:cNvSpPr>
          <p:nvPr>
            <p:ph type="body" sz="quarter" idx="10"/>
          </p:nvPr>
        </p:nvSpPr>
        <p:spPr>
          <a:xfrm>
            <a:off x="500063" y="1468438"/>
            <a:ext cx="11096192" cy="4572000"/>
          </a:xfrm>
        </p:spPr>
        <p:txBody>
          <a:bodyPr>
            <a:normAutofit/>
          </a:bodyPr>
          <a:lstStyle>
            <a:lvl1pPr>
              <a:defRPr sz="2400"/>
            </a:lvl1pPr>
            <a:lvl2pPr>
              <a:defRPr sz="2000"/>
            </a:lvl2pPr>
            <a:lvl3pPr>
              <a:defRPr sz="1800"/>
            </a:lvl3pPr>
            <a:lvl4pPr>
              <a:defRPr sz="1200"/>
            </a:lvl4pPr>
            <a:lvl5pPr>
              <a:defRPr sz="1200"/>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Tree>
    <p:extLst>
      <p:ext uri="{BB962C8B-B14F-4D97-AF65-F5344CB8AC3E}">
        <p14:creationId xmlns:p14="http://schemas.microsoft.com/office/powerpoint/2010/main" val="913352763"/>
      </p:ext>
    </p:extLst>
  </p:cSld>
  <p:clrMapOvr>
    <a:masterClrMapping/>
  </p:clrMapOvr>
  <mc:AlternateContent xmlns:mc="http://schemas.openxmlformats.org/markup-compatibility/2006" xmlns:p14="http://schemas.microsoft.com/office/powerpoint/2010/main">
    <mc:Choice Requires="p14">
      <p:transition spd="slow" p14:dur="1250">
        <p14:reveal/>
      </p:transition>
    </mc:Choice>
    <mc:Fallback xmlns="">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White Background">
    <p:spTree>
      <p:nvGrpSpPr>
        <p:cNvPr id="1" name=""/>
        <p:cNvGrpSpPr/>
        <p:nvPr/>
      </p:nvGrpSpPr>
      <p:grpSpPr>
        <a:xfrm>
          <a:off x="0" y="0"/>
          <a:ext cx="0" cy="0"/>
          <a:chOff x="0" y="0"/>
          <a:chExt cx="0" cy="0"/>
        </a:xfrm>
      </p:grpSpPr>
      <p:pic>
        <p:nvPicPr>
          <p:cNvPr id="17" name="Immagine 4">
            <a:extLst>
              <a:ext uri="{FF2B5EF4-FFF2-40B4-BE49-F238E27FC236}">
                <a16:creationId xmlns:a16="http://schemas.microsoft.com/office/drawing/2014/main" id="{61438ECA-CAE9-E946-8FF2-14042F4EC51C}"/>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p:blipFill>
        <p:spPr bwMode="auto">
          <a:xfrm>
            <a:off x="10477500" y="302656"/>
            <a:ext cx="1352549" cy="431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olo 1">
            <a:extLst>
              <a:ext uri="{FF2B5EF4-FFF2-40B4-BE49-F238E27FC236}">
                <a16:creationId xmlns:a16="http://schemas.microsoft.com/office/drawing/2014/main" id="{9D4A86F5-83AF-4BC1-B9AB-27002FBFB086}"/>
              </a:ext>
            </a:extLst>
          </p:cNvPr>
          <p:cNvSpPr>
            <a:spLocks noGrp="1"/>
          </p:cNvSpPr>
          <p:nvPr>
            <p:ph type="ctrTitle" hasCustomPrompt="1"/>
          </p:nvPr>
        </p:nvSpPr>
        <p:spPr>
          <a:xfrm>
            <a:off x="520377" y="1117526"/>
            <a:ext cx="2837633" cy="456632"/>
          </a:xfrm>
          <a:prstGeom prst="rect">
            <a:avLst/>
          </a:prstGeom>
        </p:spPr>
        <p:txBody>
          <a:bodyPr anchor="t" anchorCtr="0">
            <a:noAutofit/>
          </a:bodyPr>
          <a:lstStyle>
            <a:lvl1pPr algn="l">
              <a:defRPr sz="2400" b="1" i="0">
                <a:solidFill>
                  <a:schemeClr val="accent1"/>
                </a:solidFill>
                <a:latin typeface="Montserrat" pitchFamily="2" charset="77"/>
              </a:defRPr>
            </a:lvl1pPr>
          </a:lstStyle>
          <a:p>
            <a:r>
              <a:rPr lang="it-IT" dirty="0"/>
              <a:t>LOREM IPSUM</a:t>
            </a:r>
          </a:p>
        </p:txBody>
      </p:sp>
      <p:pic>
        <p:nvPicPr>
          <p:cNvPr id="14" name="Immagine 4">
            <a:extLst>
              <a:ext uri="{FF2B5EF4-FFF2-40B4-BE49-F238E27FC236}">
                <a16:creationId xmlns:a16="http://schemas.microsoft.com/office/drawing/2014/main" id="{261B5817-CBB6-437D-8B67-B39A1582BFE0}"/>
              </a:ext>
            </a:extLst>
          </p:cNvPr>
          <p:cNvPicPr>
            <a:picLocks noChangeAspect="1" noChangeArrowheads="1"/>
          </p:cNvPicPr>
          <p:nvPr userDrawn="1"/>
        </p:nvPicPr>
        <p:blipFill>
          <a:blip r:embed="rId3" cstate="screen">
            <a:extLst>
              <a:ext uri="{28A0092B-C50C-407E-A947-70E740481C1C}">
                <a14:useLocalDpi xmlns:a14="http://schemas.microsoft.com/office/drawing/2010/main"/>
              </a:ext>
            </a:extLst>
          </a:blip>
          <a:srcRect l="17" r="17"/>
          <a:stretch/>
        </p:blipFill>
        <p:spPr bwMode="auto">
          <a:xfrm>
            <a:off x="0" y="3726791"/>
            <a:ext cx="3395306" cy="3131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Segnaposto numero diapositiva 5">
            <a:extLst>
              <a:ext uri="{FF2B5EF4-FFF2-40B4-BE49-F238E27FC236}">
                <a16:creationId xmlns:a16="http://schemas.microsoft.com/office/drawing/2014/main" id="{457A96CB-58A7-4222-91FF-A0C1526118B7}"/>
              </a:ext>
            </a:extLst>
          </p:cNvPr>
          <p:cNvSpPr txBox="1">
            <a:spLocks/>
          </p:cNvSpPr>
          <p:nvPr userDrawn="1"/>
        </p:nvSpPr>
        <p:spPr>
          <a:xfrm>
            <a:off x="9145588" y="6356350"/>
            <a:ext cx="2743200" cy="365125"/>
          </a:xfrm>
          <a:prstGeom prst="rect">
            <a:avLst/>
          </a:prstGeom>
        </p:spPr>
        <p:txBody>
          <a:bodyPr anchor="ctr"/>
          <a:lstStyle>
            <a:defPPr>
              <a:defRPr lang="it-IT"/>
            </a:defPPr>
            <a:lvl1pPr marL="0" algn="r" defTabSz="914400" rtl="0" eaLnBrk="1" latinLnBrk="0" hangingPunct="1">
              <a:defRPr sz="1200" kern="1200">
                <a:solidFill>
                  <a:srgbClr val="0070C0"/>
                </a:solidFill>
                <a:latin typeface="Montserrat" pitchFamily="2"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ACC2F8CE-7A66-6E40-9970-A07E8F047879}" type="slidenum">
              <a:rPr lang="it-IT" smtClean="0"/>
              <a:pPr fontAlgn="auto">
                <a:spcBef>
                  <a:spcPts val="0"/>
                </a:spcBef>
                <a:spcAft>
                  <a:spcPts val="0"/>
                </a:spcAft>
                <a:defRPr/>
              </a:pPr>
              <a:t>‹Nr.›</a:t>
            </a:fld>
            <a:endParaRPr lang="it-IT" dirty="0"/>
          </a:p>
        </p:txBody>
      </p:sp>
      <p:sp>
        <p:nvSpPr>
          <p:cNvPr id="8" name="Content Placeholder 5">
            <a:extLst>
              <a:ext uri="{FF2B5EF4-FFF2-40B4-BE49-F238E27FC236}">
                <a16:creationId xmlns:a16="http://schemas.microsoft.com/office/drawing/2014/main" id="{C6B9937F-57BF-4595-BF68-5CD274A52720}"/>
              </a:ext>
            </a:extLst>
          </p:cNvPr>
          <p:cNvSpPr>
            <a:spLocks noGrp="1"/>
          </p:cNvSpPr>
          <p:nvPr>
            <p:ph sz="quarter" idx="10"/>
          </p:nvPr>
        </p:nvSpPr>
        <p:spPr>
          <a:xfrm>
            <a:off x="520700" y="1981200"/>
            <a:ext cx="10560050" cy="430419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17904839"/>
      </p:ext>
    </p:extLst>
  </p:cSld>
  <p:clrMapOvr>
    <a:masterClrMapping/>
  </p:clrMapOvr>
  <p:transition spd="med">
    <p:pull/>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slideLayout" Target="../slideLayouts/slideLayout22.xml"/><Relationship Id="rId18" Type="http://schemas.openxmlformats.org/officeDocument/2006/relationships/slideLayout" Target="../slideLayouts/slideLayout27.xml"/><Relationship Id="rId3" Type="http://schemas.openxmlformats.org/officeDocument/2006/relationships/slideLayout" Target="../slideLayouts/slideLayout12.xml"/><Relationship Id="rId21" Type="http://schemas.openxmlformats.org/officeDocument/2006/relationships/slideLayout" Target="../slideLayouts/slideLayout30.xml"/><Relationship Id="rId7" Type="http://schemas.openxmlformats.org/officeDocument/2006/relationships/slideLayout" Target="../slideLayouts/slideLayout16.xml"/><Relationship Id="rId12" Type="http://schemas.openxmlformats.org/officeDocument/2006/relationships/slideLayout" Target="../slideLayouts/slideLayout21.xml"/><Relationship Id="rId17" Type="http://schemas.openxmlformats.org/officeDocument/2006/relationships/slideLayout" Target="../slideLayouts/slideLayout26.xml"/><Relationship Id="rId2" Type="http://schemas.openxmlformats.org/officeDocument/2006/relationships/slideLayout" Target="../slideLayouts/slideLayout11.xml"/><Relationship Id="rId16" Type="http://schemas.openxmlformats.org/officeDocument/2006/relationships/slideLayout" Target="../slideLayouts/slideLayout25.xml"/><Relationship Id="rId20" Type="http://schemas.openxmlformats.org/officeDocument/2006/relationships/slideLayout" Target="../slideLayouts/slideLayout29.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slideLayout" Target="../slideLayouts/slideLayout20.xml"/><Relationship Id="rId5" Type="http://schemas.openxmlformats.org/officeDocument/2006/relationships/slideLayout" Target="../slideLayouts/slideLayout14.xml"/><Relationship Id="rId15" Type="http://schemas.openxmlformats.org/officeDocument/2006/relationships/slideLayout" Target="../slideLayouts/slideLayout24.xml"/><Relationship Id="rId23" Type="http://schemas.openxmlformats.org/officeDocument/2006/relationships/theme" Target="../theme/theme2.xml"/><Relationship Id="rId10" Type="http://schemas.openxmlformats.org/officeDocument/2006/relationships/slideLayout" Target="../slideLayouts/slideLayout19.xml"/><Relationship Id="rId19" Type="http://schemas.openxmlformats.org/officeDocument/2006/relationships/slideLayout" Target="../slideLayouts/slideLayout28.xml"/><Relationship Id="rId4" Type="http://schemas.openxmlformats.org/officeDocument/2006/relationships/slideLayout" Target="../slideLayouts/slideLayout13.xml"/><Relationship Id="rId9" Type="http://schemas.openxmlformats.org/officeDocument/2006/relationships/slideLayout" Target="../slideLayouts/slideLayout18.xml"/><Relationship Id="rId14" Type="http://schemas.openxmlformats.org/officeDocument/2006/relationships/slideLayout" Target="../slideLayouts/slideLayout23.xml"/><Relationship Id="rId22" Type="http://schemas.openxmlformats.org/officeDocument/2006/relationships/slideLayout" Target="../slideLayouts/slideLayout3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2"/>
            </p:custDataLst>
            <p:extLst>
              <p:ext uri="{D42A27DB-BD31-4B8C-83A1-F6EECF244321}">
                <p14:modId xmlns:p14="http://schemas.microsoft.com/office/powerpoint/2010/main" val="21535930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7" name="think-cell Slide" r:id="rId13" imgW="353" imgH="318" progId="TCLayout.ActiveDocument.1">
                  <p:embed/>
                </p:oleObj>
              </mc:Choice>
              <mc:Fallback>
                <p:oleObj name="think-cell Slide" r:id="rId13" imgW="353" imgH="318" progId="TCLayout.ActiveDocument.1">
                  <p:embed/>
                  <p:pic>
                    <p:nvPicPr>
                      <p:cNvPr id="3" name="Object 2" hidden="1"/>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GS Doctop Placeholder" hidden="1"/>
          <p:cNvSpPr txBox="1"/>
          <p:nvPr userDrawn="1"/>
        </p:nvSpPr>
        <p:spPr>
          <a:xfrm>
            <a:off x="546100" y="0"/>
            <a:ext cx="5651500" cy="338554"/>
          </a:xfrm>
          <a:prstGeom prst="rect">
            <a:avLst/>
          </a:prstGeom>
          <a:noFill/>
        </p:spPr>
        <p:txBody>
          <a:bodyPr vert="horz" rtlCol="0">
            <a:spAutoFit/>
          </a:bodyPr>
          <a:lstStyle/>
          <a:p>
            <a:pPr algn="l"/>
            <a:r>
              <a:rPr lang="en-US" sz="800" b="0">
                <a:latin typeface="Arial" panose="020B0604020202020204" pitchFamily="34" charset="0"/>
              </a:rPr>
              <a:t>ibdroot\projects\IBD-LN\harper2021\673841_1\Presentation\2021-06-02_Investor Presentation\20210616_Company Presentation_v21.pptx</a:t>
            </a:r>
          </a:p>
        </p:txBody>
      </p:sp>
    </p:spTree>
  </p:cSld>
  <p:clrMap bg1="lt1" tx1="dk1" bg2="lt2" tx2="dk2" accent1="accent1" accent2="accent2" accent3="accent3" accent4="accent4" accent5="accent5" accent6="accent6" hlink="hlink" folHlink="folHlink"/>
  <p:sldLayoutIdLst>
    <p:sldLayoutId id="2147483730" r:id="rId1"/>
    <p:sldLayoutId id="2147483740" r:id="rId2"/>
    <p:sldLayoutId id="2147483741" r:id="rId3"/>
    <p:sldLayoutId id="2147483746" r:id="rId4"/>
    <p:sldLayoutId id="2147483742" r:id="rId5"/>
    <p:sldLayoutId id="2147483744" r:id="rId6"/>
    <p:sldLayoutId id="2147483743" r:id="rId7"/>
    <p:sldLayoutId id="2147483766" r:id="rId8"/>
    <p:sldLayoutId id="2147483768" r:id="rId9"/>
  </p:sldLayoutIdLst>
  <mc:AlternateContent xmlns:mc="http://schemas.openxmlformats.org/markup-compatibility/2006" xmlns:p14="http://schemas.microsoft.com/office/powerpoint/2010/main">
    <mc:Choice Requires="p14">
      <p:transition spd="slow" p14:dur="1250">
        <p14:reveal/>
      </p:transition>
    </mc:Choice>
    <mc:Fallback xmlns="">
      <p:transition spd="slow">
        <p:fade/>
      </p:transition>
    </mc:Fallback>
  </mc:AlternateContent>
  <p:hf hdr="0" ftr="0" dt="0"/>
  <p:txStyles>
    <p:titleStyle>
      <a:lvl1pPr algn="l" rtl="0" eaLnBrk="1" fontAlgn="base" hangingPunct="1">
        <a:lnSpc>
          <a:spcPct val="90000"/>
        </a:lnSpc>
        <a:spcBef>
          <a:spcPct val="0"/>
        </a:spcBef>
        <a:spcAft>
          <a:spcPct val="0"/>
        </a:spcAft>
        <a:defRPr sz="4400" kern="1200">
          <a:solidFill>
            <a:schemeClr val="tx1"/>
          </a:solidFill>
          <a:latin typeface="Montserrat" pitchFamily="2" charset="77"/>
          <a:ea typeface="+mj-ea"/>
          <a:cs typeface="+mj-cs"/>
        </a:defRPr>
      </a:lvl1pPr>
      <a:lvl2pPr algn="l" rtl="0" eaLnBrk="1" fontAlgn="base" hangingPunct="1">
        <a:lnSpc>
          <a:spcPct val="90000"/>
        </a:lnSpc>
        <a:spcBef>
          <a:spcPct val="0"/>
        </a:spcBef>
        <a:spcAft>
          <a:spcPct val="0"/>
        </a:spcAft>
        <a:defRPr sz="4400">
          <a:solidFill>
            <a:schemeClr val="tx1"/>
          </a:solidFill>
          <a:latin typeface="Montserrat" panose="00000500000000000000" pitchFamily="2" charset="0"/>
        </a:defRPr>
      </a:lvl2pPr>
      <a:lvl3pPr algn="l" rtl="0" eaLnBrk="1" fontAlgn="base" hangingPunct="1">
        <a:lnSpc>
          <a:spcPct val="90000"/>
        </a:lnSpc>
        <a:spcBef>
          <a:spcPct val="0"/>
        </a:spcBef>
        <a:spcAft>
          <a:spcPct val="0"/>
        </a:spcAft>
        <a:defRPr sz="4400">
          <a:solidFill>
            <a:schemeClr val="tx1"/>
          </a:solidFill>
          <a:latin typeface="Montserrat" panose="00000500000000000000" pitchFamily="2" charset="0"/>
        </a:defRPr>
      </a:lvl3pPr>
      <a:lvl4pPr algn="l" rtl="0" eaLnBrk="1" fontAlgn="base" hangingPunct="1">
        <a:lnSpc>
          <a:spcPct val="90000"/>
        </a:lnSpc>
        <a:spcBef>
          <a:spcPct val="0"/>
        </a:spcBef>
        <a:spcAft>
          <a:spcPct val="0"/>
        </a:spcAft>
        <a:defRPr sz="4400">
          <a:solidFill>
            <a:schemeClr val="tx1"/>
          </a:solidFill>
          <a:latin typeface="Montserrat" panose="00000500000000000000" pitchFamily="2" charset="0"/>
        </a:defRPr>
      </a:lvl4pPr>
      <a:lvl5pPr algn="l" rtl="0" eaLnBrk="1" fontAlgn="base" hangingPunct="1">
        <a:lnSpc>
          <a:spcPct val="90000"/>
        </a:lnSpc>
        <a:spcBef>
          <a:spcPct val="0"/>
        </a:spcBef>
        <a:spcAft>
          <a:spcPct val="0"/>
        </a:spcAft>
        <a:defRPr sz="4400">
          <a:solidFill>
            <a:schemeClr val="tx1"/>
          </a:solidFill>
          <a:latin typeface="Montserrat" panose="00000500000000000000" pitchFamily="2" charset="0"/>
        </a:defRPr>
      </a:lvl5pPr>
      <a:lvl6pPr marL="457200" algn="l" rtl="0" eaLnBrk="1" fontAlgn="base" hangingPunct="1">
        <a:lnSpc>
          <a:spcPct val="90000"/>
        </a:lnSpc>
        <a:spcBef>
          <a:spcPct val="0"/>
        </a:spcBef>
        <a:spcAft>
          <a:spcPct val="0"/>
        </a:spcAft>
        <a:defRPr sz="4400">
          <a:solidFill>
            <a:schemeClr val="tx1"/>
          </a:solidFill>
          <a:latin typeface="Montserrat" panose="00000500000000000000" pitchFamily="2" charset="0"/>
        </a:defRPr>
      </a:lvl6pPr>
      <a:lvl7pPr marL="914400" algn="l" rtl="0" eaLnBrk="1" fontAlgn="base" hangingPunct="1">
        <a:lnSpc>
          <a:spcPct val="90000"/>
        </a:lnSpc>
        <a:spcBef>
          <a:spcPct val="0"/>
        </a:spcBef>
        <a:spcAft>
          <a:spcPct val="0"/>
        </a:spcAft>
        <a:defRPr sz="4400">
          <a:solidFill>
            <a:schemeClr val="tx1"/>
          </a:solidFill>
          <a:latin typeface="Montserrat" panose="00000500000000000000" pitchFamily="2" charset="0"/>
        </a:defRPr>
      </a:lvl7pPr>
      <a:lvl8pPr marL="1371600" algn="l" rtl="0" eaLnBrk="1" fontAlgn="base" hangingPunct="1">
        <a:lnSpc>
          <a:spcPct val="90000"/>
        </a:lnSpc>
        <a:spcBef>
          <a:spcPct val="0"/>
        </a:spcBef>
        <a:spcAft>
          <a:spcPct val="0"/>
        </a:spcAft>
        <a:defRPr sz="4400">
          <a:solidFill>
            <a:schemeClr val="tx1"/>
          </a:solidFill>
          <a:latin typeface="Montserrat" panose="00000500000000000000" pitchFamily="2" charset="0"/>
        </a:defRPr>
      </a:lvl8pPr>
      <a:lvl9pPr marL="1828800" algn="l" rtl="0" eaLnBrk="1" fontAlgn="base" hangingPunct="1">
        <a:lnSpc>
          <a:spcPct val="90000"/>
        </a:lnSpc>
        <a:spcBef>
          <a:spcPct val="0"/>
        </a:spcBef>
        <a:spcAft>
          <a:spcPct val="0"/>
        </a:spcAft>
        <a:defRPr sz="4400">
          <a:solidFill>
            <a:schemeClr val="tx1"/>
          </a:solidFill>
          <a:latin typeface="Montserrat" panose="00000500000000000000" pitchFamily="2" charset="0"/>
        </a:defRPr>
      </a:lvl9pPr>
    </p:titleStyle>
    <p:bodyStyle>
      <a:lvl1pPr marL="228600" indent="-228600" algn="l" rtl="0" eaLnBrk="1" fontAlgn="base" hangingPunct="1">
        <a:lnSpc>
          <a:spcPct val="90000"/>
        </a:lnSpc>
        <a:spcBef>
          <a:spcPts val="1000"/>
        </a:spcBef>
        <a:spcAft>
          <a:spcPct val="0"/>
        </a:spcAft>
        <a:buFont typeface="Arial" panose="020B0604020202020204" pitchFamily="34" charset="0"/>
        <a:buChar char="•"/>
        <a:defRPr sz="2800" kern="1200">
          <a:solidFill>
            <a:schemeClr val="tx1"/>
          </a:solidFill>
          <a:latin typeface="Montserrat" pitchFamily="2" charset="77"/>
          <a:ea typeface="+mn-ea"/>
          <a:cs typeface="+mn-cs"/>
        </a:defRPr>
      </a:lvl1pPr>
      <a:lvl2pPr marL="685800" indent="-228600" algn="l" rtl="0" eaLnBrk="1" fontAlgn="base" hangingPunct="1">
        <a:lnSpc>
          <a:spcPct val="90000"/>
        </a:lnSpc>
        <a:spcBef>
          <a:spcPts val="500"/>
        </a:spcBef>
        <a:spcAft>
          <a:spcPct val="0"/>
        </a:spcAft>
        <a:buFont typeface="Arial" panose="020B0604020202020204" pitchFamily="34" charset="0"/>
        <a:buChar char="•"/>
        <a:defRPr sz="2400" kern="1200">
          <a:solidFill>
            <a:schemeClr val="tx1"/>
          </a:solidFill>
          <a:latin typeface="Montserrat" pitchFamily="2" charset="77"/>
          <a:ea typeface="+mn-ea"/>
          <a:cs typeface="+mn-cs"/>
        </a:defRPr>
      </a:lvl2pPr>
      <a:lvl3pPr marL="1143000" indent="-228600" algn="l" rtl="0" eaLnBrk="1" fontAlgn="base" hangingPunct="1">
        <a:lnSpc>
          <a:spcPct val="90000"/>
        </a:lnSpc>
        <a:spcBef>
          <a:spcPts val="500"/>
        </a:spcBef>
        <a:spcAft>
          <a:spcPct val="0"/>
        </a:spcAft>
        <a:buFont typeface="Arial" panose="020B0604020202020204" pitchFamily="34" charset="0"/>
        <a:buChar char="•"/>
        <a:defRPr sz="2000" kern="1200">
          <a:solidFill>
            <a:schemeClr val="tx1"/>
          </a:solidFill>
          <a:latin typeface="Montserrat" pitchFamily="2" charset="77"/>
          <a:ea typeface="+mn-ea"/>
          <a:cs typeface="+mn-cs"/>
        </a:defRPr>
      </a:lvl3pPr>
      <a:lvl4pPr marL="1600200" indent="-228600" algn="l" rtl="0" eaLnBrk="1" fontAlgn="base" hangingPunct="1">
        <a:lnSpc>
          <a:spcPct val="90000"/>
        </a:lnSpc>
        <a:spcBef>
          <a:spcPts val="500"/>
        </a:spcBef>
        <a:spcAft>
          <a:spcPct val="0"/>
        </a:spcAft>
        <a:buFont typeface="Arial" panose="020B0604020202020204" pitchFamily="34" charset="0"/>
        <a:buChar char="•"/>
        <a:defRPr kern="1200">
          <a:solidFill>
            <a:schemeClr val="tx1"/>
          </a:solidFill>
          <a:latin typeface="Montserrat" pitchFamily="2" charset="77"/>
          <a:ea typeface="+mn-ea"/>
          <a:cs typeface="+mn-cs"/>
        </a:defRPr>
      </a:lvl4pPr>
      <a:lvl5pPr marL="2057400" indent="-228600" algn="l" rtl="0" eaLnBrk="1" fontAlgn="base" hangingPunct="1">
        <a:lnSpc>
          <a:spcPct val="90000"/>
        </a:lnSpc>
        <a:spcBef>
          <a:spcPts val="500"/>
        </a:spcBef>
        <a:spcAft>
          <a:spcPct val="0"/>
        </a:spcAft>
        <a:buFont typeface="Arial" panose="020B0604020202020204" pitchFamily="34" charset="0"/>
        <a:buChar char="•"/>
        <a:defRPr kern="1200">
          <a:solidFill>
            <a:schemeClr val="tx1"/>
          </a:solidFill>
          <a:latin typeface="Montserra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46781738"/>
      </p:ext>
    </p:extLst>
  </p:cSld>
  <p:clrMap bg1="lt1" tx1="dk1" bg2="lt2" tx2="dk2" accent1="accent1" accent2="accent2" accent3="accent3" accent4="accent4" accent5="accent5" accent6="accent6" hlink="hlink" folHlink="folHlink"/>
  <p:sldLayoutIdLst>
    <p:sldLayoutId id="2147483750" r:id="rId1"/>
    <p:sldLayoutId id="2147483751" r:id="rId2"/>
    <p:sldLayoutId id="2147483752" r:id="rId3"/>
    <p:sldLayoutId id="2147483753" r:id="rId4"/>
    <p:sldLayoutId id="2147483754" r:id="rId5"/>
    <p:sldLayoutId id="2147483755" r:id="rId6"/>
    <p:sldLayoutId id="2147483756" r:id="rId7"/>
    <p:sldLayoutId id="2147483757" r:id="rId8"/>
    <p:sldLayoutId id="2147483758" r:id="rId9"/>
    <p:sldLayoutId id="2147483759" r:id="rId10"/>
    <p:sldLayoutId id="2147483760" r:id="rId11"/>
    <p:sldLayoutId id="2147483761" r:id="rId12"/>
    <p:sldLayoutId id="2147483762" r:id="rId13"/>
    <p:sldLayoutId id="2147483763" r:id="rId14"/>
    <p:sldLayoutId id="2147483764" r:id="rId15"/>
    <p:sldLayoutId id="2147483765" r:id="rId16"/>
    <p:sldLayoutId id="2147483767" r:id="rId17"/>
    <p:sldLayoutId id="2147483769" r:id="rId18"/>
    <p:sldLayoutId id="2147483770" r:id="rId19"/>
    <p:sldLayoutId id="2147483771" r:id="rId20"/>
    <p:sldLayoutId id="2147483772" r:id="rId21"/>
    <p:sldLayoutId id="2147483774" r:id="rId22"/>
  </p:sldLayoutIdLst>
  <mc:AlternateContent xmlns:mc="http://schemas.openxmlformats.org/markup-compatibility/2006" xmlns:p14="http://schemas.microsoft.com/office/powerpoint/2010/main">
    <mc:Choice Requires="p14">
      <p:transition spd="slow" p14:dur="1250">
        <p14:reveal/>
      </p:transition>
    </mc:Choice>
    <mc:Fallback xmlns="">
      <p:transition spd="slow">
        <p:fade/>
      </p:transition>
    </mc:Fallback>
  </mc:AlternateContent>
  <p:hf hdr="0" ftr="0" dt="0"/>
  <p:txStyles>
    <p:titleStyle>
      <a:lvl1pPr algn="l" rtl="0" eaLnBrk="1" fontAlgn="base" hangingPunct="1">
        <a:lnSpc>
          <a:spcPct val="90000"/>
        </a:lnSpc>
        <a:spcBef>
          <a:spcPct val="0"/>
        </a:spcBef>
        <a:spcAft>
          <a:spcPct val="0"/>
        </a:spcAft>
        <a:defRPr sz="4400" kern="1200">
          <a:solidFill>
            <a:schemeClr val="tx1"/>
          </a:solidFill>
          <a:latin typeface="Montserrat" pitchFamily="2" charset="77"/>
          <a:ea typeface="+mj-ea"/>
          <a:cs typeface="+mj-cs"/>
        </a:defRPr>
      </a:lvl1pPr>
      <a:lvl2pPr algn="l" rtl="0" eaLnBrk="1" fontAlgn="base" hangingPunct="1">
        <a:lnSpc>
          <a:spcPct val="90000"/>
        </a:lnSpc>
        <a:spcBef>
          <a:spcPct val="0"/>
        </a:spcBef>
        <a:spcAft>
          <a:spcPct val="0"/>
        </a:spcAft>
        <a:defRPr sz="4400">
          <a:solidFill>
            <a:schemeClr val="tx1"/>
          </a:solidFill>
          <a:latin typeface="Montserrat" panose="00000500000000000000" pitchFamily="2" charset="0"/>
        </a:defRPr>
      </a:lvl2pPr>
      <a:lvl3pPr algn="l" rtl="0" eaLnBrk="1" fontAlgn="base" hangingPunct="1">
        <a:lnSpc>
          <a:spcPct val="90000"/>
        </a:lnSpc>
        <a:spcBef>
          <a:spcPct val="0"/>
        </a:spcBef>
        <a:spcAft>
          <a:spcPct val="0"/>
        </a:spcAft>
        <a:defRPr sz="4400">
          <a:solidFill>
            <a:schemeClr val="tx1"/>
          </a:solidFill>
          <a:latin typeface="Montserrat" panose="00000500000000000000" pitchFamily="2" charset="0"/>
        </a:defRPr>
      </a:lvl3pPr>
      <a:lvl4pPr algn="l" rtl="0" eaLnBrk="1" fontAlgn="base" hangingPunct="1">
        <a:lnSpc>
          <a:spcPct val="90000"/>
        </a:lnSpc>
        <a:spcBef>
          <a:spcPct val="0"/>
        </a:spcBef>
        <a:spcAft>
          <a:spcPct val="0"/>
        </a:spcAft>
        <a:defRPr sz="4400">
          <a:solidFill>
            <a:schemeClr val="tx1"/>
          </a:solidFill>
          <a:latin typeface="Montserrat" panose="00000500000000000000" pitchFamily="2" charset="0"/>
        </a:defRPr>
      </a:lvl4pPr>
      <a:lvl5pPr algn="l" rtl="0" eaLnBrk="1" fontAlgn="base" hangingPunct="1">
        <a:lnSpc>
          <a:spcPct val="90000"/>
        </a:lnSpc>
        <a:spcBef>
          <a:spcPct val="0"/>
        </a:spcBef>
        <a:spcAft>
          <a:spcPct val="0"/>
        </a:spcAft>
        <a:defRPr sz="4400">
          <a:solidFill>
            <a:schemeClr val="tx1"/>
          </a:solidFill>
          <a:latin typeface="Montserrat" panose="00000500000000000000" pitchFamily="2" charset="0"/>
        </a:defRPr>
      </a:lvl5pPr>
      <a:lvl6pPr marL="457200" algn="l" rtl="0" eaLnBrk="1" fontAlgn="base" hangingPunct="1">
        <a:lnSpc>
          <a:spcPct val="90000"/>
        </a:lnSpc>
        <a:spcBef>
          <a:spcPct val="0"/>
        </a:spcBef>
        <a:spcAft>
          <a:spcPct val="0"/>
        </a:spcAft>
        <a:defRPr sz="4400">
          <a:solidFill>
            <a:schemeClr val="tx1"/>
          </a:solidFill>
          <a:latin typeface="Montserrat" panose="00000500000000000000" pitchFamily="2" charset="0"/>
        </a:defRPr>
      </a:lvl6pPr>
      <a:lvl7pPr marL="914400" algn="l" rtl="0" eaLnBrk="1" fontAlgn="base" hangingPunct="1">
        <a:lnSpc>
          <a:spcPct val="90000"/>
        </a:lnSpc>
        <a:spcBef>
          <a:spcPct val="0"/>
        </a:spcBef>
        <a:spcAft>
          <a:spcPct val="0"/>
        </a:spcAft>
        <a:defRPr sz="4400">
          <a:solidFill>
            <a:schemeClr val="tx1"/>
          </a:solidFill>
          <a:latin typeface="Montserrat" panose="00000500000000000000" pitchFamily="2" charset="0"/>
        </a:defRPr>
      </a:lvl7pPr>
      <a:lvl8pPr marL="1371600" algn="l" rtl="0" eaLnBrk="1" fontAlgn="base" hangingPunct="1">
        <a:lnSpc>
          <a:spcPct val="90000"/>
        </a:lnSpc>
        <a:spcBef>
          <a:spcPct val="0"/>
        </a:spcBef>
        <a:spcAft>
          <a:spcPct val="0"/>
        </a:spcAft>
        <a:defRPr sz="4400">
          <a:solidFill>
            <a:schemeClr val="tx1"/>
          </a:solidFill>
          <a:latin typeface="Montserrat" panose="00000500000000000000" pitchFamily="2" charset="0"/>
        </a:defRPr>
      </a:lvl8pPr>
      <a:lvl9pPr marL="1828800" algn="l" rtl="0" eaLnBrk="1" fontAlgn="base" hangingPunct="1">
        <a:lnSpc>
          <a:spcPct val="90000"/>
        </a:lnSpc>
        <a:spcBef>
          <a:spcPct val="0"/>
        </a:spcBef>
        <a:spcAft>
          <a:spcPct val="0"/>
        </a:spcAft>
        <a:defRPr sz="4400">
          <a:solidFill>
            <a:schemeClr val="tx1"/>
          </a:solidFill>
          <a:latin typeface="Montserrat" panose="00000500000000000000" pitchFamily="2" charset="0"/>
        </a:defRPr>
      </a:lvl9pPr>
    </p:titleStyle>
    <p:bodyStyle>
      <a:lvl1pPr marL="228600" indent="-228600" algn="l" rtl="0" eaLnBrk="1" fontAlgn="base" hangingPunct="1">
        <a:lnSpc>
          <a:spcPct val="90000"/>
        </a:lnSpc>
        <a:spcBef>
          <a:spcPts val="1000"/>
        </a:spcBef>
        <a:spcAft>
          <a:spcPct val="0"/>
        </a:spcAft>
        <a:buFont typeface="Arial" panose="020B0604020202020204" pitchFamily="34" charset="0"/>
        <a:buChar char="•"/>
        <a:defRPr sz="2800" kern="1200">
          <a:solidFill>
            <a:schemeClr val="tx1"/>
          </a:solidFill>
          <a:latin typeface="Montserrat" pitchFamily="2" charset="77"/>
          <a:ea typeface="+mn-ea"/>
          <a:cs typeface="+mn-cs"/>
        </a:defRPr>
      </a:lvl1pPr>
      <a:lvl2pPr marL="685800" indent="-228600" algn="l" rtl="0" eaLnBrk="1" fontAlgn="base" hangingPunct="1">
        <a:lnSpc>
          <a:spcPct val="90000"/>
        </a:lnSpc>
        <a:spcBef>
          <a:spcPts val="500"/>
        </a:spcBef>
        <a:spcAft>
          <a:spcPct val="0"/>
        </a:spcAft>
        <a:buFont typeface="Arial" panose="020B0604020202020204" pitchFamily="34" charset="0"/>
        <a:buChar char="•"/>
        <a:defRPr sz="2400" kern="1200">
          <a:solidFill>
            <a:schemeClr val="tx1"/>
          </a:solidFill>
          <a:latin typeface="Montserrat" pitchFamily="2" charset="77"/>
          <a:ea typeface="+mn-ea"/>
          <a:cs typeface="+mn-cs"/>
        </a:defRPr>
      </a:lvl2pPr>
      <a:lvl3pPr marL="1143000" indent="-228600" algn="l" rtl="0" eaLnBrk="1" fontAlgn="base" hangingPunct="1">
        <a:lnSpc>
          <a:spcPct val="90000"/>
        </a:lnSpc>
        <a:spcBef>
          <a:spcPts val="500"/>
        </a:spcBef>
        <a:spcAft>
          <a:spcPct val="0"/>
        </a:spcAft>
        <a:buFont typeface="Arial" panose="020B0604020202020204" pitchFamily="34" charset="0"/>
        <a:buChar char="•"/>
        <a:defRPr sz="2000" kern="1200">
          <a:solidFill>
            <a:schemeClr val="tx1"/>
          </a:solidFill>
          <a:latin typeface="Montserrat" pitchFamily="2" charset="77"/>
          <a:ea typeface="+mn-ea"/>
          <a:cs typeface="+mn-cs"/>
        </a:defRPr>
      </a:lvl3pPr>
      <a:lvl4pPr marL="1600200" indent="-228600" algn="l" rtl="0" eaLnBrk="1" fontAlgn="base" hangingPunct="1">
        <a:lnSpc>
          <a:spcPct val="90000"/>
        </a:lnSpc>
        <a:spcBef>
          <a:spcPts val="500"/>
        </a:spcBef>
        <a:spcAft>
          <a:spcPct val="0"/>
        </a:spcAft>
        <a:buFont typeface="Arial" panose="020B0604020202020204" pitchFamily="34" charset="0"/>
        <a:buChar char="•"/>
        <a:defRPr kern="1200">
          <a:solidFill>
            <a:schemeClr val="tx1"/>
          </a:solidFill>
          <a:latin typeface="Montserrat" pitchFamily="2" charset="77"/>
          <a:ea typeface="+mn-ea"/>
          <a:cs typeface="+mn-cs"/>
        </a:defRPr>
      </a:lvl4pPr>
      <a:lvl5pPr marL="2057400" indent="-228600" algn="l" rtl="0" eaLnBrk="1" fontAlgn="base" hangingPunct="1">
        <a:lnSpc>
          <a:spcPct val="90000"/>
        </a:lnSpc>
        <a:spcBef>
          <a:spcPts val="500"/>
        </a:spcBef>
        <a:spcAft>
          <a:spcPct val="0"/>
        </a:spcAft>
        <a:buFont typeface="Arial" panose="020B0604020202020204" pitchFamily="34" charset="0"/>
        <a:buChar char="•"/>
        <a:defRPr kern="1200">
          <a:solidFill>
            <a:schemeClr val="tx1"/>
          </a:solidFill>
          <a:latin typeface="Montserra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8" Type="http://schemas.openxmlformats.org/officeDocument/2006/relationships/image" Target="../media/image51.emf"/><Relationship Id="rId3" Type="http://schemas.openxmlformats.org/officeDocument/2006/relationships/slideLayout" Target="../slideLayouts/slideLayout4.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oleObject" Target="../embeddings/oleObject8.bin"/><Relationship Id="rId5" Type="http://schemas.openxmlformats.org/officeDocument/2006/relationships/image" Target="../media/image49.emf"/><Relationship Id="rId4" Type="http://schemas.openxmlformats.org/officeDocument/2006/relationships/notesSlide" Target="../notesSlides/notesSlide6.xml"/><Relationship Id="rId9" Type="http://schemas.openxmlformats.org/officeDocument/2006/relationships/image" Target="../media/image50.png"/></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9.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2.xml.rels><?xml version="1.0" encoding="UTF-8" standalone="yes"?>
<Relationships xmlns="http://schemas.openxmlformats.org/package/2006/relationships"><Relationship Id="rId8" Type="http://schemas.openxmlformats.org/officeDocument/2006/relationships/diagramLayout" Target="../diagrams/layout5.xml"/><Relationship Id="rId3" Type="http://schemas.openxmlformats.org/officeDocument/2006/relationships/diagramLayout" Target="../diagrams/layout4.xml"/><Relationship Id="rId7" Type="http://schemas.openxmlformats.org/officeDocument/2006/relationships/diagramData" Target="../diagrams/data5.xml"/><Relationship Id="rId2" Type="http://schemas.openxmlformats.org/officeDocument/2006/relationships/diagramData" Target="../diagrams/data4.xml"/><Relationship Id="rId1" Type="http://schemas.openxmlformats.org/officeDocument/2006/relationships/slideLayout" Target="../slideLayouts/slideLayout9.xml"/><Relationship Id="rId6" Type="http://schemas.microsoft.com/office/2007/relationships/diagramDrawing" Target="../diagrams/drawing4.xml"/><Relationship Id="rId11" Type="http://schemas.microsoft.com/office/2007/relationships/diagramDrawing" Target="../diagrams/drawing5.xml"/><Relationship Id="rId5" Type="http://schemas.openxmlformats.org/officeDocument/2006/relationships/diagramColors" Target="../diagrams/colors4.xml"/><Relationship Id="rId10" Type="http://schemas.openxmlformats.org/officeDocument/2006/relationships/diagramColors" Target="../diagrams/colors5.xml"/><Relationship Id="rId4" Type="http://schemas.openxmlformats.org/officeDocument/2006/relationships/diagramQuickStyle" Target="../diagrams/quickStyle4.xml"/><Relationship Id="rId9" Type="http://schemas.openxmlformats.org/officeDocument/2006/relationships/diagramQuickStyle" Target="../diagrams/quickStyle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4.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7.xml"/><Relationship Id="rId1" Type="http://schemas.openxmlformats.org/officeDocument/2006/relationships/slideLayout" Target="../slideLayouts/slideLayout27.xml"/></Relationships>
</file>

<file path=ppt/slides/_rels/slide15.xml.rels><?xml version="1.0" encoding="UTF-8" standalone="yes"?>
<Relationships xmlns="http://schemas.openxmlformats.org/package/2006/relationships"><Relationship Id="rId8" Type="http://schemas.openxmlformats.org/officeDocument/2006/relationships/image" Target="../media/image58.svg"/><Relationship Id="rId3" Type="http://schemas.openxmlformats.org/officeDocument/2006/relationships/image" Target="../media/image53.png"/><Relationship Id="rId7" Type="http://schemas.openxmlformats.org/officeDocument/2006/relationships/image" Target="../media/image57.png"/><Relationship Id="rId2" Type="http://schemas.openxmlformats.org/officeDocument/2006/relationships/notesSlide" Target="../notesSlides/notesSlide8.xml"/><Relationship Id="rId1" Type="http://schemas.openxmlformats.org/officeDocument/2006/relationships/slideLayout" Target="../slideLayouts/slideLayout28.xml"/><Relationship Id="rId6" Type="http://schemas.openxmlformats.org/officeDocument/2006/relationships/image" Target="../media/image56.svg"/><Relationship Id="rId5" Type="http://schemas.openxmlformats.org/officeDocument/2006/relationships/image" Target="../media/image55.png"/><Relationship Id="rId4" Type="http://schemas.openxmlformats.org/officeDocument/2006/relationships/image" Target="../media/image54.svg"/></Relationships>
</file>

<file path=ppt/slides/_rels/slide16.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9.xml"/><Relationship Id="rId1" Type="http://schemas.openxmlformats.org/officeDocument/2006/relationships/slideLayout" Target="../slideLayouts/slideLayout28.xml"/><Relationship Id="rId4" Type="http://schemas.openxmlformats.org/officeDocument/2006/relationships/image" Target="../media/image60.png"/></Relationships>
</file>

<file path=ppt/slides/_rels/slide17.xml.rels><?xml version="1.0" encoding="UTF-8" standalone="yes"?>
<Relationships xmlns="http://schemas.openxmlformats.org/package/2006/relationships"><Relationship Id="rId8" Type="http://schemas.openxmlformats.org/officeDocument/2006/relationships/image" Target="../media/image65.png"/><Relationship Id="rId13" Type="http://schemas.openxmlformats.org/officeDocument/2006/relationships/image" Target="../media/image70.svg"/><Relationship Id="rId3" Type="http://schemas.microsoft.com/office/2018/10/relationships/comments" Target="../comments/modernComment_7FF64A36_96E1B73F.xml"/><Relationship Id="rId7" Type="http://schemas.openxmlformats.org/officeDocument/2006/relationships/image" Target="../media/image64.svg"/><Relationship Id="rId12" Type="http://schemas.openxmlformats.org/officeDocument/2006/relationships/image" Target="../media/image69.png"/><Relationship Id="rId2" Type="http://schemas.openxmlformats.org/officeDocument/2006/relationships/notesSlide" Target="../notesSlides/notesSlide10.xml"/><Relationship Id="rId1" Type="http://schemas.openxmlformats.org/officeDocument/2006/relationships/slideLayout" Target="../slideLayouts/slideLayout28.xml"/><Relationship Id="rId6" Type="http://schemas.openxmlformats.org/officeDocument/2006/relationships/image" Target="../media/image63.png"/><Relationship Id="rId11" Type="http://schemas.openxmlformats.org/officeDocument/2006/relationships/image" Target="../media/image68.svg"/><Relationship Id="rId5" Type="http://schemas.openxmlformats.org/officeDocument/2006/relationships/image" Target="../media/image62.svg"/><Relationship Id="rId10" Type="http://schemas.openxmlformats.org/officeDocument/2006/relationships/image" Target="../media/image67.png"/><Relationship Id="rId4" Type="http://schemas.openxmlformats.org/officeDocument/2006/relationships/image" Target="../media/image61.png"/><Relationship Id="rId9" Type="http://schemas.openxmlformats.org/officeDocument/2006/relationships/image" Target="../media/image66.svg"/></Relationships>
</file>

<file path=ppt/slides/_rels/slide18.xml.rels><?xml version="1.0" encoding="UTF-8" standalone="yes"?>
<Relationships xmlns="http://schemas.openxmlformats.org/package/2006/relationships"><Relationship Id="rId8" Type="http://schemas.openxmlformats.org/officeDocument/2006/relationships/image" Target="../media/image71.png"/><Relationship Id="rId13" Type="http://schemas.openxmlformats.org/officeDocument/2006/relationships/image" Target="../media/image76.svg"/><Relationship Id="rId3" Type="http://schemas.microsoft.com/office/2018/10/relationships/comments" Target="../comments/modernComment_7FF64A37_B3491921.xml"/><Relationship Id="rId7" Type="http://schemas.openxmlformats.org/officeDocument/2006/relationships/image" Target="../media/image68.svg"/><Relationship Id="rId12" Type="http://schemas.openxmlformats.org/officeDocument/2006/relationships/image" Target="../media/image75.png"/><Relationship Id="rId2" Type="http://schemas.openxmlformats.org/officeDocument/2006/relationships/notesSlide" Target="../notesSlides/notesSlide11.xml"/><Relationship Id="rId1" Type="http://schemas.openxmlformats.org/officeDocument/2006/relationships/slideLayout" Target="../slideLayouts/slideLayout28.xml"/><Relationship Id="rId6" Type="http://schemas.openxmlformats.org/officeDocument/2006/relationships/image" Target="../media/image67.png"/><Relationship Id="rId11" Type="http://schemas.openxmlformats.org/officeDocument/2006/relationships/image" Target="../media/image74.svg"/><Relationship Id="rId5" Type="http://schemas.openxmlformats.org/officeDocument/2006/relationships/image" Target="../media/image66.svg"/><Relationship Id="rId10" Type="http://schemas.openxmlformats.org/officeDocument/2006/relationships/image" Target="../media/image73.png"/><Relationship Id="rId4" Type="http://schemas.openxmlformats.org/officeDocument/2006/relationships/image" Target="../media/image65.png"/><Relationship Id="rId9" Type="http://schemas.openxmlformats.org/officeDocument/2006/relationships/image" Target="../media/image72.svg"/></Relationships>
</file>

<file path=ppt/slides/_rels/slide19.xml.rels><?xml version="1.0" encoding="UTF-8" standalone="yes"?>
<Relationships xmlns="http://schemas.openxmlformats.org/package/2006/relationships"><Relationship Id="rId3" Type="http://schemas.openxmlformats.org/officeDocument/2006/relationships/image" Target="../media/image78.svg"/><Relationship Id="rId2" Type="http://schemas.openxmlformats.org/officeDocument/2006/relationships/image" Target="../media/image77.png"/><Relationship Id="rId1" Type="http://schemas.openxmlformats.org/officeDocument/2006/relationships/slideLayout" Target="../slideLayouts/slideLayout2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0.xml.rels><?xml version="1.0" encoding="UTF-8" standalone="yes"?>
<Relationships xmlns="http://schemas.openxmlformats.org/package/2006/relationships"><Relationship Id="rId8" Type="http://schemas.openxmlformats.org/officeDocument/2006/relationships/image" Target="../media/image84.svg"/><Relationship Id="rId13" Type="http://schemas.openxmlformats.org/officeDocument/2006/relationships/image" Target="../media/image89.png"/><Relationship Id="rId3" Type="http://schemas.openxmlformats.org/officeDocument/2006/relationships/image" Target="../media/image79.png"/><Relationship Id="rId7" Type="http://schemas.openxmlformats.org/officeDocument/2006/relationships/image" Target="../media/image83.png"/><Relationship Id="rId12" Type="http://schemas.openxmlformats.org/officeDocument/2006/relationships/image" Target="../media/image88.svg"/><Relationship Id="rId2" Type="http://schemas.openxmlformats.org/officeDocument/2006/relationships/notesSlide" Target="../notesSlides/notesSlide12.xml"/><Relationship Id="rId1" Type="http://schemas.openxmlformats.org/officeDocument/2006/relationships/slideLayout" Target="../slideLayouts/slideLayout30.xml"/><Relationship Id="rId6" Type="http://schemas.openxmlformats.org/officeDocument/2006/relationships/image" Target="../media/image82.svg"/><Relationship Id="rId11" Type="http://schemas.openxmlformats.org/officeDocument/2006/relationships/image" Target="../media/image87.png"/><Relationship Id="rId5" Type="http://schemas.openxmlformats.org/officeDocument/2006/relationships/image" Target="../media/image81.png"/><Relationship Id="rId10" Type="http://schemas.openxmlformats.org/officeDocument/2006/relationships/image" Target="../media/image86.svg"/><Relationship Id="rId4" Type="http://schemas.openxmlformats.org/officeDocument/2006/relationships/image" Target="../media/image80.svg"/><Relationship Id="rId9" Type="http://schemas.openxmlformats.org/officeDocument/2006/relationships/image" Target="../media/image85.png"/><Relationship Id="rId14" Type="http://schemas.openxmlformats.org/officeDocument/2006/relationships/image" Target="../media/image90.svg"/></Relationships>
</file>

<file path=ppt/slides/_rels/slide21.xml.rels><?xml version="1.0" encoding="UTF-8" standalone="yes"?>
<Relationships xmlns="http://schemas.openxmlformats.org/package/2006/relationships"><Relationship Id="rId3" Type="http://schemas.microsoft.com/office/2018/10/relationships/comments" Target="../comments/modernComment_140_93F0FAAF.xml"/><Relationship Id="rId2" Type="http://schemas.openxmlformats.org/officeDocument/2006/relationships/notesSlide" Target="../notesSlides/notesSlide13.xml"/><Relationship Id="rId1" Type="http://schemas.openxmlformats.org/officeDocument/2006/relationships/slideLayout" Target="../slideLayouts/slideLayout28.xml"/><Relationship Id="rId4" Type="http://schemas.openxmlformats.org/officeDocument/2006/relationships/image" Target="../media/image91.png"/></Relationships>
</file>

<file path=ppt/slides/_rels/slide22.xml.rels><?xml version="1.0" encoding="UTF-8" standalone="yes"?>
<Relationships xmlns="http://schemas.openxmlformats.org/package/2006/relationships"><Relationship Id="rId8" Type="http://schemas.openxmlformats.org/officeDocument/2006/relationships/image" Target="../media/image97.png"/><Relationship Id="rId3" Type="http://schemas.openxmlformats.org/officeDocument/2006/relationships/image" Target="../media/image92.png"/><Relationship Id="rId7" Type="http://schemas.openxmlformats.org/officeDocument/2006/relationships/image" Target="../media/image96.png"/><Relationship Id="rId2" Type="http://schemas.openxmlformats.org/officeDocument/2006/relationships/notesSlide" Target="../notesSlides/notesSlide14.xml"/><Relationship Id="rId1" Type="http://schemas.openxmlformats.org/officeDocument/2006/relationships/slideLayout" Target="../slideLayouts/slideLayout28.xml"/><Relationship Id="rId6" Type="http://schemas.openxmlformats.org/officeDocument/2006/relationships/image" Target="../media/image95.png"/><Relationship Id="rId11" Type="http://schemas.openxmlformats.org/officeDocument/2006/relationships/image" Target="../media/image100.png"/><Relationship Id="rId5" Type="http://schemas.openxmlformats.org/officeDocument/2006/relationships/image" Target="../media/image94.png"/><Relationship Id="rId10" Type="http://schemas.openxmlformats.org/officeDocument/2006/relationships/image" Target="../media/image99.png"/><Relationship Id="rId4" Type="http://schemas.openxmlformats.org/officeDocument/2006/relationships/image" Target="../media/image93.png"/><Relationship Id="rId9" Type="http://schemas.openxmlformats.org/officeDocument/2006/relationships/image" Target="../media/image98.png"/></Relationships>
</file>

<file path=ppt/slides/_rels/slide23.xml.rels><?xml version="1.0" encoding="UTF-8" standalone="yes"?>
<Relationships xmlns="http://schemas.openxmlformats.org/package/2006/relationships"><Relationship Id="rId8" Type="http://schemas.openxmlformats.org/officeDocument/2006/relationships/image" Target="../media/image106.svg"/><Relationship Id="rId3" Type="http://schemas.openxmlformats.org/officeDocument/2006/relationships/image" Target="../media/image101.png"/><Relationship Id="rId7" Type="http://schemas.openxmlformats.org/officeDocument/2006/relationships/image" Target="../media/image105.png"/><Relationship Id="rId2" Type="http://schemas.openxmlformats.org/officeDocument/2006/relationships/notesSlide" Target="../notesSlides/notesSlide15.xml"/><Relationship Id="rId1" Type="http://schemas.openxmlformats.org/officeDocument/2006/relationships/slideLayout" Target="../slideLayouts/slideLayout28.xml"/><Relationship Id="rId6" Type="http://schemas.openxmlformats.org/officeDocument/2006/relationships/image" Target="../media/image104.svg"/><Relationship Id="rId5" Type="http://schemas.openxmlformats.org/officeDocument/2006/relationships/image" Target="../media/image103.png"/><Relationship Id="rId10" Type="http://schemas.openxmlformats.org/officeDocument/2006/relationships/image" Target="../media/image93.png"/><Relationship Id="rId4" Type="http://schemas.openxmlformats.org/officeDocument/2006/relationships/image" Target="../media/image102.svg"/><Relationship Id="rId9" Type="http://schemas.openxmlformats.org/officeDocument/2006/relationships/image" Target="../media/image107.jpeg"/></Relationships>
</file>

<file path=ppt/slides/_rels/slide24.xml.rels><?xml version="1.0" encoding="UTF-8" standalone="yes"?>
<Relationships xmlns="http://schemas.openxmlformats.org/package/2006/relationships"><Relationship Id="rId8" Type="http://schemas.openxmlformats.org/officeDocument/2006/relationships/image" Target="../media/image106.svg"/><Relationship Id="rId3" Type="http://schemas.openxmlformats.org/officeDocument/2006/relationships/image" Target="../media/image101.png"/><Relationship Id="rId7" Type="http://schemas.openxmlformats.org/officeDocument/2006/relationships/image" Target="../media/image105.png"/><Relationship Id="rId2" Type="http://schemas.openxmlformats.org/officeDocument/2006/relationships/notesSlide" Target="../notesSlides/notesSlide16.xml"/><Relationship Id="rId1" Type="http://schemas.openxmlformats.org/officeDocument/2006/relationships/slideLayout" Target="../slideLayouts/slideLayout28.xml"/><Relationship Id="rId6" Type="http://schemas.openxmlformats.org/officeDocument/2006/relationships/image" Target="../media/image104.svg"/><Relationship Id="rId5" Type="http://schemas.openxmlformats.org/officeDocument/2006/relationships/image" Target="../media/image103.png"/><Relationship Id="rId10" Type="http://schemas.openxmlformats.org/officeDocument/2006/relationships/image" Target="../media/image108.png"/><Relationship Id="rId4" Type="http://schemas.openxmlformats.org/officeDocument/2006/relationships/image" Target="../media/image102.svg"/><Relationship Id="rId9" Type="http://schemas.openxmlformats.org/officeDocument/2006/relationships/image" Target="../media/image107.jpeg"/></Relationships>
</file>

<file path=ppt/slides/_rels/slide25.xml.rels><?xml version="1.0" encoding="UTF-8" standalone="yes"?>
<Relationships xmlns="http://schemas.openxmlformats.org/package/2006/relationships"><Relationship Id="rId8" Type="http://schemas.openxmlformats.org/officeDocument/2006/relationships/image" Target="../media/image113.emf"/><Relationship Id="rId13" Type="http://schemas.openxmlformats.org/officeDocument/2006/relationships/image" Target="../media/image118.png"/><Relationship Id="rId18" Type="http://schemas.openxmlformats.org/officeDocument/2006/relationships/image" Target="../media/image121.svg"/><Relationship Id="rId3" Type="http://schemas.microsoft.com/office/2018/10/relationships/comments" Target="../comments/modernComment_7F3E8BBA_243A0F12.xml"/><Relationship Id="rId7" Type="http://schemas.openxmlformats.org/officeDocument/2006/relationships/image" Target="../media/image112.svg"/><Relationship Id="rId12" Type="http://schemas.openxmlformats.org/officeDocument/2006/relationships/image" Target="../media/image117.svg"/><Relationship Id="rId17" Type="http://schemas.openxmlformats.org/officeDocument/2006/relationships/image" Target="../media/image120.png"/><Relationship Id="rId2" Type="http://schemas.openxmlformats.org/officeDocument/2006/relationships/notesSlide" Target="../notesSlides/notesSlide17.xml"/><Relationship Id="rId16" Type="http://schemas.openxmlformats.org/officeDocument/2006/relationships/image" Target="../media/image72.svg"/><Relationship Id="rId20" Type="http://schemas.openxmlformats.org/officeDocument/2006/relationships/image" Target="../media/image123.svg"/><Relationship Id="rId1" Type="http://schemas.openxmlformats.org/officeDocument/2006/relationships/slideLayout" Target="../slideLayouts/slideLayout28.xml"/><Relationship Id="rId6" Type="http://schemas.openxmlformats.org/officeDocument/2006/relationships/image" Target="../media/image111.png"/><Relationship Id="rId11" Type="http://schemas.openxmlformats.org/officeDocument/2006/relationships/image" Target="../media/image116.png"/><Relationship Id="rId5" Type="http://schemas.openxmlformats.org/officeDocument/2006/relationships/image" Target="../media/image110.svg"/><Relationship Id="rId15" Type="http://schemas.openxmlformats.org/officeDocument/2006/relationships/image" Target="../media/image71.png"/><Relationship Id="rId10" Type="http://schemas.openxmlformats.org/officeDocument/2006/relationships/image" Target="../media/image115.svg"/><Relationship Id="rId19" Type="http://schemas.openxmlformats.org/officeDocument/2006/relationships/image" Target="../media/image122.png"/><Relationship Id="rId4" Type="http://schemas.openxmlformats.org/officeDocument/2006/relationships/image" Target="../media/image109.png"/><Relationship Id="rId9" Type="http://schemas.openxmlformats.org/officeDocument/2006/relationships/image" Target="../media/image114.png"/><Relationship Id="rId14" Type="http://schemas.openxmlformats.org/officeDocument/2006/relationships/image" Target="../media/image119.svg"/></Relationships>
</file>

<file path=ppt/slides/_rels/slide26.xml.rels><?xml version="1.0" encoding="UTF-8" standalone="yes"?>
<Relationships xmlns="http://schemas.openxmlformats.org/package/2006/relationships"><Relationship Id="rId8" Type="http://schemas.openxmlformats.org/officeDocument/2006/relationships/image" Target="../media/image128.png"/><Relationship Id="rId3" Type="http://schemas.microsoft.com/office/2018/10/relationships/comments" Target="../comments/modernComment_7F3E8BBC_CFACF16.xml"/><Relationship Id="rId7" Type="http://schemas.openxmlformats.org/officeDocument/2006/relationships/image" Target="../media/image127.png"/><Relationship Id="rId2" Type="http://schemas.openxmlformats.org/officeDocument/2006/relationships/notesSlide" Target="../notesSlides/notesSlide18.xml"/><Relationship Id="rId1" Type="http://schemas.openxmlformats.org/officeDocument/2006/relationships/slideLayout" Target="../slideLayouts/slideLayout30.xml"/><Relationship Id="rId6" Type="http://schemas.openxmlformats.org/officeDocument/2006/relationships/image" Target="../media/image126.png"/><Relationship Id="rId11" Type="http://schemas.openxmlformats.org/officeDocument/2006/relationships/image" Target="../media/image131.png"/><Relationship Id="rId5" Type="http://schemas.openxmlformats.org/officeDocument/2006/relationships/image" Target="../media/image125.png"/><Relationship Id="rId10" Type="http://schemas.openxmlformats.org/officeDocument/2006/relationships/image" Target="../media/image130.png"/><Relationship Id="rId4" Type="http://schemas.openxmlformats.org/officeDocument/2006/relationships/image" Target="../media/image124.png"/><Relationship Id="rId9" Type="http://schemas.openxmlformats.org/officeDocument/2006/relationships/image" Target="../media/image129.png"/></Relationships>
</file>

<file path=ppt/slides/_rels/slide27.xml.rels><?xml version="1.0" encoding="UTF-8" standalone="yes"?>
<Relationships xmlns="http://schemas.openxmlformats.org/package/2006/relationships"><Relationship Id="rId3" Type="http://schemas.microsoft.com/office/2018/10/relationships/comments" Target="../comments/modernComment_145_EFBCA1EB.xml"/><Relationship Id="rId2" Type="http://schemas.openxmlformats.org/officeDocument/2006/relationships/notesSlide" Target="../notesSlides/notesSlide19.xml"/><Relationship Id="rId1" Type="http://schemas.openxmlformats.org/officeDocument/2006/relationships/slideLayout" Target="../slideLayouts/slideLayout24.xml"/><Relationship Id="rId4" Type="http://schemas.openxmlformats.org/officeDocument/2006/relationships/image" Target="../media/image132.png"/></Relationships>
</file>

<file path=ppt/slides/_rels/slide28.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20.xml"/><Relationship Id="rId1" Type="http://schemas.openxmlformats.org/officeDocument/2006/relationships/slideLayout" Target="../slideLayouts/slideLayout28.xml"/><Relationship Id="rId4" Type="http://schemas.openxmlformats.org/officeDocument/2006/relationships/image" Target="../media/image134.svg"/></Relationships>
</file>

<file path=ppt/slides/_rels/slide29.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slideLayout" Target="../slideLayouts/slideLayout17.xml"/><Relationship Id="rId1" Type="http://schemas.openxmlformats.org/officeDocument/2006/relationships/tags" Target="../tags/tag1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32.xml.rels><?xml version="1.0" encoding="UTF-8" standalone="yes"?>
<Relationships xmlns="http://schemas.openxmlformats.org/package/2006/relationships"><Relationship Id="rId8" Type="http://schemas.openxmlformats.org/officeDocument/2006/relationships/image" Target="../media/image98.png"/><Relationship Id="rId3" Type="http://schemas.openxmlformats.org/officeDocument/2006/relationships/image" Target="../media/image136.png"/><Relationship Id="rId7" Type="http://schemas.openxmlformats.org/officeDocument/2006/relationships/image" Target="../media/image138.png"/><Relationship Id="rId2" Type="http://schemas.openxmlformats.org/officeDocument/2006/relationships/image" Target="../media/image100.png"/><Relationship Id="rId1" Type="http://schemas.openxmlformats.org/officeDocument/2006/relationships/slideLayout" Target="../slideLayouts/slideLayout23.xml"/><Relationship Id="rId6" Type="http://schemas.openxmlformats.org/officeDocument/2006/relationships/image" Target="../media/image99.png"/><Relationship Id="rId5" Type="http://schemas.openxmlformats.org/officeDocument/2006/relationships/image" Target="../media/image97.png"/><Relationship Id="rId4" Type="http://schemas.openxmlformats.org/officeDocument/2006/relationships/image" Target="../media/image137.png"/><Relationship Id="rId9" Type="http://schemas.openxmlformats.org/officeDocument/2006/relationships/image" Target="../media/image96.pn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13.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9.bin"/></Relationships>
</file>

<file path=ppt/slides/_rels/slide4.xml.rels><?xml version="1.0" encoding="UTF-8" standalone="yes"?>
<Relationships xmlns="http://schemas.openxmlformats.org/package/2006/relationships"><Relationship Id="rId8" Type="http://schemas.openxmlformats.org/officeDocument/2006/relationships/image" Target="../media/image28.gif"/><Relationship Id="rId3" Type="http://schemas.openxmlformats.org/officeDocument/2006/relationships/slideLayout" Target="../slideLayouts/slideLayout1.xml"/><Relationship Id="rId7" Type="http://schemas.openxmlformats.org/officeDocument/2006/relationships/image" Target="../media/image27.png"/><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10" Type="http://schemas.openxmlformats.org/officeDocument/2006/relationships/image" Target="../media/image30.svg"/><Relationship Id="rId4" Type="http://schemas.openxmlformats.org/officeDocument/2006/relationships/notesSlide" Target="../notesSlides/notesSlide1.xml"/><Relationship Id="rId9" Type="http://schemas.openxmlformats.org/officeDocument/2006/relationships/image" Target="../media/image29.png"/></Relationships>
</file>

<file path=ppt/slides/_rels/slide5.xml.rels><?xml version="1.0" encoding="UTF-8" standalone="yes"?>
<Relationships xmlns="http://schemas.openxmlformats.org/package/2006/relationships"><Relationship Id="rId8" Type="http://schemas.openxmlformats.org/officeDocument/2006/relationships/image" Target="../media/image32.svg"/><Relationship Id="rId13" Type="http://schemas.openxmlformats.org/officeDocument/2006/relationships/image" Target="../media/image37.png"/><Relationship Id="rId18" Type="http://schemas.openxmlformats.org/officeDocument/2006/relationships/image" Target="../media/image42.svg"/><Relationship Id="rId3" Type="http://schemas.openxmlformats.org/officeDocument/2006/relationships/slideLayout" Target="../slideLayouts/slideLayout1.xml"/><Relationship Id="rId21" Type="http://schemas.openxmlformats.org/officeDocument/2006/relationships/image" Target="../media/image45.png"/><Relationship Id="rId7" Type="http://schemas.openxmlformats.org/officeDocument/2006/relationships/image" Target="../media/image31.png"/><Relationship Id="rId12" Type="http://schemas.openxmlformats.org/officeDocument/2006/relationships/image" Target="../media/image36.svg"/><Relationship Id="rId17" Type="http://schemas.openxmlformats.org/officeDocument/2006/relationships/image" Target="../media/image41.png"/><Relationship Id="rId2" Type="http://schemas.openxmlformats.org/officeDocument/2006/relationships/tags" Target="../tags/tag7.xml"/><Relationship Id="rId16" Type="http://schemas.openxmlformats.org/officeDocument/2006/relationships/image" Target="../media/image40.svg"/><Relationship Id="rId20" Type="http://schemas.openxmlformats.org/officeDocument/2006/relationships/image" Target="../media/image44.svg"/><Relationship Id="rId1" Type="http://schemas.openxmlformats.org/officeDocument/2006/relationships/vmlDrawing" Target="../drawings/vmlDrawing6.vml"/><Relationship Id="rId6" Type="http://schemas.openxmlformats.org/officeDocument/2006/relationships/image" Target="../media/image1.emf"/><Relationship Id="rId11" Type="http://schemas.openxmlformats.org/officeDocument/2006/relationships/image" Target="../media/image35.png"/><Relationship Id="rId5" Type="http://schemas.openxmlformats.org/officeDocument/2006/relationships/oleObject" Target="../embeddings/oleObject6.bin"/><Relationship Id="rId15" Type="http://schemas.openxmlformats.org/officeDocument/2006/relationships/image" Target="../media/image39.png"/><Relationship Id="rId23" Type="http://schemas.openxmlformats.org/officeDocument/2006/relationships/image" Target="../media/image47.emf"/><Relationship Id="rId10" Type="http://schemas.openxmlformats.org/officeDocument/2006/relationships/image" Target="../media/image34.svg"/><Relationship Id="rId19" Type="http://schemas.openxmlformats.org/officeDocument/2006/relationships/image" Target="../media/image43.png"/><Relationship Id="rId4" Type="http://schemas.openxmlformats.org/officeDocument/2006/relationships/notesSlide" Target="../notesSlides/notesSlide2.xml"/><Relationship Id="rId9" Type="http://schemas.openxmlformats.org/officeDocument/2006/relationships/image" Target="../media/image33.png"/><Relationship Id="rId14" Type="http://schemas.openxmlformats.org/officeDocument/2006/relationships/image" Target="../media/image38.svg"/><Relationship Id="rId22" Type="http://schemas.openxmlformats.org/officeDocument/2006/relationships/image" Target="../media/image46.svg"/></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48.png"/><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3.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4.xml"/></Relationships>
</file>

<file path=ppt/slides/_rels/slide8.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slideLayout" Target="../slideLayouts/slideLayout8.xml"/><Relationship Id="rId7" Type="http://schemas.openxmlformats.org/officeDocument/2006/relationships/image" Target="../media/image1.emf"/><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oleObject" Target="../embeddings/oleObject7.bin"/><Relationship Id="rId5" Type="http://schemas.openxmlformats.org/officeDocument/2006/relationships/image" Target="../media/image49.emf"/><Relationship Id="rId4" Type="http://schemas.openxmlformats.org/officeDocument/2006/relationships/notesSlide" Target="../notesSlides/notesSlide5.xml"/><Relationship Id="rId9" Type="http://schemas.openxmlformats.org/officeDocument/2006/relationships/image" Target="../media/image51.emf"/></Relationships>
</file>

<file path=ppt/slides/_rels/slide9.xml.rels><?xml version="1.0" encoding="UTF-8" standalone="yes"?>
<Relationships xmlns="http://schemas.openxmlformats.org/package/2006/relationships"><Relationship Id="rId8" Type="http://schemas.openxmlformats.org/officeDocument/2006/relationships/diagramLayout" Target="../diagrams/layout2.xml"/><Relationship Id="rId3" Type="http://schemas.openxmlformats.org/officeDocument/2006/relationships/diagramLayout" Target="../diagrams/layout1.xml"/><Relationship Id="rId7" Type="http://schemas.openxmlformats.org/officeDocument/2006/relationships/diagramData" Target="../diagrams/data2.xml"/><Relationship Id="rId2" Type="http://schemas.openxmlformats.org/officeDocument/2006/relationships/diagramData" Target="../diagrams/data1.xml"/><Relationship Id="rId1" Type="http://schemas.openxmlformats.org/officeDocument/2006/relationships/slideLayout" Target="../slideLayouts/slideLayout26.xml"/><Relationship Id="rId6" Type="http://schemas.microsoft.com/office/2007/relationships/diagramDrawing" Target="../diagrams/drawing1.xml"/><Relationship Id="rId11" Type="http://schemas.microsoft.com/office/2007/relationships/diagramDrawing" Target="../diagrams/drawing2.xml"/><Relationship Id="rId5" Type="http://schemas.openxmlformats.org/officeDocument/2006/relationships/diagramColors" Target="../diagrams/colors1.xml"/><Relationship Id="rId10" Type="http://schemas.openxmlformats.org/officeDocument/2006/relationships/diagramColors" Target="../diagrams/colors2.xml"/><Relationship Id="rId4" Type="http://schemas.openxmlformats.org/officeDocument/2006/relationships/diagramQuickStyle" Target="../diagrams/quickStyle1.xml"/><Relationship Id="rId9" Type="http://schemas.openxmlformats.org/officeDocument/2006/relationships/diagramQuickStyle" Target="../diagrams/quickStyle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ottotitolo 1">
            <a:extLst>
              <a:ext uri="{FF2B5EF4-FFF2-40B4-BE49-F238E27FC236}">
                <a16:creationId xmlns:a16="http://schemas.microsoft.com/office/drawing/2014/main" id="{F4008798-E09C-489E-AE56-45B89EE1D01F}"/>
              </a:ext>
            </a:extLst>
          </p:cNvPr>
          <p:cNvSpPr>
            <a:spLocks noGrp="1"/>
          </p:cNvSpPr>
          <p:nvPr>
            <p:ph type="subTitle" idx="1"/>
          </p:nvPr>
        </p:nvSpPr>
        <p:spPr>
          <a:xfrm>
            <a:off x="314959" y="3927158"/>
            <a:ext cx="11163867" cy="1223962"/>
          </a:xfrm>
        </p:spPr>
        <p:txBody>
          <a:bodyPr>
            <a:normAutofit fontScale="92500" lnSpcReduction="10000"/>
          </a:bodyPr>
          <a:lstStyle/>
          <a:p>
            <a:r>
              <a:rPr lang="en-GB" b="1" dirty="0" err="1">
                <a:latin typeface="Calibri"/>
                <a:cs typeface="Calibri"/>
              </a:rPr>
              <a:t>Rechtssichere</a:t>
            </a:r>
            <a:r>
              <a:rPr lang="en-GB" b="1" dirty="0">
                <a:latin typeface="Calibri"/>
                <a:cs typeface="Calibri"/>
              </a:rPr>
              <a:t> </a:t>
            </a:r>
            <a:r>
              <a:rPr lang="en-GB" b="1" dirty="0" err="1">
                <a:latin typeface="Calibri"/>
                <a:cs typeface="Calibri"/>
              </a:rPr>
              <a:t>digitale</a:t>
            </a:r>
            <a:r>
              <a:rPr lang="en-GB" b="1" dirty="0">
                <a:latin typeface="Calibri"/>
                <a:cs typeface="Calibri"/>
              </a:rPr>
              <a:t> </a:t>
            </a:r>
            <a:r>
              <a:rPr lang="en-GB" b="1" dirty="0" err="1">
                <a:latin typeface="Calibri"/>
                <a:cs typeface="Calibri"/>
              </a:rPr>
              <a:t>Archivierung</a:t>
            </a:r>
            <a:r>
              <a:rPr lang="en-GB" b="1" dirty="0">
                <a:latin typeface="Calibri"/>
                <a:cs typeface="Calibri"/>
              </a:rPr>
              <a:t> für Stakeholder </a:t>
            </a:r>
            <a:r>
              <a:rPr lang="en-GB" b="1" dirty="0" err="1">
                <a:latin typeface="Calibri"/>
                <a:cs typeface="Calibri"/>
              </a:rPr>
              <a:t>im</a:t>
            </a:r>
            <a:r>
              <a:rPr lang="en-GB" b="1" dirty="0">
                <a:latin typeface="Calibri"/>
                <a:cs typeface="Calibri"/>
              </a:rPr>
              <a:t> </a:t>
            </a:r>
            <a:r>
              <a:rPr lang="en-GB" b="1" dirty="0" err="1">
                <a:latin typeface="Calibri"/>
                <a:cs typeface="Calibri"/>
              </a:rPr>
              <a:t>Gesundheitswesen</a:t>
            </a:r>
            <a:endParaRPr lang="en-GB" b="1" dirty="0">
              <a:latin typeface="Calibri"/>
              <a:cs typeface="Calibri"/>
            </a:endParaRPr>
          </a:p>
          <a:p>
            <a:endParaRPr lang="en-GB" dirty="0">
              <a:latin typeface="Calibri"/>
              <a:cs typeface="Calibri"/>
            </a:endParaRPr>
          </a:p>
          <a:p>
            <a:r>
              <a:rPr lang="en-GB" dirty="0">
                <a:latin typeface="Calibri"/>
                <a:cs typeface="Calibri"/>
              </a:rPr>
              <a:t>Oliver Paul</a:t>
            </a:r>
          </a:p>
          <a:p>
            <a:r>
              <a:rPr lang="en-GB" dirty="0">
                <a:latin typeface="Calibri"/>
                <a:cs typeface="Calibri"/>
              </a:rPr>
              <a:t>BU Manager HYDMedia ECM</a:t>
            </a:r>
          </a:p>
        </p:txBody>
      </p:sp>
      <p:sp>
        <p:nvSpPr>
          <p:cNvPr id="3" name="Titolo 2">
            <a:extLst>
              <a:ext uri="{FF2B5EF4-FFF2-40B4-BE49-F238E27FC236}">
                <a16:creationId xmlns:a16="http://schemas.microsoft.com/office/drawing/2014/main" id="{2D34C274-DD49-450C-B1EE-CEDEA7EFE0B2}"/>
              </a:ext>
            </a:extLst>
          </p:cNvPr>
          <p:cNvSpPr>
            <a:spLocks noGrp="1"/>
          </p:cNvSpPr>
          <p:nvPr>
            <p:ph type="ctrTitle"/>
          </p:nvPr>
        </p:nvSpPr>
        <p:spPr>
          <a:xfrm>
            <a:off x="314959" y="2722879"/>
            <a:ext cx="9938749" cy="1112203"/>
          </a:xfrm>
        </p:spPr>
        <p:txBody>
          <a:bodyPr>
            <a:normAutofit/>
          </a:bodyPr>
          <a:lstStyle/>
          <a:p>
            <a:r>
              <a:rPr lang="en-GB" dirty="0" err="1">
                <a:latin typeface="Calibri"/>
                <a:cs typeface="Calibri"/>
              </a:rPr>
              <a:t>Kölner</a:t>
            </a:r>
            <a:r>
              <a:rPr lang="en-GB" dirty="0">
                <a:latin typeface="Calibri"/>
                <a:cs typeface="Calibri"/>
              </a:rPr>
              <a:t> Symposium 2023 – Die </a:t>
            </a:r>
            <a:r>
              <a:rPr lang="en-GB" dirty="0" err="1">
                <a:latin typeface="Calibri"/>
                <a:cs typeface="Calibri"/>
              </a:rPr>
              <a:t>digitale</a:t>
            </a:r>
            <a:r>
              <a:rPr lang="en-GB" dirty="0">
                <a:latin typeface="Calibri"/>
                <a:cs typeface="Calibri"/>
              </a:rPr>
              <a:t> </a:t>
            </a:r>
            <a:r>
              <a:rPr lang="en-GB" dirty="0" err="1">
                <a:latin typeface="Calibri"/>
                <a:cs typeface="Calibri"/>
              </a:rPr>
              <a:t>Krankenakte</a:t>
            </a:r>
            <a:endParaRPr lang="en-GB" dirty="0">
              <a:latin typeface="Calibri"/>
              <a:cs typeface="Calibri"/>
            </a:endParaRPr>
          </a:p>
        </p:txBody>
      </p:sp>
    </p:spTree>
    <p:extLst>
      <p:ext uri="{BB962C8B-B14F-4D97-AF65-F5344CB8AC3E}">
        <p14:creationId xmlns:p14="http://schemas.microsoft.com/office/powerpoint/2010/main" val="2717903595"/>
      </p:ext>
    </p:extLst>
  </p:cSld>
  <p:clrMapOvr>
    <a:masterClrMapping/>
  </p:clrMapOvr>
  <mc:AlternateContent xmlns:mc="http://schemas.openxmlformats.org/markup-compatibility/2006" xmlns:p14="http://schemas.microsoft.com/office/powerpoint/2010/main">
    <mc:Choice Requires="p14">
      <p:transition spd="slow" p14:dur="1250">
        <p14:reveal/>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8" name="Rechteck 77">
            <a:extLst>
              <a:ext uri="{FF2B5EF4-FFF2-40B4-BE49-F238E27FC236}">
                <a16:creationId xmlns:a16="http://schemas.microsoft.com/office/drawing/2014/main" id="{1BECF146-79E9-415D-8D1F-D1FC4D324E61}"/>
              </a:ext>
            </a:extLst>
          </p:cNvPr>
          <p:cNvSpPr/>
          <p:nvPr/>
        </p:nvSpPr>
        <p:spPr>
          <a:xfrm>
            <a:off x="9586405" y="2802982"/>
            <a:ext cx="89232" cy="248625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Rechteck 1">
            <a:extLst>
              <a:ext uri="{FF2B5EF4-FFF2-40B4-BE49-F238E27FC236}">
                <a16:creationId xmlns:a16="http://schemas.microsoft.com/office/drawing/2014/main" id="{A13840F4-51F2-4F18-BA19-00E3D29D89E4}"/>
              </a:ext>
            </a:extLst>
          </p:cNvPr>
          <p:cNvSpPr/>
          <p:nvPr/>
        </p:nvSpPr>
        <p:spPr>
          <a:xfrm>
            <a:off x="6995605" y="3869782"/>
            <a:ext cx="89232" cy="248625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66" name="Picture 65"/>
          <p:cNvPicPr>
            <a:picLocks noChangeAspect="1"/>
          </p:cNvPicPr>
          <p:nvPr/>
        </p:nvPicPr>
        <p:blipFill>
          <a:blip r:embed="rId5"/>
          <a:stretch>
            <a:fillRect/>
          </a:stretch>
        </p:blipFill>
        <p:spPr>
          <a:xfrm rot="21480000">
            <a:off x="1245558" y="2658903"/>
            <a:ext cx="10430256" cy="3331464"/>
          </a:xfrm>
          <a:prstGeom prst="rect">
            <a:avLst/>
          </a:prstGeom>
        </p:spPr>
      </p:pic>
      <p:graphicFrame>
        <p:nvGraphicFramePr>
          <p:cNvPr id="67" name="Object 66"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3" name="think-cell Slide" r:id="rId6" imgW="353" imgH="318" progId="TCLayout.ActiveDocument.1">
                  <p:embed/>
                </p:oleObj>
              </mc:Choice>
              <mc:Fallback>
                <p:oleObj name="think-cell Slide" r:id="rId6" imgW="353" imgH="318" progId="TCLayout.ActiveDocument.1">
                  <p:embed/>
                  <p:pic>
                    <p:nvPicPr>
                      <p:cNvPr id="67" name="Object 66" hidden="1"/>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76" name="Picture 75"/>
          <p:cNvPicPr>
            <a:picLocks noChangeAspect="1"/>
          </p:cNvPicPr>
          <p:nvPr/>
        </p:nvPicPr>
        <p:blipFill rotWithShape="1">
          <a:blip r:embed="rId8"/>
          <a:srcRect l="73025" t="20981" r="16566" b="-20981"/>
          <a:stretch/>
        </p:blipFill>
        <p:spPr>
          <a:xfrm>
            <a:off x="8736365" y="2410344"/>
            <a:ext cx="1096621" cy="3874008"/>
          </a:xfrm>
          <a:prstGeom prst="rect">
            <a:avLst/>
          </a:prstGeom>
        </p:spPr>
      </p:pic>
      <p:sp>
        <p:nvSpPr>
          <p:cNvPr id="7" name="Title 1"/>
          <p:cNvSpPr txBox="1">
            <a:spLocks/>
          </p:cNvSpPr>
          <p:nvPr/>
        </p:nvSpPr>
        <p:spPr>
          <a:xfrm>
            <a:off x="277290" y="223790"/>
            <a:ext cx="10200210" cy="547735"/>
          </a:xfrm>
          <a:prstGeom prst="rect">
            <a:avLst/>
          </a:prstGeom>
        </p:spPr>
        <p:txBody>
          <a:bodyPr vert="horz" anchor="b" anchorCtr="0">
            <a:noAutofit/>
          </a:bodyPr>
          <a:lstStyle>
            <a:lvl1pPr algn="l" rtl="0" eaLnBrk="1" fontAlgn="base" hangingPunct="1">
              <a:lnSpc>
                <a:spcPct val="90000"/>
              </a:lnSpc>
              <a:spcBef>
                <a:spcPct val="0"/>
              </a:spcBef>
              <a:spcAft>
                <a:spcPct val="0"/>
              </a:spcAft>
              <a:defRPr sz="2800" b="1" i="0" kern="1200">
                <a:solidFill>
                  <a:schemeClr val="tx2"/>
                </a:solidFill>
                <a:latin typeface="Montserrat" pitchFamily="2" charset="77"/>
                <a:ea typeface="+mj-ea"/>
                <a:cs typeface="+mj-cs"/>
              </a:defRPr>
            </a:lvl1pPr>
            <a:lvl2pPr algn="l" rtl="0" eaLnBrk="1" fontAlgn="base" hangingPunct="1">
              <a:lnSpc>
                <a:spcPct val="90000"/>
              </a:lnSpc>
              <a:spcBef>
                <a:spcPct val="0"/>
              </a:spcBef>
              <a:spcAft>
                <a:spcPct val="0"/>
              </a:spcAft>
              <a:defRPr sz="4400">
                <a:solidFill>
                  <a:schemeClr val="tx1"/>
                </a:solidFill>
                <a:latin typeface="Montserrat" panose="00000500000000000000" pitchFamily="2" charset="0"/>
              </a:defRPr>
            </a:lvl2pPr>
            <a:lvl3pPr algn="l" rtl="0" eaLnBrk="1" fontAlgn="base" hangingPunct="1">
              <a:lnSpc>
                <a:spcPct val="90000"/>
              </a:lnSpc>
              <a:spcBef>
                <a:spcPct val="0"/>
              </a:spcBef>
              <a:spcAft>
                <a:spcPct val="0"/>
              </a:spcAft>
              <a:defRPr sz="4400">
                <a:solidFill>
                  <a:schemeClr val="tx1"/>
                </a:solidFill>
                <a:latin typeface="Montserrat" panose="00000500000000000000" pitchFamily="2" charset="0"/>
              </a:defRPr>
            </a:lvl3pPr>
            <a:lvl4pPr algn="l" rtl="0" eaLnBrk="1" fontAlgn="base" hangingPunct="1">
              <a:lnSpc>
                <a:spcPct val="90000"/>
              </a:lnSpc>
              <a:spcBef>
                <a:spcPct val="0"/>
              </a:spcBef>
              <a:spcAft>
                <a:spcPct val="0"/>
              </a:spcAft>
              <a:defRPr sz="4400">
                <a:solidFill>
                  <a:schemeClr val="tx1"/>
                </a:solidFill>
                <a:latin typeface="Montserrat" panose="00000500000000000000" pitchFamily="2" charset="0"/>
              </a:defRPr>
            </a:lvl4pPr>
            <a:lvl5pPr algn="l" rtl="0" eaLnBrk="1" fontAlgn="base" hangingPunct="1">
              <a:lnSpc>
                <a:spcPct val="90000"/>
              </a:lnSpc>
              <a:spcBef>
                <a:spcPct val="0"/>
              </a:spcBef>
              <a:spcAft>
                <a:spcPct val="0"/>
              </a:spcAft>
              <a:defRPr sz="4400">
                <a:solidFill>
                  <a:schemeClr val="tx1"/>
                </a:solidFill>
                <a:latin typeface="Montserrat" panose="00000500000000000000" pitchFamily="2" charset="0"/>
              </a:defRPr>
            </a:lvl5pPr>
            <a:lvl6pPr marL="457200" algn="l" rtl="0" eaLnBrk="1" fontAlgn="base" hangingPunct="1">
              <a:lnSpc>
                <a:spcPct val="90000"/>
              </a:lnSpc>
              <a:spcBef>
                <a:spcPct val="0"/>
              </a:spcBef>
              <a:spcAft>
                <a:spcPct val="0"/>
              </a:spcAft>
              <a:defRPr sz="4400">
                <a:solidFill>
                  <a:schemeClr val="tx1"/>
                </a:solidFill>
                <a:latin typeface="Montserrat" panose="00000500000000000000" pitchFamily="2" charset="0"/>
              </a:defRPr>
            </a:lvl6pPr>
            <a:lvl7pPr marL="914400" algn="l" rtl="0" eaLnBrk="1" fontAlgn="base" hangingPunct="1">
              <a:lnSpc>
                <a:spcPct val="90000"/>
              </a:lnSpc>
              <a:spcBef>
                <a:spcPct val="0"/>
              </a:spcBef>
              <a:spcAft>
                <a:spcPct val="0"/>
              </a:spcAft>
              <a:defRPr sz="4400">
                <a:solidFill>
                  <a:schemeClr val="tx1"/>
                </a:solidFill>
                <a:latin typeface="Montserrat" panose="00000500000000000000" pitchFamily="2" charset="0"/>
              </a:defRPr>
            </a:lvl7pPr>
            <a:lvl8pPr marL="1371600" algn="l" rtl="0" eaLnBrk="1" fontAlgn="base" hangingPunct="1">
              <a:lnSpc>
                <a:spcPct val="90000"/>
              </a:lnSpc>
              <a:spcBef>
                <a:spcPct val="0"/>
              </a:spcBef>
              <a:spcAft>
                <a:spcPct val="0"/>
              </a:spcAft>
              <a:defRPr sz="4400">
                <a:solidFill>
                  <a:schemeClr val="tx1"/>
                </a:solidFill>
                <a:latin typeface="Montserrat" panose="00000500000000000000" pitchFamily="2" charset="0"/>
              </a:defRPr>
            </a:lvl8pPr>
            <a:lvl9pPr marL="1828800" algn="l" rtl="0" eaLnBrk="1" fontAlgn="base" hangingPunct="1">
              <a:lnSpc>
                <a:spcPct val="90000"/>
              </a:lnSpc>
              <a:spcBef>
                <a:spcPct val="0"/>
              </a:spcBef>
              <a:spcAft>
                <a:spcPct val="0"/>
              </a:spcAft>
              <a:defRPr sz="4400">
                <a:solidFill>
                  <a:schemeClr val="tx1"/>
                </a:solidFill>
                <a:latin typeface="Montserrat" panose="00000500000000000000" pitchFamily="2" charset="0"/>
              </a:defRPr>
            </a:lvl9pPr>
          </a:lstStyle>
          <a:p>
            <a:r>
              <a:rPr lang="en-GB" dirty="0">
                <a:solidFill>
                  <a:schemeClr val="bg1"/>
                </a:solidFill>
                <a:latin typeface="Montserrat" panose="00000500000000000000"/>
              </a:rPr>
              <a:t>Die </a:t>
            </a:r>
            <a:r>
              <a:rPr lang="en-GB" dirty="0" err="1">
                <a:solidFill>
                  <a:schemeClr val="bg1"/>
                </a:solidFill>
                <a:latin typeface="Montserrat" panose="00000500000000000000"/>
              </a:rPr>
              <a:t>Geschichte</a:t>
            </a:r>
            <a:r>
              <a:rPr lang="en-GB" dirty="0">
                <a:solidFill>
                  <a:schemeClr val="bg1"/>
                </a:solidFill>
                <a:latin typeface="Montserrat" panose="00000500000000000000"/>
              </a:rPr>
              <a:t> am </a:t>
            </a:r>
            <a:r>
              <a:rPr lang="en-GB" dirty="0" err="1">
                <a:solidFill>
                  <a:schemeClr val="bg1"/>
                </a:solidFill>
                <a:latin typeface="Montserrat" panose="00000500000000000000"/>
              </a:rPr>
              <a:t>Beispiel</a:t>
            </a:r>
            <a:r>
              <a:rPr lang="en-GB" dirty="0">
                <a:solidFill>
                  <a:schemeClr val="bg1"/>
                </a:solidFill>
                <a:latin typeface="Montserrat" panose="00000500000000000000"/>
              </a:rPr>
              <a:t> der HYDMedia </a:t>
            </a:r>
            <a:endParaRPr lang="en-US" dirty="0">
              <a:solidFill>
                <a:schemeClr val="bg1"/>
              </a:solidFill>
              <a:latin typeface="Montserrat" panose="00000500000000000000"/>
            </a:endParaRPr>
          </a:p>
        </p:txBody>
      </p:sp>
      <p:sp>
        <p:nvSpPr>
          <p:cNvPr id="8" name="Freeform 7"/>
          <p:cNvSpPr/>
          <p:nvPr/>
        </p:nvSpPr>
        <p:spPr>
          <a:xfrm>
            <a:off x="816674" y="1385565"/>
            <a:ext cx="10614598" cy="3503928"/>
          </a:xfrm>
          <a:custGeom>
            <a:avLst/>
            <a:gdLst>
              <a:gd name="connsiteX0" fmla="*/ 0 w 7109138"/>
              <a:gd name="connsiteY0" fmla="*/ 2401910 h 2401910"/>
              <a:gd name="connsiteX1" fmla="*/ 4398135 w 7109138"/>
              <a:gd name="connsiteY1" fmla="*/ 1661375 h 2401910"/>
              <a:gd name="connsiteX2" fmla="*/ 7109138 w 7109138"/>
              <a:gd name="connsiteY2" fmla="*/ 0 h 2401910"/>
              <a:gd name="connsiteX0" fmla="*/ 0 w 7109138"/>
              <a:gd name="connsiteY0" fmla="*/ 2401910 h 2401910"/>
              <a:gd name="connsiteX1" fmla="*/ 3973133 w 7109138"/>
              <a:gd name="connsiteY1" fmla="*/ 1764406 h 2401910"/>
              <a:gd name="connsiteX2" fmla="*/ 7109138 w 7109138"/>
              <a:gd name="connsiteY2" fmla="*/ 0 h 2401910"/>
              <a:gd name="connsiteX0" fmla="*/ 0 w 7109138"/>
              <a:gd name="connsiteY0" fmla="*/ 2401910 h 2401910"/>
              <a:gd name="connsiteX1" fmla="*/ 3973133 w 7109138"/>
              <a:gd name="connsiteY1" fmla="*/ 1764406 h 2401910"/>
              <a:gd name="connsiteX2" fmla="*/ 7109138 w 7109138"/>
              <a:gd name="connsiteY2" fmla="*/ 0 h 2401910"/>
              <a:gd name="connsiteX0" fmla="*/ 0 w 7109138"/>
              <a:gd name="connsiteY0" fmla="*/ 2401910 h 2401910"/>
              <a:gd name="connsiteX1" fmla="*/ 3973133 w 7109138"/>
              <a:gd name="connsiteY1" fmla="*/ 1764406 h 2401910"/>
              <a:gd name="connsiteX2" fmla="*/ 7109138 w 7109138"/>
              <a:gd name="connsiteY2" fmla="*/ 0 h 2401910"/>
              <a:gd name="connsiteX0" fmla="*/ 0 w 7109138"/>
              <a:gd name="connsiteY0" fmla="*/ 2401910 h 2401910"/>
              <a:gd name="connsiteX1" fmla="*/ 3973133 w 7109138"/>
              <a:gd name="connsiteY1" fmla="*/ 1764406 h 2401910"/>
              <a:gd name="connsiteX2" fmla="*/ 7109138 w 7109138"/>
              <a:gd name="connsiteY2" fmla="*/ 0 h 2401910"/>
              <a:gd name="connsiteX0" fmla="*/ 0 w 7109138"/>
              <a:gd name="connsiteY0" fmla="*/ 2401910 h 2401910"/>
              <a:gd name="connsiteX1" fmla="*/ 3973133 w 7109138"/>
              <a:gd name="connsiteY1" fmla="*/ 1764406 h 2401910"/>
              <a:gd name="connsiteX2" fmla="*/ 7109138 w 7109138"/>
              <a:gd name="connsiteY2" fmla="*/ 0 h 2401910"/>
              <a:gd name="connsiteX0" fmla="*/ 0 w 7109138"/>
              <a:gd name="connsiteY0" fmla="*/ 2401910 h 2401910"/>
              <a:gd name="connsiteX1" fmla="*/ 3973133 w 7109138"/>
              <a:gd name="connsiteY1" fmla="*/ 1764406 h 2401910"/>
              <a:gd name="connsiteX2" fmla="*/ 7109138 w 7109138"/>
              <a:gd name="connsiteY2" fmla="*/ 0 h 2401910"/>
              <a:gd name="connsiteX0" fmla="*/ 0 w 7109138"/>
              <a:gd name="connsiteY0" fmla="*/ 2401910 h 2401910"/>
              <a:gd name="connsiteX1" fmla="*/ 3973133 w 7109138"/>
              <a:gd name="connsiteY1" fmla="*/ 1764406 h 2401910"/>
              <a:gd name="connsiteX2" fmla="*/ 7109138 w 7109138"/>
              <a:gd name="connsiteY2" fmla="*/ 0 h 2401910"/>
            </a:gdLst>
            <a:ahLst/>
            <a:cxnLst>
              <a:cxn ang="0">
                <a:pos x="connsiteX0" y="connsiteY0"/>
              </a:cxn>
              <a:cxn ang="0">
                <a:pos x="connsiteX1" y="connsiteY1"/>
              </a:cxn>
              <a:cxn ang="0">
                <a:pos x="connsiteX2" y="connsiteY2"/>
              </a:cxn>
            </a:cxnLst>
            <a:rect l="l" t="t" r="r" b="b"/>
            <a:pathLst>
              <a:path w="7109138" h="2401910">
                <a:moveTo>
                  <a:pt x="0" y="2401910"/>
                </a:moveTo>
                <a:cubicBezTo>
                  <a:pt x="1162318" y="2354150"/>
                  <a:pt x="2079939" y="2332149"/>
                  <a:pt x="3973133" y="1764406"/>
                </a:cubicBezTo>
                <a:cubicBezTo>
                  <a:pt x="5866327" y="1196663"/>
                  <a:pt x="6494171" y="495300"/>
                  <a:pt x="7109138" y="0"/>
                </a:cubicBez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22363" tIns="61181" rIns="122363" bIns="61181" rtlCol="0" anchor="ctr"/>
          <a:lstStyle/>
          <a:p>
            <a:pPr algn="ctr"/>
            <a:endParaRPr lang="en-GB" sz="2400" b="1">
              <a:solidFill>
                <a:schemeClr val="bg1"/>
              </a:solidFill>
              <a:latin typeface="Montserrat" panose="00000500000000000000"/>
            </a:endParaRPr>
          </a:p>
        </p:txBody>
      </p:sp>
      <p:sp>
        <p:nvSpPr>
          <p:cNvPr id="9" name="Oval 8"/>
          <p:cNvSpPr>
            <a:spLocks noChangeArrowheads="1"/>
          </p:cNvSpPr>
          <p:nvPr/>
        </p:nvSpPr>
        <p:spPr bwMode="auto">
          <a:xfrm>
            <a:off x="432079" y="4721376"/>
            <a:ext cx="360000" cy="360000"/>
          </a:xfrm>
          <a:prstGeom prst="ellipse">
            <a:avLst/>
          </a:prstGeom>
          <a:solidFill>
            <a:srgbClr val="FFFFFF"/>
          </a:solidFill>
          <a:ln w="12700">
            <a:solidFill>
              <a:schemeClr val="tx2"/>
            </a:solidFill>
            <a:round/>
            <a:headEnd/>
            <a:tailEnd/>
          </a:ln>
        </p:spPr>
        <p:txBody>
          <a:bodyPr vert="horz" wrap="square" lIns="91440" tIns="45720" rIns="91440" bIns="45720" numCol="1" anchor="t" anchorCtr="0" compatLnSpc="1">
            <a:prstTxWarp prst="textNoShape">
              <a:avLst/>
            </a:prstTxWarp>
          </a:bodyPr>
          <a:lstStyle/>
          <a:p>
            <a:endParaRPr lang="en-US" sz="2400" b="1">
              <a:solidFill>
                <a:schemeClr val="bg1"/>
              </a:solidFill>
              <a:latin typeface="Montserrat" panose="00000500000000000000"/>
            </a:endParaRPr>
          </a:p>
        </p:txBody>
      </p:sp>
      <p:sp>
        <p:nvSpPr>
          <p:cNvPr id="11" name="Oval 10"/>
          <p:cNvSpPr>
            <a:spLocks noChangeArrowheads="1"/>
          </p:cNvSpPr>
          <p:nvPr/>
        </p:nvSpPr>
        <p:spPr bwMode="auto">
          <a:xfrm>
            <a:off x="11215586" y="1200328"/>
            <a:ext cx="360000" cy="360000"/>
          </a:xfrm>
          <a:prstGeom prst="ellipse">
            <a:avLst/>
          </a:prstGeom>
          <a:solidFill>
            <a:srgbClr val="83C969"/>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2400" b="1">
              <a:solidFill>
                <a:schemeClr val="bg1"/>
              </a:solidFill>
              <a:highlight>
                <a:srgbClr val="83C969"/>
              </a:highlight>
              <a:latin typeface="Montserrat" panose="00000500000000000000"/>
            </a:endParaRPr>
          </a:p>
        </p:txBody>
      </p:sp>
      <p:sp>
        <p:nvSpPr>
          <p:cNvPr id="13" name="Oval 23"/>
          <p:cNvSpPr>
            <a:spLocks noChangeArrowheads="1"/>
          </p:cNvSpPr>
          <p:nvPr/>
        </p:nvSpPr>
        <p:spPr bwMode="auto">
          <a:xfrm>
            <a:off x="7215361" y="3189712"/>
            <a:ext cx="864939" cy="864939"/>
          </a:xfrm>
          <a:prstGeom prst="ellipse">
            <a:avLst/>
          </a:prstGeom>
          <a:solidFill>
            <a:srgbClr val="FFFFFF"/>
          </a:solidFill>
          <a:ln w="19050">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US" sz="1200">
              <a:solidFill>
                <a:schemeClr val="accent1"/>
              </a:solidFill>
              <a:latin typeface="Montserrat" panose="00000500000000000000"/>
            </a:endParaRPr>
          </a:p>
        </p:txBody>
      </p:sp>
      <p:sp>
        <p:nvSpPr>
          <p:cNvPr id="14" name="Oval 25"/>
          <p:cNvSpPr>
            <a:spLocks noChangeArrowheads="1"/>
          </p:cNvSpPr>
          <p:nvPr/>
        </p:nvSpPr>
        <p:spPr bwMode="auto">
          <a:xfrm>
            <a:off x="7306661" y="3281011"/>
            <a:ext cx="682341" cy="682341"/>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200">
              <a:solidFill>
                <a:schemeClr val="accent1"/>
              </a:solidFill>
              <a:latin typeface="Montserrat" panose="00000500000000000000"/>
            </a:endParaRPr>
          </a:p>
        </p:txBody>
      </p:sp>
      <p:sp>
        <p:nvSpPr>
          <p:cNvPr id="15" name="Rectangle 14"/>
          <p:cNvSpPr/>
          <p:nvPr/>
        </p:nvSpPr>
        <p:spPr>
          <a:xfrm>
            <a:off x="6774990" y="2385361"/>
            <a:ext cx="1522197" cy="4473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22363" tIns="61181" rIns="122363" bIns="61181" rtlCol="0" anchor="ctr"/>
          <a:lstStyle/>
          <a:p>
            <a:pPr algn="ctr"/>
            <a:r>
              <a:rPr lang="en-GB" sz="1400" b="1" dirty="0">
                <a:solidFill>
                  <a:schemeClr val="bg1"/>
                </a:solidFill>
                <a:latin typeface="Montserrat" panose="00000500000000000000"/>
                <a:cs typeface="Calibri" panose="020F0502020204030204" pitchFamily="34" charset="0"/>
              </a:rPr>
              <a:t>HYDMedia G5</a:t>
            </a:r>
          </a:p>
          <a:p>
            <a:pPr algn="ctr"/>
            <a:r>
              <a:rPr lang="en-GB" sz="1400" b="1" dirty="0">
                <a:solidFill>
                  <a:schemeClr val="bg1"/>
                </a:solidFill>
                <a:latin typeface="Montserrat" panose="00000500000000000000"/>
                <a:cs typeface="Calibri" panose="020F0502020204030204" pitchFamily="34" charset="0"/>
              </a:rPr>
              <a:t>2010</a:t>
            </a:r>
          </a:p>
          <a:p>
            <a:pPr algn="ctr"/>
            <a:r>
              <a:rPr lang="en-GB" sz="1400" b="1" dirty="0">
                <a:solidFill>
                  <a:schemeClr val="bg1"/>
                </a:solidFill>
                <a:latin typeface="Montserrat" panose="00000500000000000000"/>
                <a:cs typeface="Calibri" panose="020F0502020204030204" pitchFamily="34" charset="0"/>
              </a:rPr>
              <a:t>Clinical ECM platform – HYDMedia goes international</a:t>
            </a:r>
          </a:p>
          <a:p>
            <a:pPr algn="ctr"/>
            <a:endParaRPr lang="en-GB" sz="1400" b="1" dirty="0">
              <a:solidFill>
                <a:schemeClr val="bg1"/>
              </a:solidFill>
              <a:latin typeface="Montserrat" panose="00000500000000000000"/>
              <a:cs typeface="Calibri" panose="020F0502020204030204" pitchFamily="34" charset="0"/>
            </a:endParaRPr>
          </a:p>
          <a:p>
            <a:pPr algn="ctr"/>
            <a:endParaRPr lang="en-GB" sz="1400" b="1" dirty="0">
              <a:solidFill>
                <a:schemeClr val="bg1"/>
              </a:solidFill>
              <a:latin typeface="Montserrat" panose="00000500000000000000"/>
              <a:cs typeface="Calibri" panose="020F0502020204030204" pitchFamily="34" charset="0"/>
            </a:endParaRPr>
          </a:p>
        </p:txBody>
      </p:sp>
      <p:sp>
        <p:nvSpPr>
          <p:cNvPr id="16" name="Freeform 39">
            <a:extLst>
              <a:ext uri="{FF2B5EF4-FFF2-40B4-BE49-F238E27FC236}">
                <a16:creationId xmlns:a16="http://schemas.microsoft.com/office/drawing/2014/main" id="{82C55C35-0D63-4756-A23B-FCBD8FF45E7F}"/>
              </a:ext>
            </a:extLst>
          </p:cNvPr>
          <p:cNvSpPr>
            <a:spLocks noChangeAspect="1" noEditPoints="1"/>
          </p:cNvSpPr>
          <p:nvPr/>
        </p:nvSpPr>
        <p:spPr bwMode="auto">
          <a:xfrm>
            <a:off x="7472704" y="3443336"/>
            <a:ext cx="350252" cy="357690"/>
          </a:xfrm>
          <a:custGeom>
            <a:avLst/>
            <a:gdLst>
              <a:gd name="T0" fmla="*/ 0 w 112"/>
              <a:gd name="T1" fmla="*/ 2 h 112"/>
              <a:gd name="T2" fmla="*/ 84 w 112"/>
              <a:gd name="T3" fmla="*/ 112 h 112"/>
              <a:gd name="T4" fmla="*/ 58 w 112"/>
              <a:gd name="T5" fmla="*/ 108 h 112"/>
              <a:gd name="T6" fmla="*/ 58 w 112"/>
              <a:gd name="T7" fmla="*/ 91 h 112"/>
              <a:gd name="T8" fmla="*/ 57 w 112"/>
              <a:gd name="T9" fmla="*/ 90 h 112"/>
              <a:gd name="T10" fmla="*/ 57 w 112"/>
              <a:gd name="T11" fmla="*/ 89 h 112"/>
              <a:gd name="T12" fmla="*/ 56 w 112"/>
              <a:gd name="T13" fmla="*/ 89 h 112"/>
              <a:gd name="T14" fmla="*/ 55 w 112"/>
              <a:gd name="T15" fmla="*/ 90 h 112"/>
              <a:gd name="T16" fmla="*/ 49 w 112"/>
              <a:gd name="T17" fmla="*/ 74 h 112"/>
              <a:gd name="T18" fmla="*/ 55 w 112"/>
              <a:gd name="T19" fmla="*/ 77 h 112"/>
              <a:gd name="T20" fmla="*/ 58 w 112"/>
              <a:gd name="T21" fmla="*/ 75 h 112"/>
              <a:gd name="T22" fmla="*/ 58 w 112"/>
              <a:gd name="T23" fmla="*/ 75 h 112"/>
              <a:gd name="T24" fmla="*/ 71 w 112"/>
              <a:gd name="T25" fmla="*/ 58 h 112"/>
              <a:gd name="T26" fmla="*/ 96 w 112"/>
              <a:gd name="T27" fmla="*/ 63 h 112"/>
              <a:gd name="T28" fmla="*/ 108 w 112"/>
              <a:gd name="T29" fmla="*/ 108 h 112"/>
              <a:gd name="T30" fmla="*/ 96 w 112"/>
              <a:gd name="T31" fmla="*/ 112 h 112"/>
              <a:gd name="T32" fmla="*/ 112 w 112"/>
              <a:gd name="T33" fmla="*/ 2 h 112"/>
              <a:gd name="T34" fmla="*/ 54 w 112"/>
              <a:gd name="T35" fmla="*/ 21 h 112"/>
              <a:gd name="T36" fmla="*/ 54 w 112"/>
              <a:gd name="T37" fmla="*/ 22 h 112"/>
              <a:gd name="T38" fmla="*/ 55 w 112"/>
              <a:gd name="T39" fmla="*/ 22 h 112"/>
              <a:gd name="T40" fmla="*/ 56 w 112"/>
              <a:gd name="T41" fmla="*/ 23 h 112"/>
              <a:gd name="T42" fmla="*/ 57 w 112"/>
              <a:gd name="T43" fmla="*/ 23 h 112"/>
              <a:gd name="T44" fmla="*/ 63 w 112"/>
              <a:gd name="T45" fmla="*/ 20 h 112"/>
              <a:gd name="T46" fmla="*/ 57 w 112"/>
              <a:gd name="T47" fmla="*/ 36 h 112"/>
              <a:gd name="T48" fmla="*/ 56 w 112"/>
              <a:gd name="T49" fmla="*/ 35 h 112"/>
              <a:gd name="T50" fmla="*/ 54 w 112"/>
              <a:gd name="T51" fmla="*/ 36 h 112"/>
              <a:gd name="T52" fmla="*/ 54 w 112"/>
              <a:gd name="T53" fmla="*/ 37 h 112"/>
              <a:gd name="T54" fmla="*/ 54 w 112"/>
              <a:gd name="T55" fmla="*/ 38 h 112"/>
              <a:gd name="T56" fmla="*/ 42 w 112"/>
              <a:gd name="T57" fmla="*/ 49 h 112"/>
              <a:gd name="T58" fmla="*/ 17 w 112"/>
              <a:gd name="T59" fmla="*/ 54 h 112"/>
              <a:gd name="T60" fmla="*/ 54 w 112"/>
              <a:gd name="T61" fmla="*/ 4 h 112"/>
              <a:gd name="T62" fmla="*/ 36 w 112"/>
              <a:gd name="T63" fmla="*/ 83 h 112"/>
              <a:gd name="T64" fmla="*/ 54 w 112"/>
              <a:gd name="T65" fmla="*/ 108 h 112"/>
              <a:gd name="T66" fmla="*/ 21 w 112"/>
              <a:gd name="T67" fmla="*/ 58 h 112"/>
              <a:gd name="T68" fmla="*/ 22 w 112"/>
              <a:gd name="T69" fmla="*/ 58 h 112"/>
              <a:gd name="T70" fmla="*/ 22 w 112"/>
              <a:gd name="T71" fmla="*/ 57 h 112"/>
              <a:gd name="T72" fmla="*/ 23 w 112"/>
              <a:gd name="T73" fmla="*/ 56 h 112"/>
              <a:gd name="T74" fmla="*/ 23 w 112"/>
              <a:gd name="T75" fmla="*/ 55 h 112"/>
              <a:gd name="T76" fmla="*/ 20 w 112"/>
              <a:gd name="T77" fmla="*/ 49 h 112"/>
              <a:gd name="T78" fmla="*/ 36 w 112"/>
              <a:gd name="T79" fmla="*/ 55 h 112"/>
              <a:gd name="T80" fmla="*/ 35 w 112"/>
              <a:gd name="T81" fmla="*/ 56 h 112"/>
              <a:gd name="T82" fmla="*/ 35 w 112"/>
              <a:gd name="T83" fmla="*/ 57 h 112"/>
              <a:gd name="T84" fmla="*/ 36 w 112"/>
              <a:gd name="T85" fmla="*/ 57 h 112"/>
              <a:gd name="T86" fmla="*/ 37 w 112"/>
              <a:gd name="T87" fmla="*/ 58 h 112"/>
              <a:gd name="T88" fmla="*/ 54 w 112"/>
              <a:gd name="T89" fmla="*/ 58 h 112"/>
              <a:gd name="T90" fmla="*/ 91 w 112"/>
              <a:gd name="T91" fmla="*/ 54 h 112"/>
              <a:gd name="T92" fmla="*/ 90 w 112"/>
              <a:gd name="T93" fmla="*/ 54 h 112"/>
              <a:gd name="T94" fmla="*/ 89 w 112"/>
              <a:gd name="T95" fmla="*/ 55 h 112"/>
              <a:gd name="T96" fmla="*/ 89 w 112"/>
              <a:gd name="T97" fmla="*/ 56 h 112"/>
              <a:gd name="T98" fmla="*/ 90 w 112"/>
              <a:gd name="T99" fmla="*/ 57 h 112"/>
              <a:gd name="T100" fmla="*/ 83 w 112"/>
              <a:gd name="T101" fmla="*/ 72 h 112"/>
              <a:gd name="T102" fmla="*/ 76 w 112"/>
              <a:gd name="T103" fmla="*/ 57 h 112"/>
              <a:gd name="T104" fmla="*/ 77 w 112"/>
              <a:gd name="T105" fmla="*/ 56 h 112"/>
              <a:gd name="T106" fmla="*/ 76 w 112"/>
              <a:gd name="T107" fmla="*/ 55 h 112"/>
              <a:gd name="T108" fmla="*/ 76 w 112"/>
              <a:gd name="T109" fmla="*/ 54 h 112"/>
              <a:gd name="T110" fmla="*/ 75 w 112"/>
              <a:gd name="T111" fmla="*/ 54 h 112"/>
              <a:gd name="T112" fmla="*/ 58 w 112"/>
              <a:gd name="T113" fmla="*/ 41 h 112"/>
              <a:gd name="T114" fmla="*/ 63 w 112"/>
              <a:gd name="T115" fmla="*/ 16 h 112"/>
              <a:gd name="T116" fmla="*/ 108 w 112"/>
              <a:gd name="T117" fmla="*/ 4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2" h="112">
                <a:moveTo>
                  <a:pt x="110" y="0"/>
                </a:moveTo>
                <a:cubicBezTo>
                  <a:pt x="2" y="0"/>
                  <a:pt x="2" y="0"/>
                  <a:pt x="2" y="0"/>
                </a:cubicBezTo>
                <a:cubicBezTo>
                  <a:pt x="1" y="0"/>
                  <a:pt x="0" y="1"/>
                  <a:pt x="0" y="2"/>
                </a:cubicBezTo>
                <a:cubicBezTo>
                  <a:pt x="0" y="110"/>
                  <a:pt x="0" y="110"/>
                  <a:pt x="0" y="110"/>
                </a:cubicBezTo>
                <a:cubicBezTo>
                  <a:pt x="0" y="111"/>
                  <a:pt x="1" y="112"/>
                  <a:pt x="2" y="112"/>
                </a:cubicBezTo>
                <a:cubicBezTo>
                  <a:pt x="84" y="112"/>
                  <a:pt x="84" y="112"/>
                  <a:pt x="84" y="112"/>
                </a:cubicBezTo>
                <a:cubicBezTo>
                  <a:pt x="85" y="112"/>
                  <a:pt x="86" y="111"/>
                  <a:pt x="86" y="110"/>
                </a:cubicBezTo>
                <a:cubicBezTo>
                  <a:pt x="86" y="109"/>
                  <a:pt x="85" y="108"/>
                  <a:pt x="84" y="108"/>
                </a:cubicBezTo>
                <a:cubicBezTo>
                  <a:pt x="58" y="108"/>
                  <a:pt x="58" y="108"/>
                  <a:pt x="58" y="108"/>
                </a:cubicBezTo>
                <a:cubicBezTo>
                  <a:pt x="58" y="91"/>
                  <a:pt x="58" y="91"/>
                  <a:pt x="58" y="91"/>
                </a:cubicBezTo>
                <a:cubicBezTo>
                  <a:pt x="58" y="91"/>
                  <a:pt x="58" y="91"/>
                  <a:pt x="58" y="91"/>
                </a:cubicBezTo>
                <a:cubicBezTo>
                  <a:pt x="58" y="91"/>
                  <a:pt x="58" y="91"/>
                  <a:pt x="58" y="91"/>
                </a:cubicBezTo>
                <a:cubicBezTo>
                  <a:pt x="58" y="90"/>
                  <a:pt x="58" y="90"/>
                  <a:pt x="58" y="90"/>
                </a:cubicBezTo>
                <a:cubicBezTo>
                  <a:pt x="58" y="90"/>
                  <a:pt x="58" y="90"/>
                  <a:pt x="58" y="90"/>
                </a:cubicBezTo>
                <a:cubicBezTo>
                  <a:pt x="58" y="90"/>
                  <a:pt x="57" y="90"/>
                  <a:pt x="57" y="90"/>
                </a:cubicBezTo>
                <a:cubicBezTo>
                  <a:pt x="57" y="90"/>
                  <a:pt x="57" y="90"/>
                  <a:pt x="57" y="90"/>
                </a:cubicBezTo>
                <a:cubicBezTo>
                  <a:pt x="57" y="90"/>
                  <a:pt x="57" y="90"/>
                  <a:pt x="57" y="89"/>
                </a:cubicBezTo>
                <a:cubicBezTo>
                  <a:pt x="57" y="89"/>
                  <a:pt x="57" y="89"/>
                  <a:pt x="57" y="89"/>
                </a:cubicBezTo>
                <a:cubicBezTo>
                  <a:pt x="56" y="89"/>
                  <a:pt x="56" y="89"/>
                  <a:pt x="56" y="89"/>
                </a:cubicBezTo>
                <a:cubicBezTo>
                  <a:pt x="56" y="89"/>
                  <a:pt x="56" y="89"/>
                  <a:pt x="56" y="89"/>
                </a:cubicBezTo>
                <a:cubicBezTo>
                  <a:pt x="56" y="89"/>
                  <a:pt x="56" y="89"/>
                  <a:pt x="56" y="89"/>
                </a:cubicBezTo>
                <a:cubicBezTo>
                  <a:pt x="56" y="89"/>
                  <a:pt x="55" y="89"/>
                  <a:pt x="55" y="89"/>
                </a:cubicBezTo>
                <a:cubicBezTo>
                  <a:pt x="55" y="89"/>
                  <a:pt x="55" y="90"/>
                  <a:pt x="55" y="90"/>
                </a:cubicBezTo>
                <a:cubicBezTo>
                  <a:pt x="55" y="90"/>
                  <a:pt x="55" y="90"/>
                  <a:pt x="55" y="90"/>
                </a:cubicBezTo>
                <a:cubicBezTo>
                  <a:pt x="53" y="91"/>
                  <a:pt x="51" y="92"/>
                  <a:pt x="49" y="92"/>
                </a:cubicBezTo>
                <a:cubicBezTo>
                  <a:pt x="44" y="92"/>
                  <a:pt x="40" y="88"/>
                  <a:pt x="40" y="83"/>
                </a:cubicBezTo>
                <a:cubicBezTo>
                  <a:pt x="40" y="78"/>
                  <a:pt x="44" y="74"/>
                  <a:pt x="49" y="74"/>
                </a:cubicBezTo>
                <a:cubicBezTo>
                  <a:pt x="51" y="74"/>
                  <a:pt x="53" y="75"/>
                  <a:pt x="55" y="76"/>
                </a:cubicBezTo>
                <a:cubicBezTo>
                  <a:pt x="55" y="76"/>
                  <a:pt x="55" y="76"/>
                  <a:pt x="55" y="76"/>
                </a:cubicBezTo>
                <a:cubicBezTo>
                  <a:pt x="55" y="76"/>
                  <a:pt x="55" y="77"/>
                  <a:pt x="55" y="77"/>
                </a:cubicBezTo>
                <a:cubicBezTo>
                  <a:pt x="56" y="77"/>
                  <a:pt x="57" y="77"/>
                  <a:pt x="58" y="76"/>
                </a:cubicBezTo>
                <a:cubicBezTo>
                  <a:pt x="58" y="76"/>
                  <a:pt x="58" y="76"/>
                  <a:pt x="58" y="76"/>
                </a:cubicBezTo>
                <a:cubicBezTo>
                  <a:pt x="58" y="75"/>
                  <a:pt x="58" y="75"/>
                  <a:pt x="58" y="75"/>
                </a:cubicBezTo>
                <a:cubicBezTo>
                  <a:pt x="58" y="75"/>
                  <a:pt x="58" y="75"/>
                  <a:pt x="58" y="75"/>
                </a:cubicBezTo>
                <a:cubicBezTo>
                  <a:pt x="58" y="75"/>
                  <a:pt x="58" y="75"/>
                  <a:pt x="58" y="75"/>
                </a:cubicBezTo>
                <a:cubicBezTo>
                  <a:pt x="58" y="75"/>
                  <a:pt x="58" y="75"/>
                  <a:pt x="58" y="75"/>
                </a:cubicBezTo>
                <a:cubicBezTo>
                  <a:pt x="58" y="75"/>
                  <a:pt x="58" y="75"/>
                  <a:pt x="58" y="75"/>
                </a:cubicBezTo>
                <a:cubicBezTo>
                  <a:pt x="58" y="58"/>
                  <a:pt x="58" y="58"/>
                  <a:pt x="58" y="58"/>
                </a:cubicBezTo>
                <a:cubicBezTo>
                  <a:pt x="71" y="58"/>
                  <a:pt x="71" y="58"/>
                  <a:pt x="71" y="58"/>
                </a:cubicBezTo>
                <a:cubicBezTo>
                  <a:pt x="70" y="60"/>
                  <a:pt x="70" y="61"/>
                  <a:pt x="70" y="63"/>
                </a:cubicBezTo>
                <a:cubicBezTo>
                  <a:pt x="70" y="70"/>
                  <a:pt x="76" y="76"/>
                  <a:pt x="83" y="76"/>
                </a:cubicBezTo>
                <a:cubicBezTo>
                  <a:pt x="90" y="76"/>
                  <a:pt x="96" y="70"/>
                  <a:pt x="96" y="63"/>
                </a:cubicBezTo>
                <a:cubicBezTo>
                  <a:pt x="96" y="61"/>
                  <a:pt x="96" y="60"/>
                  <a:pt x="95" y="58"/>
                </a:cubicBezTo>
                <a:cubicBezTo>
                  <a:pt x="108" y="58"/>
                  <a:pt x="108" y="58"/>
                  <a:pt x="108" y="58"/>
                </a:cubicBezTo>
                <a:cubicBezTo>
                  <a:pt x="108" y="108"/>
                  <a:pt x="108" y="108"/>
                  <a:pt x="108" y="108"/>
                </a:cubicBezTo>
                <a:cubicBezTo>
                  <a:pt x="96" y="108"/>
                  <a:pt x="96" y="108"/>
                  <a:pt x="96" y="108"/>
                </a:cubicBezTo>
                <a:cubicBezTo>
                  <a:pt x="95" y="108"/>
                  <a:pt x="94" y="109"/>
                  <a:pt x="94" y="110"/>
                </a:cubicBezTo>
                <a:cubicBezTo>
                  <a:pt x="94" y="111"/>
                  <a:pt x="95" y="112"/>
                  <a:pt x="96" y="112"/>
                </a:cubicBezTo>
                <a:cubicBezTo>
                  <a:pt x="110" y="112"/>
                  <a:pt x="110" y="112"/>
                  <a:pt x="110" y="112"/>
                </a:cubicBezTo>
                <a:cubicBezTo>
                  <a:pt x="111" y="112"/>
                  <a:pt x="112" y="111"/>
                  <a:pt x="112" y="110"/>
                </a:cubicBezTo>
                <a:cubicBezTo>
                  <a:pt x="112" y="2"/>
                  <a:pt x="112" y="2"/>
                  <a:pt x="112" y="2"/>
                </a:cubicBezTo>
                <a:cubicBezTo>
                  <a:pt x="112" y="1"/>
                  <a:pt x="111" y="0"/>
                  <a:pt x="110" y="0"/>
                </a:cubicBezTo>
                <a:close/>
                <a:moveTo>
                  <a:pt x="54" y="4"/>
                </a:moveTo>
                <a:cubicBezTo>
                  <a:pt x="54" y="21"/>
                  <a:pt x="54" y="21"/>
                  <a:pt x="54" y="21"/>
                </a:cubicBezTo>
                <a:cubicBezTo>
                  <a:pt x="54" y="21"/>
                  <a:pt x="54" y="21"/>
                  <a:pt x="54" y="21"/>
                </a:cubicBezTo>
                <a:cubicBezTo>
                  <a:pt x="54" y="21"/>
                  <a:pt x="54" y="21"/>
                  <a:pt x="54" y="21"/>
                </a:cubicBezTo>
                <a:cubicBezTo>
                  <a:pt x="54" y="21"/>
                  <a:pt x="54" y="22"/>
                  <a:pt x="54" y="22"/>
                </a:cubicBezTo>
                <a:cubicBezTo>
                  <a:pt x="54" y="22"/>
                  <a:pt x="54" y="22"/>
                  <a:pt x="54" y="22"/>
                </a:cubicBezTo>
                <a:cubicBezTo>
                  <a:pt x="54" y="22"/>
                  <a:pt x="55" y="22"/>
                  <a:pt x="55" y="22"/>
                </a:cubicBezTo>
                <a:cubicBezTo>
                  <a:pt x="55" y="22"/>
                  <a:pt x="55" y="22"/>
                  <a:pt x="55" y="22"/>
                </a:cubicBezTo>
                <a:cubicBezTo>
                  <a:pt x="55" y="22"/>
                  <a:pt x="55" y="22"/>
                  <a:pt x="55" y="22"/>
                </a:cubicBezTo>
                <a:cubicBezTo>
                  <a:pt x="55" y="23"/>
                  <a:pt x="55" y="23"/>
                  <a:pt x="56" y="23"/>
                </a:cubicBezTo>
                <a:cubicBezTo>
                  <a:pt x="56" y="23"/>
                  <a:pt x="56" y="23"/>
                  <a:pt x="56" y="23"/>
                </a:cubicBezTo>
                <a:cubicBezTo>
                  <a:pt x="56" y="23"/>
                  <a:pt x="56" y="23"/>
                  <a:pt x="56" y="23"/>
                </a:cubicBezTo>
                <a:cubicBezTo>
                  <a:pt x="56" y="23"/>
                  <a:pt x="56" y="23"/>
                  <a:pt x="56" y="23"/>
                </a:cubicBezTo>
                <a:cubicBezTo>
                  <a:pt x="56" y="23"/>
                  <a:pt x="57" y="23"/>
                  <a:pt x="57" y="23"/>
                </a:cubicBezTo>
                <a:cubicBezTo>
                  <a:pt x="57" y="22"/>
                  <a:pt x="57" y="22"/>
                  <a:pt x="57" y="22"/>
                </a:cubicBezTo>
                <a:cubicBezTo>
                  <a:pt x="57" y="22"/>
                  <a:pt x="57" y="22"/>
                  <a:pt x="57" y="22"/>
                </a:cubicBezTo>
                <a:cubicBezTo>
                  <a:pt x="59" y="21"/>
                  <a:pt x="61" y="20"/>
                  <a:pt x="63" y="20"/>
                </a:cubicBezTo>
                <a:cubicBezTo>
                  <a:pt x="68" y="20"/>
                  <a:pt x="72" y="24"/>
                  <a:pt x="72" y="29"/>
                </a:cubicBezTo>
                <a:cubicBezTo>
                  <a:pt x="72" y="34"/>
                  <a:pt x="68" y="38"/>
                  <a:pt x="63" y="38"/>
                </a:cubicBezTo>
                <a:cubicBezTo>
                  <a:pt x="61" y="38"/>
                  <a:pt x="59" y="37"/>
                  <a:pt x="57" y="36"/>
                </a:cubicBezTo>
                <a:cubicBezTo>
                  <a:pt x="57" y="36"/>
                  <a:pt x="57" y="36"/>
                  <a:pt x="57" y="36"/>
                </a:cubicBezTo>
                <a:cubicBezTo>
                  <a:pt x="57" y="36"/>
                  <a:pt x="57" y="36"/>
                  <a:pt x="57" y="35"/>
                </a:cubicBezTo>
                <a:cubicBezTo>
                  <a:pt x="56" y="35"/>
                  <a:pt x="56" y="35"/>
                  <a:pt x="56" y="35"/>
                </a:cubicBezTo>
                <a:cubicBezTo>
                  <a:pt x="56" y="35"/>
                  <a:pt x="56" y="35"/>
                  <a:pt x="56" y="35"/>
                </a:cubicBezTo>
                <a:cubicBezTo>
                  <a:pt x="56" y="35"/>
                  <a:pt x="56" y="35"/>
                  <a:pt x="56" y="35"/>
                </a:cubicBezTo>
                <a:cubicBezTo>
                  <a:pt x="55" y="35"/>
                  <a:pt x="55" y="36"/>
                  <a:pt x="54" y="36"/>
                </a:cubicBezTo>
                <a:cubicBezTo>
                  <a:pt x="54" y="36"/>
                  <a:pt x="54" y="36"/>
                  <a:pt x="54" y="37"/>
                </a:cubicBezTo>
                <a:cubicBezTo>
                  <a:pt x="54" y="37"/>
                  <a:pt x="54" y="37"/>
                  <a:pt x="54" y="37"/>
                </a:cubicBezTo>
                <a:cubicBezTo>
                  <a:pt x="54" y="37"/>
                  <a:pt x="54" y="37"/>
                  <a:pt x="54" y="37"/>
                </a:cubicBezTo>
                <a:cubicBezTo>
                  <a:pt x="54" y="37"/>
                  <a:pt x="54" y="37"/>
                  <a:pt x="54" y="37"/>
                </a:cubicBezTo>
                <a:cubicBezTo>
                  <a:pt x="54" y="37"/>
                  <a:pt x="54" y="37"/>
                  <a:pt x="54" y="37"/>
                </a:cubicBezTo>
                <a:cubicBezTo>
                  <a:pt x="54" y="37"/>
                  <a:pt x="54" y="37"/>
                  <a:pt x="54" y="38"/>
                </a:cubicBezTo>
                <a:cubicBezTo>
                  <a:pt x="54" y="54"/>
                  <a:pt x="54" y="54"/>
                  <a:pt x="54" y="54"/>
                </a:cubicBezTo>
                <a:cubicBezTo>
                  <a:pt x="41" y="54"/>
                  <a:pt x="41" y="54"/>
                  <a:pt x="41" y="54"/>
                </a:cubicBezTo>
                <a:cubicBezTo>
                  <a:pt x="42" y="52"/>
                  <a:pt x="42" y="51"/>
                  <a:pt x="42" y="49"/>
                </a:cubicBezTo>
                <a:cubicBezTo>
                  <a:pt x="42" y="42"/>
                  <a:pt x="36" y="36"/>
                  <a:pt x="29" y="36"/>
                </a:cubicBezTo>
                <a:cubicBezTo>
                  <a:pt x="22" y="36"/>
                  <a:pt x="16" y="42"/>
                  <a:pt x="16" y="49"/>
                </a:cubicBezTo>
                <a:cubicBezTo>
                  <a:pt x="16" y="51"/>
                  <a:pt x="16" y="52"/>
                  <a:pt x="17" y="54"/>
                </a:cubicBezTo>
                <a:cubicBezTo>
                  <a:pt x="4" y="54"/>
                  <a:pt x="4" y="54"/>
                  <a:pt x="4" y="54"/>
                </a:cubicBezTo>
                <a:cubicBezTo>
                  <a:pt x="4" y="4"/>
                  <a:pt x="4" y="4"/>
                  <a:pt x="4" y="4"/>
                </a:cubicBezTo>
                <a:lnTo>
                  <a:pt x="54" y="4"/>
                </a:lnTo>
                <a:close/>
                <a:moveTo>
                  <a:pt x="54" y="71"/>
                </a:moveTo>
                <a:cubicBezTo>
                  <a:pt x="52" y="70"/>
                  <a:pt x="51" y="70"/>
                  <a:pt x="49" y="70"/>
                </a:cubicBezTo>
                <a:cubicBezTo>
                  <a:pt x="42" y="70"/>
                  <a:pt x="36" y="76"/>
                  <a:pt x="36" y="83"/>
                </a:cubicBezTo>
                <a:cubicBezTo>
                  <a:pt x="36" y="90"/>
                  <a:pt x="42" y="96"/>
                  <a:pt x="49" y="96"/>
                </a:cubicBezTo>
                <a:cubicBezTo>
                  <a:pt x="51" y="96"/>
                  <a:pt x="52" y="96"/>
                  <a:pt x="54" y="95"/>
                </a:cubicBezTo>
                <a:cubicBezTo>
                  <a:pt x="54" y="108"/>
                  <a:pt x="54" y="108"/>
                  <a:pt x="54" y="108"/>
                </a:cubicBezTo>
                <a:cubicBezTo>
                  <a:pt x="4" y="108"/>
                  <a:pt x="4" y="108"/>
                  <a:pt x="4" y="108"/>
                </a:cubicBezTo>
                <a:cubicBezTo>
                  <a:pt x="4" y="58"/>
                  <a:pt x="4" y="58"/>
                  <a:pt x="4" y="58"/>
                </a:cubicBezTo>
                <a:cubicBezTo>
                  <a:pt x="21" y="58"/>
                  <a:pt x="21" y="58"/>
                  <a:pt x="21" y="58"/>
                </a:cubicBezTo>
                <a:cubicBezTo>
                  <a:pt x="21" y="58"/>
                  <a:pt x="21" y="58"/>
                  <a:pt x="21" y="58"/>
                </a:cubicBezTo>
                <a:cubicBezTo>
                  <a:pt x="21" y="58"/>
                  <a:pt x="21" y="58"/>
                  <a:pt x="21" y="58"/>
                </a:cubicBezTo>
                <a:cubicBezTo>
                  <a:pt x="21" y="58"/>
                  <a:pt x="22" y="58"/>
                  <a:pt x="22" y="58"/>
                </a:cubicBezTo>
                <a:cubicBezTo>
                  <a:pt x="22" y="58"/>
                  <a:pt x="22" y="58"/>
                  <a:pt x="22" y="58"/>
                </a:cubicBezTo>
                <a:cubicBezTo>
                  <a:pt x="22" y="58"/>
                  <a:pt x="22" y="57"/>
                  <a:pt x="22" y="57"/>
                </a:cubicBezTo>
                <a:cubicBezTo>
                  <a:pt x="22" y="57"/>
                  <a:pt x="22" y="57"/>
                  <a:pt x="22" y="57"/>
                </a:cubicBezTo>
                <a:cubicBezTo>
                  <a:pt x="22" y="57"/>
                  <a:pt x="22" y="57"/>
                  <a:pt x="22" y="57"/>
                </a:cubicBezTo>
                <a:cubicBezTo>
                  <a:pt x="23" y="57"/>
                  <a:pt x="23" y="57"/>
                  <a:pt x="23" y="56"/>
                </a:cubicBezTo>
                <a:cubicBezTo>
                  <a:pt x="23" y="56"/>
                  <a:pt x="23" y="56"/>
                  <a:pt x="23" y="56"/>
                </a:cubicBezTo>
                <a:cubicBezTo>
                  <a:pt x="23" y="56"/>
                  <a:pt x="23" y="56"/>
                  <a:pt x="23" y="56"/>
                </a:cubicBezTo>
                <a:cubicBezTo>
                  <a:pt x="23" y="56"/>
                  <a:pt x="23" y="56"/>
                  <a:pt x="23" y="56"/>
                </a:cubicBezTo>
                <a:cubicBezTo>
                  <a:pt x="23" y="56"/>
                  <a:pt x="23" y="55"/>
                  <a:pt x="23" y="55"/>
                </a:cubicBezTo>
                <a:cubicBezTo>
                  <a:pt x="22" y="55"/>
                  <a:pt x="22" y="55"/>
                  <a:pt x="22" y="55"/>
                </a:cubicBezTo>
                <a:cubicBezTo>
                  <a:pt x="22" y="55"/>
                  <a:pt x="22" y="55"/>
                  <a:pt x="22" y="55"/>
                </a:cubicBezTo>
                <a:cubicBezTo>
                  <a:pt x="21" y="53"/>
                  <a:pt x="20" y="51"/>
                  <a:pt x="20" y="49"/>
                </a:cubicBezTo>
                <a:cubicBezTo>
                  <a:pt x="20" y="44"/>
                  <a:pt x="24" y="40"/>
                  <a:pt x="29" y="40"/>
                </a:cubicBezTo>
                <a:cubicBezTo>
                  <a:pt x="34" y="40"/>
                  <a:pt x="38" y="44"/>
                  <a:pt x="38" y="49"/>
                </a:cubicBezTo>
                <a:cubicBezTo>
                  <a:pt x="38" y="51"/>
                  <a:pt x="37" y="53"/>
                  <a:pt x="36" y="55"/>
                </a:cubicBezTo>
                <a:cubicBezTo>
                  <a:pt x="36" y="55"/>
                  <a:pt x="36" y="55"/>
                  <a:pt x="36" y="55"/>
                </a:cubicBezTo>
                <a:cubicBezTo>
                  <a:pt x="36" y="55"/>
                  <a:pt x="35" y="55"/>
                  <a:pt x="35" y="55"/>
                </a:cubicBezTo>
                <a:cubicBezTo>
                  <a:pt x="35" y="55"/>
                  <a:pt x="35" y="56"/>
                  <a:pt x="35" y="56"/>
                </a:cubicBezTo>
                <a:cubicBezTo>
                  <a:pt x="35" y="56"/>
                  <a:pt x="35" y="56"/>
                  <a:pt x="35" y="56"/>
                </a:cubicBezTo>
                <a:cubicBezTo>
                  <a:pt x="35" y="56"/>
                  <a:pt x="35" y="56"/>
                  <a:pt x="35" y="56"/>
                </a:cubicBezTo>
                <a:cubicBezTo>
                  <a:pt x="35" y="56"/>
                  <a:pt x="35" y="56"/>
                  <a:pt x="35" y="57"/>
                </a:cubicBezTo>
                <a:cubicBezTo>
                  <a:pt x="35" y="57"/>
                  <a:pt x="35" y="57"/>
                  <a:pt x="35" y="57"/>
                </a:cubicBezTo>
                <a:cubicBezTo>
                  <a:pt x="36" y="57"/>
                  <a:pt x="36" y="57"/>
                  <a:pt x="36" y="57"/>
                </a:cubicBezTo>
                <a:cubicBezTo>
                  <a:pt x="36" y="57"/>
                  <a:pt x="36" y="57"/>
                  <a:pt x="36" y="57"/>
                </a:cubicBezTo>
                <a:cubicBezTo>
                  <a:pt x="36" y="57"/>
                  <a:pt x="36" y="58"/>
                  <a:pt x="36" y="58"/>
                </a:cubicBezTo>
                <a:cubicBezTo>
                  <a:pt x="36" y="58"/>
                  <a:pt x="36" y="58"/>
                  <a:pt x="36" y="58"/>
                </a:cubicBezTo>
                <a:cubicBezTo>
                  <a:pt x="36" y="58"/>
                  <a:pt x="37" y="58"/>
                  <a:pt x="37" y="58"/>
                </a:cubicBezTo>
                <a:cubicBezTo>
                  <a:pt x="37" y="58"/>
                  <a:pt x="37" y="58"/>
                  <a:pt x="37" y="58"/>
                </a:cubicBezTo>
                <a:cubicBezTo>
                  <a:pt x="37" y="58"/>
                  <a:pt x="37" y="58"/>
                  <a:pt x="37" y="58"/>
                </a:cubicBezTo>
                <a:cubicBezTo>
                  <a:pt x="54" y="58"/>
                  <a:pt x="54" y="58"/>
                  <a:pt x="54" y="58"/>
                </a:cubicBezTo>
                <a:lnTo>
                  <a:pt x="54" y="71"/>
                </a:lnTo>
                <a:close/>
                <a:moveTo>
                  <a:pt x="91" y="54"/>
                </a:moveTo>
                <a:cubicBezTo>
                  <a:pt x="91" y="54"/>
                  <a:pt x="91" y="54"/>
                  <a:pt x="91" y="54"/>
                </a:cubicBezTo>
                <a:cubicBezTo>
                  <a:pt x="91" y="54"/>
                  <a:pt x="91" y="54"/>
                  <a:pt x="91" y="54"/>
                </a:cubicBezTo>
                <a:cubicBezTo>
                  <a:pt x="90" y="54"/>
                  <a:pt x="90" y="54"/>
                  <a:pt x="90" y="54"/>
                </a:cubicBezTo>
                <a:cubicBezTo>
                  <a:pt x="90" y="54"/>
                  <a:pt x="90" y="54"/>
                  <a:pt x="90" y="54"/>
                </a:cubicBezTo>
                <a:cubicBezTo>
                  <a:pt x="90" y="54"/>
                  <a:pt x="90" y="55"/>
                  <a:pt x="90" y="55"/>
                </a:cubicBezTo>
                <a:cubicBezTo>
                  <a:pt x="90" y="55"/>
                  <a:pt x="90" y="55"/>
                  <a:pt x="90" y="55"/>
                </a:cubicBezTo>
                <a:cubicBezTo>
                  <a:pt x="90" y="55"/>
                  <a:pt x="90" y="55"/>
                  <a:pt x="89" y="55"/>
                </a:cubicBezTo>
                <a:cubicBezTo>
                  <a:pt x="89" y="55"/>
                  <a:pt x="89" y="55"/>
                  <a:pt x="89" y="55"/>
                </a:cubicBezTo>
                <a:cubicBezTo>
                  <a:pt x="89" y="56"/>
                  <a:pt x="89" y="56"/>
                  <a:pt x="89" y="56"/>
                </a:cubicBezTo>
                <a:cubicBezTo>
                  <a:pt x="89" y="56"/>
                  <a:pt x="89" y="56"/>
                  <a:pt x="89" y="56"/>
                </a:cubicBezTo>
                <a:cubicBezTo>
                  <a:pt x="89" y="56"/>
                  <a:pt x="89" y="56"/>
                  <a:pt x="89" y="56"/>
                </a:cubicBezTo>
                <a:cubicBezTo>
                  <a:pt x="89" y="56"/>
                  <a:pt x="89" y="57"/>
                  <a:pt x="89" y="57"/>
                </a:cubicBezTo>
                <a:cubicBezTo>
                  <a:pt x="89" y="57"/>
                  <a:pt x="90" y="57"/>
                  <a:pt x="90" y="57"/>
                </a:cubicBezTo>
                <a:cubicBezTo>
                  <a:pt x="90" y="57"/>
                  <a:pt x="90" y="57"/>
                  <a:pt x="90" y="57"/>
                </a:cubicBezTo>
                <a:cubicBezTo>
                  <a:pt x="91" y="59"/>
                  <a:pt x="92" y="61"/>
                  <a:pt x="92" y="63"/>
                </a:cubicBezTo>
                <a:cubicBezTo>
                  <a:pt x="92" y="68"/>
                  <a:pt x="88" y="72"/>
                  <a:pt x="83" y="72"/>
                </a:cubicBezTo>
                <a:cubicBezTo>
                  <a:pt x="78" y="72"/>
                  <a:pt x="74" y="68"/>
                  <a:pt x="74" y="63"/>
                </a:cubicBezTo>
                <a:cubicBezTo>
                  <a:pt x="74" y="61"/>
                  <a:pt x="75" y="59"/>
                  <a:pt x="76" y="57"/>
                </a:cubicBezTo>
                <a:cubicBezTo>
                  <a:pt x="76" y="57"/>
                  <a:pt x="76" y="57"/>
                  <a:pt x="76" y="57"/>
                </a:cubicBezTo>
                <a:cubicBezTo>
                  <a:pt x="76" y="57"/>
                  <a:pt x="76" y="57"/>
                  <a:pt x="77" y="57"/>
                </a:cubicBezTo>
                <a:cubicBezTo>
                  <a:pt x="77" y="57"/>
                  <a:pt x="77" y="56"/>
                  <a:pt x="77" y="56"/>
                </a:cubicBezTo>
                <a:cubicBezTo>
                  <a:pt x="77" y="56"/>
                  <a:pt x="77" y="56"/>
                  <a:pt x="77" y="56"/>
                </a:cubicBezTo>
                <a:cubicBezTo>
                  <a:pt x="77" y="56"/>
                  <a:pt x="77" y="56"/>
                  <a:pt x="77" y="56"/>
                </a:cubicBezTo>
                <a:cubicBezTo>
                  <a:pt x="77" y="56"/>
                  <a:pt x="77" y="56"/>
                  <a:pt x="77" y="55"/>
                </a:cubicBezTo>
                <a:cubicBezTo>
                  <a:pt x="77" y="55"/>
                  <a:pt x="77" y="55"/>
                  <a:pt x="76" y="55"/>
                </a:cubicBezTo>
                <a:cubicBezTo>
                  <a:pt x="76" y="55"/>
                  <a:pt x="76" y="55"/>
                  <a:pt x="76" y="55"/>
                </a:cubicBezTo>
                <a:cubicBezTo>
                  <a:pt x="76" y="55"/>
                  <a:pt x="76" y="55"/>
                  <a:pt x="76" y="55"/>
                </a:cubicBezTo>
                <a:cubicBezTo>
                  <a:pt x="76" y="55"/>
                  <a:pt x="76" y="54"/>
                  <a:pt x="76" y="54"/>
                </a:cubicBezTo>
                <a:cubicBezTo>
                  <a:pt x="76" y="54"/>
                  <a:pt x="76" y="54"/>
                  <a:pt x="76" y="54"/>
                </a:cubicBezTo>
                <a:cubicBezTo>
                  <a:pt x="76" y="54"/>
                  <a:pt x="75" y="54"/>
                  <a:pt x="75" y="54"/>
                </a:cubicBezTo>
                <a:cubicBezTo>
                  <a:pt x="75" y="54"/>
                  <a:pt x="75" y="54"/>
                  <a:pt x="75" y="54"/>
                </a:cubicBezTo>
                <a:cubicBezTo>
                  <a:pt x="75" y="54"/>
                  <a:pt x="75" y="54"/>
                  <a:pt x="75" y="54"/>
                </a:cubicBezTo>
                <a:cubicBezTo>
                  <a:pt x="58" y="54"/>
                  <a:pt x="58" y="54"/>
                  <a:pt x="58" y="54"/>
                </a:cubicBezTo>
                <a:cubicBezTo>
                  <a:pt x="58" y="41"/>
                  <a:pt x="58" y="41"/>
                  <a:pt x="58" y="41"/>
                </a:cubicBezTo>
                <a:cubicBezTo>
                  <a:pt x="60" y="42"/>
                  <a:pt x="61" y="42"/>
                  <a:pt x="63" y="42"/>
                </a:cubicBezTo>
                <a:cubicBezTo>
                  <a:pt x="70" y="42"/>
                  <a:pt x="76" y="36"/>
                  <a:pt x="76" y="29"/>
                </a:cubicBezTo>
                <a:cubicBezTo>
                  <a:pt x="76" y="22"/>
                  <a:pt x="70" y="16"/>
                  <a:pt x="63" y="16"/>
                </a:cubicBezTo>
                <a:cubicBezTo>
                  <a:pt x="61" y="16"/>
                  <a:pt x="60" y="16"/>
                  <a:pt x="58" y="17"/>
                </a:cubicBezTo>
                <a:cubicBezTo>
                  <a:pt x="58" y="4"/>
                  <a:pt x="58" y="4"/>
                  <a:pt x="58" y="4"/>
                </a:cubicBezTo>
                <a:cubicBezTo>
                  <a:pt x="108" y="4"/>
                  <a:pt x="108" y="4"/>
                  <a:pt x="108" y="4"/>
                </a:cubicBezTo>
                <a:cubicBezTo>
                  <a:pt x="108" y="54"/>
                  <a:pt x="108" y="54"/>
                  <a:pt x="108" y="54"/>
                </a:cubicBezTo>
                <a:lnTo>
                  <a:pt x="91"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chemeClr val="accent1"/>
              </a:solidFill>
              <a:effectLst/>
              <a:uLnTx/>
              <a:uFillTx/>
              <a:latin typeface="Montserrat" panose="00000500000000000000"/>
            </a:endParaRPr>
          </a:p>
        </p:txBody>
      </p:sp>
      <p:sp>
        <p:nvSpPr>
          <p:cNvPr id="17" name="Oval 14"/>
          <p:cNvSpPr>
            <a:spLocks noChangeArrowheads="1"/>
          </p:cNvSpPr>
          <p:nvPr/>
        </p:nvSpPr>
        <p:spPr bwMode="auto">
          <a:xfrm>
            <a:off x="2748801" y="4292813"/>
            <a:ext cx="864939" cy="864939"/>
          </a:xfrm>
          <a:prstGeom prst="ellipse">
            <a:avLst/>
          </a:prstGeom>
          <a:solidFill>
            <a:srgbClr val="FFFFFF"/>
          </a:solidFill>
          <a:ln w="1905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200">
              <a:solidFill>
                <a:schemeClr val="accent1"/>
              </a:solidFill>
              <a:latin typeface="Montserrat" panose="00000500000000000000"/>
            </a:endParaRPr>
          </a:p>
        </p:txBody>
      </p:sp>
      <p:sp>
        <p:nvSpPr>
          <p:cNvPr id="18" name="Oval 16"/>
          <p:cNvSpPr>
            <a:spLocks noChangeArrowheads="1"/>
          </p:cNvSpPr>
          <p:nvPr/>
        </p:nvSpPr>
        <p:spPr bwMode="auto">
          <a:xfrm>
            <a:off x="2840100" y="4384112"/>
            <a:ext cx="682341" cy="682341"/>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sz="1200">
              <a:solidFill>
                <a:schemeClr val="accent1"/>
              </a:solidFill>
              <a:latin typeface="Montserrat" panose="00000500000000000000"/>
            </a:endParaRPr>
          </a:p>
        </p:txBody>
      </p:sp>
      <p:sp>
        <p:nvSpPr>
          <p:cNvPr id="19" name="Rectangle 18"/>
          <p:cNvSpPr/>
          <p:nvPr/>
        </p:nvSpPr>
        <p:spPr>
          <a:xfrm>
            <a:off x="2464798" y="3558523"/>
            <a:ext cx="1398165" cy="4473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22363" tIns="61181" rIns="122363" bIns="61181" rtlCol="0" anchor="ctr"/>
          <a:lstStyle/>
          <a:p>
            <a:pPr algn="ctr"/>
            <a:r>
              <a:rPr lang="en-GB" sz="1400" b="1" err="1">
                <a:solidFill>
                  <a:schemeClr val="bg1"/>
                </a:solidFill>
                <a:latin typeface="Montserrat" panose="00000500000000000000"/>
                <a:cs typeface="Calibri" panose="020F0502020204030204" pitchFamily="34" charset="0"/>
              </a:rPr>
              <a:t>HYDMedia</a:t>
            </a:r>
            <a:r>
              <a:rPr lang="en-GB" sz="1400" b="1">
                <a:solidFill>
                  <a:schemeClr val="bg1"/>
                </a:solidFill>
                <a:latin typeface="Montserrat" panose="00000500000000000000"/>
                <a:cs typeface="Calibri" panose="020F0502020204030204" pitchFamily="34" charset="0"/>
              </a:rPr>
              <a:t> G2</a:t>
            </a:r>
          </a:p>
          <a:p>
            <a:pPr algn="ctr"/>
            <a:r>
              <a:rPr lang="en-GB" sz="1400" b="1">
                <a:solidFill>
                  <a:schemeClr val="bg1"/>
                </a:solidFill>
                <a:latin typeface="Montserrat" panose="00000500000000000000"/>
                <a:cs typeface="Calibri" panose="020F0502020204030204" pitchFamily="34" charset="0"/>
              </a:rPr>
              <a:t>1996</a:t>
            </a:r>
          </a:p>
          <a:p>
            <a:pPr algn="ctr"/>
            <a:r>
              <a:rPr lang="en-GB" sz="1400" b="1">
                <a:solidFill>
                  <a:schemeClr val="bg1"/>
                </a:solidFill>
                <a:latin typeface="Montserrat" panose="00000500000000000000"/>
                <a:cs typeface="Calibri" panose="020F0502020204030204" pitchFamily="34" charset="0"/>
              </a:rPr>
              <a:t>Scanning + HL7 connectivity</a:t>
            </a:r>
          </a:p>
        </p:txBody>
      </p:sp>
      <p:grpSp>
        <p:nvGrpSpPr>
          <p:cNvPr id="20" name="Group 19"/>
          <p:cNvGrpSpPr/>
          <p:nvPr/>
        </p:nvGrpSpPr>
        <p:grpSpPr>
          <a:xfrm>
            <a:off x="2963817" y="4493081"/>
            <a:ext cx="436618" cy="457613"/>
            <a:chOff x="680186" y="3815984"/>
            <a:chExt cx="415427" cy="435403"/>
          </a:xfrm>
          <a:solidFill>
            <a:schemeClr val="bg1"/>
          </a:solidFill>
        </p:grpSpPr>
        <p:sp>
          <p:nvSpPr>
            <p:cNvPr id="21" name="Freeform 21">
              <a:extLst>
                <a:ext uri="{FF2B5EF4-FFF2-40B4-BE49-F238E27FC236}">
                  <a16:creationId xmlns:a16="http://schemas.microsoft.com/office/drawing/2014/main" id="{76196644-FEC6-4D5D-881D-6DF79730D0FD}"/>
                </a:ext>
              </a:extLst>
            </p:cNvPr>
            <p:cNvSpPr>
              <a:spLocks noEditPoints="1"/>
            </p:cNvSpPr>
            <p:nvPr/>
          </p:nvSpPr>
          <p:spPr bwMode="auto">
            <a:xfrm>
              <a:off x="868365" y="3815984"/>
              <a:ext cx="227248" cy="171051"/>
            </a:xfrm>
            <a:custGeom>
              <a:avLst/>
              <a:gdLst>
                <a:gd name="T0" fmla="*/ 46 w 58"/>
                <a:gd name="T1" fmla="*/ 42 h 42"/>
                <a:gd name="T2" fmla="*/ 12 w 58"/>
                <a:gd name="T3" fmla="*/ 42 h 42"/>
                <a:gd name="T4" fmla="*/ 0 w 58"/>
                <a:gd name="T5" fmla="*/ 30 h 42"/>
                <a:gd name="T6" fmla="*/ 7 w 58"/>
                <a:gd name="T7" fmla="*/ 18 h 42"/>
                <a:gd name="T8" fmla="*/ 23 w 58"/>
                <a:gd name="T9" fmla="*/ 5 h 42"/>
                <a:gd name="T10" fmla="*/ 35 w 58"/>
                <a:gd name="T11" fmla="*/ 0 h 42"/>
                <a:gd name="T12" fmla="*/ 51 w 58"/>
                <a:gd name="T13" fmla="*/ 17 h 42"/>
                <a:gd name="T14" fmla="*/ 51 w 58"/>
                <a:gd name="T15" fmla="*/ 19 h 42"/>
                <a:gd name="T16" fmla="*/ 58 w 58"/>
                <a:gd name="T17" fmla="*/ 30 h 42"/>
                <a:gd name="T18" fmla="*/ 46 w 58"/>
                <a:gd name="T19" fmla="*/ 42 h 42"/>
                <a:gd name="T20" fmla="*/ 21 w 58"/>
                <a:gd name="T21" fmla="*/ 9 h 42"/>
                <a:gd name="T22" fmla="*/ 11 w 58"/>
                <a:gd name="T23" fmla="*/ 18 h 42"/>
                <a:gd name="T24" fmla="*/ 11 w 58"/>
                <a:gd name="T25" fmla="*/ 19 h 42"/>
                <a:gd name="T26" fmla="*/ 12 w 58"/>
                <a:gd name="T27" fmla="*/ 21 h 42"/>
                <a:gd name="T28" fmla="*/ 10 w 58"/>
                <a:gd name="T29" fmla="*/ 22 h 42"/>
                <a:gd name="T30" fmla="*/ 4 w 58"/>
                <a:gd name="T31" fmla="*/ 30 h 42"/>
                <a:gd name="T32" fmla="*/ 12 w 58"/>
                <a:gd name="T33" fmla="*/ 38 h 42"/>
                <a:gd name="T34" fmla="*/ 46 w 58"/>
                <a:gd name="T35" fmla="*/ 38 h 42"/>
                <a:gd name="T36" fmla="*/ 54 w 58"/>
                <a:gd name="T37" fmla="*/ 30 h 42"/>
                <a:gd name="T38" fmla="*/ 49 w 58"/>
                <a:gd name="T39" fmla="*/ 22 h 42"/>
                <a:gd name="T40" fmla="*/ 47 w 58"/>
                <a:gd name="T41" fmla="*/ 21 h 42"/>
                <a:gd name="T42" fmla="*/ 47 w 58"/>
                <a:gd name="T43" fmla="*/ 19 h 42"/>
                <a:gd name="T44" fmla="*/ 47 w 58"/>
                <a:gd name="T45" fmla="*/ 17 h 42"/>
                <a:gd name="T46" fmla="*/ 35 w 58"/>
                <a:gd name="T47" fmla="*/ 4 h 42"/>
                <a:gd name="T48" fmla="*/ 25 w 58"/>
                <a:gd name="T49" fmla="*/ 8 h 42"/>
                <a:gd name="T50" fmla="*/ 25 w 58"/>
                <a:gd name="T51" fmla="*/ 9 h 42"/>
                <a:gd name="T52" fmla="*/ 23 w 58"/>
                <a:gd name="T53" fmla="*/ 9 h 42"/>
                <a:gd name="T54" fmla="*/ 21 w 58"/>
                <a:gd name="T55" fmla="*/ 9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8" h="42">
                  <a:moveTo>
                    <a:pt x="46" y="42"/>
                  </a:moveTo>
                  <a:cubicBezTo>
                    <a:pt x="12" y="42"/>
                    <a:pt x="12" y="42"/>
                    <a:pt x="12" y="42"/>
                  </a:cubicBezTo>
                  <a:cubicBezTo>
                    <a:pt x="5" y="42"/>
                    <a:pt x="0" y="36"/>
                    <a:pt x="0" y="30"/>
                  </a:cubicBezTo>
                  <a:cubicBezTo>
                    <a:pt x="0" y="25"/>
                    <a:pt x="3" y="20"/>
                    <a:pt x="7" y="18"/>
                  </a:cubicBezTo>
                  <a:cubicBezTo>
                    <a:pt x="8" y="10"/>
                    <a:pt x="15" y="3"/>
                    <a:pt x="23" y="5"/>
                  </a:cubicBezTo>
                  <a:cubicBezTo>
                    <a:pt x="26" y="2"/>
                    <a:pt x="31" y="0"/>
                    <a:pt x="35" y="0"/>
                  </a:cubicBezTo>
                  <a:cubicBezTo>
                    <a:pt x="44" y="0"/>
                    <a:pt x="51" y="8"/>
                    <a:pt x="51" y="17"/>
                  </a:cubicBezTo>
                  <a:cubicBezTo>
                    <a:pt x="51" y="18"/>
                    <a:pt x="51" y="18"/>
                    <a:pt x="51" y="19"/>
                  </a:cubicBezTo>
                  <a:cubicBezTo>
                    <a:pt x="55" y="21"/>
                    <a:pt x="58" y="25"/>
                    <a:pt x="58" y="30"/>
                  </a:cubicBezTo>
                  <a:cubicBezTo>
                    <a:pt x="58" y="36"/>
                    <a:pt x="53" y="42"/>
                    <a:pt x="46" y="42"/>
                  </a:cubicBezTo>
                  <a:close/>
                  <a:moveTo>
                    <a:pt x="21" y="9"/>
                  </a:moveTo>
                  <a:cubicBezTo>
                    <a:pt x="16" y="9"/>
                    <a:pt x="11" y="13"/>
                    <a:pt x="11" y="18"/>
                  </a:cubicBezTo>
                  <a:cubicBezTo>
                    <a:pt x="11" y="19"/>
                    <a:pt x="11" y="19"/>
                    <a:pt x="11" y="19"/>
                  </a:cubicBezTo>
                  <a:cubicBezTo>
                    <a:pt x="12" y="21"/>
                    <a:pt x="12" y="21"/>
                    <a:pt x="12" y="21"/>
                  </a:cubicBezTo>
                  <a:cubicBezTo>
                    <a:pt x="10" y="22"/>
                    <a:pt x="10" y="22"/>
                    <a:pt x="10" y="22"/>
                  </a:cubicBezTo>
                  <a:cubicBezTo>
                    <a:pt x="6" y="23"/>
                    <a:pt x="4" y="26"/>
                    <a:pt x="4" y="30"/>
                  </a:cubicBezTo>
                  <a:cubicBezTo>
                    <a:pt x="4" y="34"/>
                    <a:pt x="8" y="38"/>
                    <a:pt x="12" y="38"/>
                  </a:cubicBezTo>
                  <a:cubicBezTo>
                    <a:pt x="46" y="38"/>
                    <a:pt x="46" y="38"/>
                    <a:pt x="46" y="38"/>
                  </a:cubicBezTo>
                  <a:cubicBezTo>
                    <a:pt x="50" y="38"/>
                    <a:pt x="54" y="34"/>
                    <a:pt x="54" y="30"/>
                  </a:cubicBezTo>
                  <a:cubicBezTo>
                    <a:pt x="54" y="26"/>
                    <a:pt x="52" y="23"/>
                    <a:pt x="49" y="22"/>
                  </a:cubicBezTo>
                  <a:cubicBezTo>
                    <a:pt x="47" y="21"/>
                    <a:pt x="47" y="21"/>
                    <a:pt x="47" y="21"/>
                  </a:cubicBezTo>
                  <a:cubicBezTo>
                    <a:pt x="47" y="19"/>
                    <a:pt x="47" y="19"/>
                    <a:pt x="47" y="19"/>
                  </a:cubicBezTo>
                  <a:cubicBezTo>
                    <a:pt x="47" y="19"/>
                    <a:pt x="47" y="18"/>
                    <a:pt x="47" y="17"/>
                  </a:cubicBezTo>
                  <a:cubicBezTo>
                    <a:pt x="47" y="10"/>
                    <a:pt x="42" y="4"/>
                    <a:pt x="35" y="4"/>
                  </a:cubicBezTo>
                  <a:cubicBezTo>
                    <a:pt x="31" y="4"/>
                    <a:pt x="28" y="6"/>
                    <a:pt x="25" y="8"/>
                  </a:cubicBezTo>
                  <a:cubicBezTo>
                    <a:pt x="25" y="9"/>
                    <a:pt x="25" y="9"/>
                    <a:pt x="25" y="9"/>
                  </a:cubicBezTo>
                  <a:cubicBezTo>
                    <a:pt x="23" y="9"/>
                    <a:pt x="23" y="9"/>
                    <a:pt x="23" y="9"/>
                  </a:cubicBezTo>
                  <a:cubicBezTo>
                    <a:pt x="23" y="9"/>
                    <a:pt x="22" y="9"/>
                    <a:pt x="21" y="9"/>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GB" sz="1200">
                <a:solidFill>
                  <a:schemeClr val="accent1"/>
                </a:solidFill>
                <a:latin typeface="Montserrat" panose="00000500000000000000"/>
              </a:endParaRPr>
            </a:p>
          </p:txBody>
        </p:sp>
        <p:sp>
          <p:nvSpPr>
            <p:cNvPr id="22" name="Freeform 22">
              <a:extLst>
                <a:ext uri="{FF2B5EF4-FFF2-40B4-BE49-F238E27FC236}">
                  <a16:creationId xmlns:a16="http://schemas.microsoft.com/office/drawing/2014/main" id="{1F7DF096-08B4-448B-93EA-EB9F0C63A443}"/>
                </a:ext>
              </a:extLst>
            </p:cNvPr>
            <p:cNvSpPr>
              <a:spLocks/>
            </p:cNvSpPr>
            <p:nvPr/>
          </p:nvSpPr>
          <p:spPr bwMode="auto">
            <a:xfrm>
              <a:off x="703627" y="4060391"/>
              <a:ext cx="15627" cy="32452"/>
            </a:xfrm>
            <a:custGeom>
              <a:avLst/>
              <a:gdLst>
                <a:gd name="T0" fmla="*/ 2 w 4"/>
                <a:gd name="T1" fmla="*/ 8 h 8"/>
                <a:gd name="T2" fmla="*/ 0 w 4"/>
                <a:gd name="T3" fmla="*/ 6 h 8"/>
                <a:gd name="T4" fmla="*/ 0 w 4"/>
                <a:gd name="T5" fmla="*/ 2 h 8"/>
                <a:gd name="T6" fmla="*/ 2 w 4"/>
                <a:gd name="T7" fmla="*/ 0 h 8"/>
                <a:gd name="T8" fmla="*/ 4 w 4"/>
                <a:gd name="T9" fmla="*/ 2 h 8"/>
                <a:gd name="T10" fmla="*/ 4 w 4"/>
                <a:gd name="T11" fmla="*/ 6 h 8"/>
                <a:gd name="T12" fmla="*/ 2 w 4"/>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4" h="8">
                  <a:moveTo>
                    <a:pt x="2" y="8"/>
                  </a:moveTo>
                  <a:cubicBezTo>
                    <a:pt x="1" y="8"/>
                    <a:pt x="0" y="7"/>
                    <a:pt x="0" y="6"/>
                  </a:cubicBezTo>
                  <a:cubicBezTo>
                    <a:pt x="0" y="2"/>
                    <a:pt x="0" y="2"/>
                    <a:pt x="0" y="2"/>
                  </a:cubicBezTo>
                  <a:cubicBezTo>
                    <a:pt x="0" y="1"/>
                    <a:pt x="1" y="0"/>
                    <a:pt x="2" y="0"/>
                  </a:cubicBezTo>
                  <a:cubicBezTo>
                    <a:pt x="3" y="0"/>
                    <a:pt x="4" y="1"/>
                    <a:pt x="4" y="2"/>
                  </a:cubicBezTo>
                  <a:cubicBezTo>
                    <a:pt x="4" y="6"/>
                    <a:pt x="4" y="6"/>
                    <a:pt x="4" y="6"/>
                  </a:cubicBezTo>
                  <a:cubicBezTo>
                    <a:pt x="4" y="7"/>
                    <a:pt x="3" y="8"/>
                    <a:pt x="2" y="8"/>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GB" sz="1200">
                <a:solidFill>
                  <a:schemeClr val="accent1"/>
                </a:solidFill>
                <a:latin typeface="Montserrat" panose="00000500000000000000"/>
              </a:endParaRPr>
            </a:p>
          </p:txBody>
        </p:sp>
        <p:sp>
          <p:nvSpPr>
            <p:cNvPr id="23" name="Freeform 23">
              <a:extLst>
                <a:ext uri="{FF2B5EF4-FFF2-40B4-BE49-F238E27FC236}">
                  <a16:creationId xmlns:a16="http://schemas.microsoft.com/office/drawing/2014/main" id="{5692A7C9-0125-49D5-BA2B-D5741C91E4D5}"/>
                </a:ext>
              </a:extLst>
            </p:cNvPr>
            <p:cNvSpPr>
              <a:spLocks noEditPoints="1"/>
            </p:cNvSpPr>
            <p:nvPr/>
          </p:nvSpPr>
          <p:spPr bwMode="auto">
            <a:xfrm>
              <a:off x="703627" y="3889340"/>
              <a:ext cx="15627" cy="158543"/>
            </a:xfrm>
            <a:custGeom>
              <a:avLst/>
              <a:gdLst>
                <a:gd name="T0" fmla="*/ 2 w 4"/>
                <a:gd name="T1" fmla="*/ 39 h 39"/>
                <a:gd name="T2" fmla="*/ 0 w 4"/>
                <a:gd name="T3" fmla="*/ 37 h 39"/>
                <a:gd name="T4" fmla="*/ 0 w 4"/>
                <a:gd name="T5" fmla="*/ 30 h 39"/>
                <a:gd name="T6" fmla="*/ 2 w 4"/>
                <a:gd name="T7" fmla="*/ 28 h 39"/>
                <a:gd name="T8" fmla="*/ 4 w 4"/>
                <a:gd name="T9" fmla="*/ 30 h 39"/>
                <a:gd name="T10" fmla="*/ 4 w 4"/>
                <a:gd name="T11" fmla="*/ 37 h 39"/>
                <a:gd name="T12" fmla="*/ 2 w 4"/>
                <a:gd name="T13" fmla="*/ 39 h 39"/>
                <a:gd name="T14" fmla="*/ 2 w 4"/>
                <a:gd name="T15" fmla="*/ 25 h 39"/>
                <a:gd name="T16" fmla="*/ 0 w 4"/>
                <a:gd name="T17" fmla="*/ 23 h 39"/>
                <a:gd name="T18" fmla="*/ 0 w 4"/>
                <a:gd name="T19" fmla="*/ 16 h 39"/>
                <a:gd name="T20" fmla="*/ 2 w 4"/>
                <a:gd name="T21" fmla="*/ 14 h 39"/>
                <a:gd name="T22" fmla="*/ 4 w 4"/>
                <a:gd name="T23" fmla="*/ 16 h 39"/>
                <a:gd name="T24" fmla="*/ 4 w 4"/>
                <a:gd name="T25" fmla="*/ 23 h 39"/>
                <a:gd name="T26" fmla="*/ 2 w 4"/>
                <a:gd name="T27" fmla="*/ 25 h 39"/>
                <a:gd name="T28" fmla="*/ 2 w 4"/>
                <a:gd name="T29" fmla="*/ 11 h 39"/>
                <a:gd name="T30" fmla="*/ 0 w 4"/>
                <a:gd name="T31" fmla="*/ 9 h 39"/>
                <a:gd name="T32" fmla="*/ 0 w 4"/>
                <a:gd name="T33" fmla="*/ 2 h 39"/>
                <a:gd name="T34" fmla="*/ 2 w 4"/>
                <a:gd name="T35" fmla="*/ 0 h 39"/>
                <a:gd name="T36" fmla="*/ 4 w 4"/>
                <a:gd name="T37" fmla="*/ 2 h 39"/>
                <a:gd name="T38" fmla="*/ 4 w 4"/>
                <a:gd name="T39" fmla="*/ 9 h 39"/>
                <a:gd name="T40" fmla="*/ 2 w 4"/>
                <a:gd name="T41" fmla="*/ 1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39">
                  <a:moveTo>
                    <a:pt x="2" y="39"/>
                  </a:moveTo>
                  <a:cubicBezTo>
                    <a:pt x="1" y="39"/>
                    <a:pt x="0" y="38"/>
                    <a:pt x="0" y="37"/>
                  </a:cubicBezTo>
                  <a:cubicBezTo>
                    <a:pt x="0" y="30"/>
                    <a:pt x="0" y="30"/>
                    <a:pt x="0" y="30"/>
                  </a:cubicBezTo>
                  <a:cubicBezTo>
                    <a:pt x="0" y="29"/>
                    <a:pt x="1" y="28"/>
                    <a:pt x="2" y="28"/>
                  </a:cubicBezTo>
                  <a:cubicBezTo>
                    <a:pt x="3" y="28"/>
                    <a:pt x="4" y="29"/>
                    <a:pt x="4" y="30"/>
                  </a:cubicBezTo>
                  <a:cubicBezTo>
                    <a:pt x="4" y="37"/>
                    <a:pt x="4" y="37"/>
                    <a:pt x="4" y="37"/>
                  </a:cubicBezTo>
                  <a:cubicBezTo>
                    <a:pt x="4" y="38"/>
                    <a:pt x="3" y="39"/>
                    <a:pt x="2" y="39"/>
                  </a:cubicBezTo>
                  <a:close/>
                  <a:moveTo>
                    <a:pt x="2" y="25"/>
                  </a:moveTo>
                  <a:cubicBezTo>
                    <a:pt x="1" y="25"/>
                    <a:pt x="0" y="24"/>
                    <a:pt x="0" y="23"/>
                  </a:cubicBezTo>
                  <a:cubicBezTo>
                    <a:pt x="0" y="16"/>
                    <a:pt x="0" y="16"/>
                    <a:pt x="0" y="16"/>
                  </a:cubicBezTo>
                  <a:cubicBezTo>
                    <a:pt x="0" y="15"/>
                    <a:pt x="1" y="14"/>
                    <a:pt x="2" y="14"/>
                  </a:cubicBezTo>
                  <a:cubicBezTo>
                    <a:pt x="3" y="14"/>
                    <a:pt x="4" y="15"/>
                    <a:pt x="4" y="16"/>
                  </a:cubicBezTo>
                  <a:cubicBezTo>
                    <a:pt x="4" y="23"/>
                    <a:pt x="4" y="23"/>
                    <a:pt x="4" y="23"/>
                  </a:cubicBezTo>
                  <a:cubicBezTo>
                    <a:pt x="4" y="24"/>
                    <a:pt x="3" y="25"/>
                    <a:pt x="2" y="25"/>
                  </a:cubicBezTo>
                  <a:close/>
                  <a:moveTo>
                    <a:pt x="2" y="11"/>
                  </a:moveTo>
                  <a:cubicBezTo>
                    <a:pt x="1" y="11"/>
                    <a:pt x="0" y="10"/>
                    <a:pt x="0" y="9"/>
                  </a:cubicBezTo>
                  <a:cubicBezTo>
                    <a:pt x="0" y="2"/>
                    <a:pt x="0" y="2"/>
                    <a:pt x="0" y="2"/>
                  </a:cubicBezTo>
                  <a:cubicBezTo>
                    <a:pt x="0" y="1"/>
                    <a:pt x="1" y="0"/>
                    <a:pt x="2" y="0"/>
                  </a:cubicBezTo>
                  <a:cubicBezTo>
                    <a:pt x="3" y="0"/>
                    <a:pt x="4" y="1"/>
                    <a:pt x="4" y="2"/>
                  </a:cubicBezTo>
                  <a:cubicBezTo>
                    <a:pt x="4" y="9"/>
                    <a:pt x="4" y="9"/>
                    <a:pt x="4" y="9"/>
                  </a:cubicBezTo>
                  <a:cubicBezTo>
                    <a:pt x="4" y="10"/>
                    <a:pt x="3" y="11"/>
                    <a:pt x="2" y="1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GB" sz="1200">
                <a:solidFill>
                  <a:schemeClr val="accent1"/>
                </a:solidFill>
                <a:latin typeface="Montserrat" panose="00000500000000000000"/>
              </a:endParaRPr>
            </a:p>
          </p:txBody>
        </p:sp>
        <p:sp>
          <p:nvSpPr>
            <p:cNvPr id="24" name="Freeform 24">
              <a:extLst>
                <a:ext uri="{FF2B5EF4-FFF2-40B4-BE49-F238E27FC236}">
                  <a16:creationId xmlns:a16="http://schemas.microsoft.com/office/drawing/2014/main" id="{039EBC39-CB1B-4E70-BA6B-4962FC8939A4}"/>
                </a:ext>
              </a:extLst>
            </p:cNvPr>
            <p:cNvSpPr>
              <a:spLocks/>
            </p:cNvSpPr>
            <p:nvPr/>
          </p:nvSpPr>
          <p:spPr bwMode="auto">
            <a:xfrm>
              <a:off x="703627" y="3844718"/>
              <a:ext cx="31254" cy="32452"/>
            </a:xfrm>
            <a:custGeom>
              <a:avLst/>
              <a:gdLst>
                <a:gd name="T0" fmla="*/ 2 w 8"/>
                <a:gd name="T1" fmla="*/ 8 h 8"/>
                <a:gd name="T2" fmla="*/ 0 w 8"/>
                <a:gd name="T3" fmla="*/ 6 h 8"/>
                <a:gd name="T4" fmla="*/ 0 w 8"/>
                <a:gd name="T5" fmla="*/ 2 h 8"/>
                <a:gd name="T6" fmla="*/ 2 w 8"/>
                <a:gd name="T7" fmla="*/ 0 h 8"/>
                <a:gd name="T8" fmla="*/ 6 w 8"/>
                <a:gd name="T9" fmla="*/ 0 h 8"/>
                <a:gd name="T10" fmla="*/ 8 w 8"/>
                <a:gd name="T11" fmla="*/ 2 h 8"/>
                <a:gd name="T12" fmla="*/ 6 w 8"/>
                <a:gd name="T13" fmla="*/ 4 h 8"/>
                <a:gd name="T14" fmla="*/ 4 w 8"/>
                <a:gd name="T15" fmla="*/ 4 h 8"/>
                <a:gd name="T16" fmla="*/ 4 w 8"/>
                <a:gd name="T17" fmla="*/ 6 h 8"/>
                <a:gd name="T18" fmla="*/ 2 w 8"/>
                <a:gd name="T19"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8">
                  <a:moveTo>
                    <a:pt x="2" y="8"/>
                  </a:moveTo>
                  <a:cubicBezTo>
                    <a:pt x="1" y="8"/>
                    <a:pt x="0" y="7"/>
                    <a:pt x="0" y="6"/>
                  </a:cubicBezTo>
                  <a:cubicBezTo>
                    <a:pt x="0" y="2"/>
                    <a:pt x="0" y="2"/>
                    <a:pt x="0" y="2"/>
                  </a:cubicBezTo>
                  <a:cubicBezTo>
                    <a:pt x="0" y="1"/>
                    <a:pt x="1" y="0"/>
                    <a:pt x="2" y="0"/>
                  </a:cubicBezTo>
                  <a:cubicBezTo>
                    <a:pt x="6" y="0"/>
                    <a:pt x="6" y="0"/>
                    <a:pt x="6" y="0"/>
                  </a:cubicBezTo>
                  <a:cubicBezTo>
                    <a:pt x="7" y="0"/>
                    <a:pt x="8" y="1"/>
                    <a:pt x="8" y="2"/>
                  </a:cubicBezTo>
                  <a:cubicBezTo>
                    <a:pt x="8" y="3"/>
                    <a:pt x="7" y="4"/>
                    <a:pt x="6" y="4"/>
                  </a:cubicBezTo>
                  <a:cubicBezTo>
                    <a:pt x="4" y="4"/>
                    <a:pt x="4" y="4"/>
                    <a:pt x="4" y="4"/>
                  </a:cubicBezTo>
                  <a:cubicBezTo>
                    <a:pt x="4" y="6"/>
                    <a:pt x="4" y="6"/>
                    <a:pt x="4" y="6"/>
                  </a:cubicBezTo>
                  <a:cubicBezTo>
                    <a:pt x="4" y="7"/>
                    <a:pt x="3" y="8"/>
                    <a:pt x="2" y="8"/>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GB" sz="1200">
                <a:solidFill>
                  <a:schemeClr val="accent1"/>
                </a:solidFill>
                <a:latin typeface="Montserrat" panose="00000500000000000000"/>
              </a:endParaRPr>
            </a:p>
          </p:txBody>
        </p:sp>
        <p:sp>
          <p:nvSpPr>
            <p:cNvPr id="25" name="Freeform 25">
              <a:extLst>
                <a:ext uri="{FF2B5EF4-FFF2-40B4-BE49-F238E27FC236}">
                  <a16:creationId xmlns:a16="http://schemas.microsoft.com/office/drawing/2014/main" id="{36AC288B-93E7-48A6-9FC3-52E07C55E007}"/>
                </a:ext>
              </a:extLst>
            </p:cNvPr>
            <p:cNvSpPr>
              <a:spLocks noEditPoints="1"/>
            </p:cNvSpPr>
            <p:nvPr/>
          </p:nvSpPr>
          <p:spPr bwMode="auto">
            <a:xfrm>
              <a:off x="746603" y="3844718"/>
              <a:ext cx="94416" cy="16227"/>
            </a:xfrm>
            <a:custGeom>
              <a:avLst/>
              <a:gdLst>
                <a:gd name="T0" fmla="*/ 22 w 24"/>
                <a:gd name="T1" fmla="*/ 4 h 4"/>
                <a:gd name="T2" fmla="*/ 15 w 24"/>
                <a:gd name="T3" fmla="*/ 4 h 4"/>
                <a:gd name="T4" fmla="*/ 13 w 24"/>
                <a:gd name="T5" fmla="*/ 2 h 4"/>
                <a:gd name="T6" fmla="*/ 15 w 24"/>
                <a:gd name="T7" fmla="*/ 0 h 4"/>
                <a:gd name="T8" fmla="*/ 22 w 24"/>
                <a:gd name="T9" fmla="*/ 0 h 4"/>
                <a:gd name="T10" fmla="*/ 24 w 24"/>
                <a:gd name="T11" fmla="*/ 2 h 4"/>
                <a:gd name="T12" fmla="*/ 22 w 24"/>
                <a:gd name="T13" fmla="*/ 4 h 4"/>
                <a:gd name="T14" fmla="*/ 8 w 24"/>
                <a:gd name="T15" fmla="*/ 4 h 4"/>
                <a:gd name="T16" fmla="*/ 2 w 24"/>
                <a:gd name="T17" fmla="*/ 4 h 4"/>
                <a:gd name="T18" fmla="*/ 0 w 24"/>
                <a:gd name="T19" fmla="*/ 2 h 4"/>
                <a:gd name="T20" fmla="*/ 2 w 24"/>
                <a:gd name="T21" fmla="*/ 0 h 4"/>
                <a:gd name="T22" fmla="*/ 8 w 24"/>
                <a:gd name="T23" fmla="*/ 0 h 4"/>
                <a:gd name="T24" fmla="*/ 10 w 24"/>
                <a:gd name="T25" fmla="*/ 2 h 4"/>
                <a:gd name="T26" fmla="*/ 8 w 24"/>
                <a:gd name="T27"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4">
                  <a:moveTo>
                    <a:pt x="22" y="4"/>
                  </a:moveTo>
                  <a:cubicBezTo>
                    <a:pt x="15" y="4"/>
                    <a:pt x="15" y="4"/>
                    <a:pt x="15" y="4"/>
                  </a:cubicBezTo>
                  <a:cubicBezTo>
                    <a:pt x="14" y="4"/>
                    <a:pt x="13" y="3"/>
                    <a:pt x="13" y="2"/>
                  </a:cubicBezTo>
                  <a:cubicBezTo>
                    <a:pt x="13" y="1"/>
                    <a:pt x="14" y="0"/>
                    <a:pt x="15" y="0"/>
                  </a:cubicBezTo>
                  <a:cubicBezTo>
                    <a:pt x="22" y="0"/>
                    <a:pt x="22" y="0"/>
                    <a:pt x="22" y="0"/>
                  </a:cubicBezTo>
                  <a:cubicBezTo>
                    <a:pt x="23" y="0"/>
                    <a:pt x="24" y="1"/>
                    <a:pt x="24" y="2"/>
                  </a:cubicBezTo>
                  <a:cubicBezTo>
                    <a:pt x="24" y="3"/>
                    <a:pt x="23" y="4"/>
                    <a:pt x="22" y="4"/>
                  </a:cubicBezTo>
                  <a:close/>
                  <a:moveTo>
                    <a:pt x="8" y="4"/>
                  </a:moveTo>
                  <a:cubicBezTo>
                    <a:pt x="2" y="4"/>
                    <a:pt x="2" y="4"/>
                    <a:pt x="2" y="4"/>
                  </a:cubicBezTo>
                  <a:cubicBezTo>
                    <a:pt x="1" y="4"/>
                    <a:pt x="0" y="3"/>
                    <a:pt x="0" y="2"/>
                  </a:cubicBezTo>
                  <a:cubicBezTo>
                    <a:pt x="0" y="1"/>
                    <a:pt x="1" y="0"/>
                    <a:pt x="2" y="0"/>
                  </a:cubicBezTo>
                  <a:cubicBezTo>
                    <a:pt x="8" y="0"/>
                    <a:pt x="8" y="0"/>
                    <a:pt x="8" y="0"/>
                  </a:cubicBezTo>
                  <a:cubicBezTo>
                    <a:pt x="9" y="0"/>
                    <a:pt x="10" y="1"/>
                    <a:pt x="10" y="2"/>
                  </a:cubicBezTo>
                  <a:cubicBezTo>
                    <a:pt x="10" y="3"/>
                    <a:pt x="9" y="4"/>
                    <a:pt x="8" y="4"/>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GB" sz="1200">
                <a:solidFill>
                  <a:schemeClr val="accent1"/>
                </a:solidFill>
                <a:latin typeface="Montserrat" panose="00000500000000000000"/>
              </a:endParaRPr>
            </a:p>
          </p:txBody>
        </p:sp>
        <p:sp>
          <p:nvSpPr>
            <p:cNvPr id="26" name="Freeform 26">
              <a:extLst>
                <a:ext uri="{FF2B5EF4-FFF2-40B4-BE49-F238E27FC236}">
                  <a16:creationId xmlns:a16="http://schemas.microsoft.com/office/drawing/2014/main" id="{DFAD5228-6F41-40C5-A7AA-D06DA2E1B6AA}"/>
                </a:ext>
              </a:extLst>
            </p:cNvPr>
            <p:cNvSpPr>
              <a:spLocks/>
            </p:cNvSpPr>
            <p:nvPr/>
          </p:nvSpPr>
          <p:spPr bwMode="auto">
            <a:xfrm>
              <a:off x="848831" y="3844718"/>
              <a:ext cx="31254" cy="16227"/>
            </a:xfrm>
            <a:custGeom>
              <a:avLst/>
              <a:gdLst>
                <a:gd name="T0" fmla="*/ 6 w 8"/>
                <a:gd name="T1" fmla="*/ 4 h 4"/>
                <a:gd name="T2" fmla="*/ 2 w 8"/>
                <a:gd name="T3" fmla="*/ 4 h 4"/>
                <a:gd name="T4" fmla="*/ 0 w 8"/>
                <a:gd name="T5" fmla="*/ 2 h 4"/>
                <a:gd name="T6" fmla="*/ 2 w 8"/>
                <a:gd name="T7" fmla="*/ 0 h 4"/>
                <a:gd name="T8" fmla="*/ 6 w 8"/>
                <a:gd name="T9" fmla="*/ 0 h 4"/>
                <a:gd name="T10" fmla="*/ 8 w 8"/>
                <a:gd name="T11" fmla="*/ 2 h 4"/>
                <a:gd name="T12" fmla="*/ 6 w 8"/>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6" y="4"/>
                  </a:moveTo>
                  <a:cubicBezTo>
                    <a:pt x="2" y="4"/>
                    <a:pt x="2" y="4"/>
                    <a:pt x="2" y="4"/>
                  </a:cubicBezTo>
                  <a:cubicBezTo>
                    <a:pt x="1" y="4"/>
                    <a:pt x="0" y="3"/>
                    <a:pt x="0" y="2"/>
                  </a:cubicBezTo>
                  <a:cubicBezTo>
                    <a:pt x="0" y="1"/>
                    <a:pt x="1" y="0"/>
                    <a:pt x="2" y="0"/>
                  </a:cubicBezTo>
                  <a:cubicBezTo>
                    <a:pt x="6" y="0"/>
                    <a:pt x="6" y="0"/>
                    <a:pt x="6" y="0"/>
                  </a:cubicBezTo>
                  <a:cubicBezTo>
                    <a:pt x="7" y="0"/>
                    <a:pt x="8" y="1"/>
                    <a:pt x="8" y="2"/>
                  </a:cubicBezTo>
                  <a:cubicBezTo>
                    <a:pt x="8" y="3"/>
                    <a:pt x="7" y="4"/>
                    <a:pt x="6" y="4"/>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GB" sz="1200">
                <a:solidFill>
                  <a:schemeClr val="accent1"/>
                </a:solidFill>
                <a:latin typeface="Montserrat" panose="00000500000000000000"/>
              </a:endParaRPr>
            </a:p>
          </p:txBody>
        </p:sp>
        <p:sp>
          <p:nvSpPr>
            <p:cNvPr id="27" name="Freeform 27">
              <a:extLst>
                <a:ext uri="{FF2B5EF4-FFF2-40B4-BE49-F238E27FC236}">
                  <a16:creationId xmlns:a16="http://schemas.microsoft.com/office/drawing/2014/main" id="{443C19A9-63AF-4069-8831-1FC7B7C0F240}"/>
                </a:ext>
              </a:extLst>
            </p:cNvPr>
            <p:cNvSpPr>
              <a:spLocks/>
            </p:cNvSpPr>
            <p:nvPr/>
          </p:nvSpPr>
          <p:spPr bwMode="auto">
            <a:xfrm>
              <a:off x="1040917" y="4027600"/>
              <a:ext cx="15627" cy="32791"/>
            </a:xfrm>
            <a:custGeom>
              <a:avLst/>
              <a:gdLst>
                <a:gd name="T0" fmla="*/ 2 w 4"/>
                <a:gd name="T1" fmla="*/ 8 h 8"/>
                <a:gd name="T2" fmla="*/ 0 w 4"/>
                <a:gd name="T3" fmla="*/ 6 h 8"/>
                <a:gd name="T4" fmla="*/ 0 w 4"/>
                <a:gd name="T5" fmla="*/ 2 h 8"/>
                <a:gd name="T6" fmla="*/ 2 w 4"/>
                <a:gd name="T7" fmla="*/ 0 h 8"/>
                <a:gd name="T8" fmla="*/ 4 w 4"/>
                <a:gd name="T9" fmla="*/ 2 h 8"/>
                <a:gd name="T10" fmla="*/ 4 w 4"/>
                <a:gd name="T11" fmla="*/ 6 h 8"/>
                <a:gd name="T12" fmla="*/ 2 w 4"/>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4" h="8">
                  <a:moveTo>
                    <a:pt x="2" y="8"/>
                  </a:moveTo>
                  <a:cubicBezTo>
                    <a:pt x="1" y="8"/>
                    <a:pt x="0" y="7"/>
                    <a:pt x="0" y="6"/>
                  </a:cubicBezTo>
                  <a:cubicBezTo>
                    <a:pt x="0" y="2"/>
                    <a:pt x="0" y="2"/>
                    <a:pt x="0" y="2"/>
                  </a:cubicBezTo>
                  <a:cubicBezTo>
                    <a:pt x="0" y="1"/>
                    <a:pt x="1" y="0"/>
                    <a:pt x="2" y="0"/>
                  </a:cubicBezTo>
                  <a:cubicBezTo>
                    <a:pt x="3" y="0"/>
                    <a:pt x="4" y="1"/>
                    <a:pt x="4" y="2"/>
                  </a:cubicBezTo>
                  <a:cubicBezTo>
                    <a:pt x="4" y="6"/>
                    <a:pt x="4" y="6"/>
                    <a:pt x="4" y="6"/>
                  </a:cubicBezTo>
                  <a:cubicBezTo>
                    <a:pt x="4" y="7"/>
                    <a:pt x="3" y="8"/>
                    <a:pt x="2" y="8"/>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GB" sz="1200">
                <a:solidFill>
                  <a:schemeClr val="accent1"/>
                </a:solidFill>
                <a:latin typeface="Montserrat" panose="00000500000000000000"/>
              </a:endParaRPr>
            </a:p>
          </p:txBody>
        </p:sp>
        <p:sp>
          <p:nvSpPr>
            <p:cNvPr id="28" name="Freeform 28">
              <a:extLst>
                <a:ext uri="{FF2B5EF4-FFF2-40B4-BE49-F238E27FC236}">
                  <a16:creationId xmlns:a16="http://schemas.microsoft.com/office/drawing/2014/main" id="{9CFCCD1B-108C-425F-A377-D50DA9BDC70E}"/>
                </a:ext>
              </a:extLst>
            </p:cNvPr>
            <p:cNvSpPr>
              <a:spLocks noEditPoints="1"/>
            </p:cNvSpPr>
            <p:nvPr/>
          </p:nvSpPr>
          <p:spPr bwMode="auto">
            <a:xfrm>
              <a:off x="1040917" y="4068504"/>
              <a:ext cx="15627" cy="97695"/>
            </a:xfrm>
            <a:custGeom>
              <a:avLst/>
              <a:gdLst>
                <a:gd name="T0" fmla="*/ 2 w 4"/>
                <a:gd name="T1" fmla="*/ 24 h 24"/>
                <a:gd name="T2" fmla="*/ 0 w 4"/>
                <a:gd name="T3" fmla="*/ 22 h 24"/>
                <a:gd name="T4" fmla="*/ 0 w 4"/>
                <a:gd name="T5" fmla="*/ 16 h 24"/>
                <a:gd name="T6" fmla="*/ 2 w 4"/>
                <a:gd name="T7" fmla="*/ 14 h 24"/>
                <a:gd name="T8" fmla="*/ 4 w 4"/>
                <a:gd name="T9" fmla="*/ 16 h 24"/>
                <a:gd name="T10" fmla="*/ 4 w 4"/>
                <a:gd name="T11" fmla="*/ 22 h 24"/>
                <a:gd name="T12" fmla="*/ 2 w 4"/>
                <a:gd name="T13" fmla="*/ 24 h 24"/>
                <a:gd name="T14" fmla="*/ 2 w 4"/>
                <a:gd name="T15" fmla="*/ 11 h 24"/>
                <a:gd name="T16" fmla="*/ 0 w 4"/>
                <a:gd name="T17" fmla="*/ 9 h 24"/>
                <a:gd name="T18" fmla="*/ 0 w 4"/>
                <a:gd name="T19" fmla="*/ 2 h 24"/>
                <a:gd name="T20" fmla="*/ 2 w 4"/>
                <a:gd name="T21" fmla="*/ 0 h 24"/>
                <a:gd name="T22" fmla="*/ 4 w 4"/>
                <a:gd name="T23" fmla="*/ 2 h 24"/>
                <a:gd name="T24" fmla="*/ 4 w 4"/>
                <a:gd name="T25" fmla="*/ 9 h 24"/>
                <a:gd name="T26" fmla="*/ 2 w 4"/>
                <a:gd name="T27" fmla="*/ 11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24">
                  <a:moveTo>
                    <a:pt x="2" y="24"/>
                  </a:moveTo>
                  <a:cubicBezTo>
                    <a:pt x="1" y="24"/>
                    <a:pt x="0" y="23"/>
                    <a:pt x="0" y="22"/>
                  </a:cubicBezTo>
                  <a:cubicBezTo>
                    <a:pt x="0" y="16"/>
                    <a:pt x="0" y="16"/>
                    <a:pt x="0" y="16"/>
                  </a:cubicBezTo>
                  <a:cubicBezTo>
                    <a:pt x="0" y="15"/>
                    <a:pt x="1" y="14"/>
                    <a:pt x="2" y="14"/>
                  </a:cubicBezTo>
                  <a:cubicBezTo>
                    <a:pt x="3" y="14"/>
                    <a:pt x="4" y="15"/>
                    <a:pt x="4" y="16"/>
                  </a:cubicBezTo>
                  <a:cubicBezTo>
                    <a:pt x="4" y="22"/>
                    <a:pt x="4" y="22"/>
                    <a:pt x="4" y="22"/>
                  </a:cubicBezTo>
                  <a:cubicBezTo>
                    <a:pt x="4" y="23"/>
                    <a:pt x="3" y="24"/>
                    <a:pt x="2" y="24"/>
                  </a:cubicBezTo>
                  <a:close/>
                  <a:moveTo>
                    <a:pt x="2" y="11"/>
                  </a:moveTo>
                  <a:cubicBezTo>
                    <a:pt x="1" y="11"/>
                    <a:pt x="0" y="10"/>
                    <a:pt x="0" y="9"/>
                  </a:cubicBezTo>
                  <a:cubicBezTo>
                    <a:pt x="0" y="2"/>
                    <a:pt x="0" y="2"/>
                    <a:pt x="0" y="2"/>
                  </a:cubicBezTo>
                  <a:cubicBezTo>
                    <a:pt x="0" y="1"/>
                    <a:pt x="1" y="0"/>
                    <a:pt x="2" y="0"/>
                  </a:cubicBezTo>
                  <a:cubicBezTo>
                    <a:pt x="3" y="0"/>
                    <a:pt x="4" y="1"/>
                    <a:pt x="4" y="2"/>
                  </a:cubicBezTo>
                  <a:cubicBezTo>
                    <a:pt x="4" y="9"/>
                    <a:pt x="4" y="9"/>
                    <a:pt x="4" y="9"/>
                  </a:cubicBezTo>
                  <a:cubicBezTo>
                    <a:pt x="4" y="10"/>
                    <a:pt x="3" y="11"/>
                    <a:pt x="2" y="1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GB" sz="1200">
                <a:solidFill>
                  <a:schemeClr val="accent1"/>
                </a:solidFill>
                <a:latin typeface="Montserrat" panose="00000500000000000000"/>
              </a:endParaRPr>
            </a:p>
          </p:txBody>
        </p:sp>
        <p:sp>
          <p:nvSpPr>
            <p:cNvPr id="29" name="Freeform 29">
              <a:extLst>
                <a:ext uri="{FF2B5EF4-FFF2-40B4-BE49-F238E27FC236}">
                  <a16:creationId xmlns:a16="http://schemas.microsoft.com/office/drawing/2014/main" id="{57695019-01F3-4AB6-8937-EA3E465E9EE1}"/>
                </a:ext>
              </a:extLst>
            </p:cNvPr>
            <p:cNvSpPr>
              <a:spLocks/>
            </p:cNvSpPr>
            <p:nvPr/>
          </p:nvSpPr>
          <p:spPr bwMode="auto">
            <a:xfrm>
              <a:off x="1025290" y="4178369"/>
              <a:ext cx="31254" cy="32452"/>
            </a:xfrm>
            <a:custGeom>
              <a:avLst/>
              <a:gdLst>
                <a:gd name="T0" fmla="*/ 6 w 8"/>
                <a:gd name="T1" fmla="*/ 8 h 8"/>
                <a:gd name="T2" fmla="*/ 2 w 8"/>
                <a:gd name="T3" fmla="*/ 8 h 8"/>
                <a:gd name="T4" fmla="*/ 0 w 8"/>
                <a:gd name="T5" fmla="*/ 6 h 8"/>
                <a:gd name="T6" fmla="*/ 2 w 8"/>
                <a:gd name="T7" fmla="*/ 4 h 8"/>
                <a:gd name="T8" fmla="*/ 4 w 8"/>
                <a:gd name="T9" fmla="*/ 4 h 8"/>
                <a:gd name="T10" fmla="*/ 4 w 8"/>
                <a:gd name="T11" fmla="*/ 2 h 8"/>
                <a:gd name="T12" fmla="*/ 6 w 8"/>
                <a:gd name="T13" fmla="*/ 0 h 8"/>
                <a:gd name="T14" fmla="*/ 8 w 8"/>
                <a:gd name="T15" fmla="*/ 2 h 8"/>
                <a:gd name="T16" fmla="*/ 8 w 8"/>
                <a:gd name="T17" fmla="*/ 6 h 8"/>
                <a:gd name="T18" fmla="*/ 6 w 8"/>
                <a:gd name="T19"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8">
                  <a:moveTo>
                    <a:pt x="6" y="8"/>
                  </a:moveTo>
                  <a:cubicBezTo>
                    <a:pt x="2" y="8"/>
                    <a:pt x="2" y="8"/>
                    <a:pt x="2" y="8"/>
                  </a:cubicBezTo>
                  <a:cubicBezTo>
                    <a:pt x="1" y="8"/>
                    <a:pt x="0" y="7"/>
                    <a:pt x="0" y="6"/>
                  </a:cubicBezTo>
                  <a:cubicBezTo>
                    <a:pt x="0" y="5"/>
                    <a:pt x="1" y="4"/>
                    <a:pt x="2" y="4"/>
                  </a:cubicBezTo>
                  <a:cubicBezTo>
                    <a:pt x="4" y="4"/>
                    <a:pt x="4" y="4"/>
                    <a:pt x="4" y="4"/>
                  </a:cubicBezTo>
                  <a:cubicBezTo>
                    <a:pt x="4" y="2"/>
                    <a:pt x="4" y="2"/>
                    <a:pt x="4" y="2"/>
                  </a:cubicBezTo>
                  <a:cubicBezTo>
                    <a:pt x="4" y="1"/>
                    <a:pt x="5" y="0"/>
                    <a:pt x="6" y="0"/>
                  </a:cubicBezTo>
                  <a:cubicBezTo>
                    <a:pt x="7" y="0"/>
                    <a:pt x="8" y="1"/>
                    <a:pt x="8" y="2"/>
                  </a:cubicBezTo>
                  <a:cubicBezTo>
                    <a:pt x="8" y="6"/>
                    <a:pt x="8" y="6"/>
                    <a:pt x="8" y="6"/>
                  </a:cubicBezTo>
                  <a:cubicBezTo>
                    <a:pt x="8" y="7"/>
                    <a:pt x="7" y="8"/>
                    <a:pt x="6" y="8"/>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GB" sz="1200">
                <a:solidFill>
                  <a:schemeClr val="accent1"/>
                </a:solidFill>
                <a:latin typeface="Montserrat" panose="00000500000000000000"/>
              </a:endParaRPr>
            </a:p>
          </p:txBody>
        </p:sp>
        <p:sp>
          <p:nvSpPr>
            <p:cNvPr id="30" name="Freeform 30">
              <a:extLst>
                <a:ext uri="{FF2B5EF4-FFF2-40B4-BE49-F238E27FC236}">
                  <a16:creationId xmlns:a16="http://schemas.microsoft.com/office/drawing/2014/main" id="{D65E4568-9476-4CFE-9E5B-4D6969BE5EF1}"/>
                </a:ext>
              </a:extLst>
            </p:cNvPr>
            <p:cNvSpPr>
              <a:spLocks/>
            </p:cNvSpPr>
            <p:nvPr/>
          </p:nvSpPr>
          <p:spPr bwMode="auto">
            <a:xfrm>
              <a:off x="962455" y="4194595"/>
              <a:ext cx="46882" cy="16227"/>
            </a:xfrm>
            <a:custGeom>
              <a:avLst/>
              <a:gdLst>
                <a:gd name="T0" fmla="*/ 10 w 12"/>
                <a:gd name="T1" fmla="*/ 4 h 4"/>
                <a:gd name="T2" fmla="*/ 2 w 12"/>
                <a:gd name="T3" fmla="*/ 4 h 4"/>
                <a:gd name="T4" fmla="*/ 0 w 12"/>
                <a:gd name="T5" fmla="*/ 2 h 4"/>
                <a:gd name="T6" fmla="*/ 2 w 12"/>
                <a:gd name="T7" fmla="*/ 0 h 4"/>
                <a:gd name="T8" fmla="*/ 10 w 12"/>
                <a:gd name="T9" fmla="*/ 0 h 4"/>
                <a:gd name="T10" fmla="*/ 12 w 12"/>
                <a:gd name="T11" fmla="*/ 2 h 4"/>
                <a:gd name="T12" fmla="*/ 10 w 1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2" h="4">
                  <a:moveTo>
                    <a:pt x="10" y="4"/>
                  </a:moveTo>
                  <a:cubicBezTo>
                    <a:pt x="2" y="4"/>
                    <a:pt x="2" y="4"/>
                    <a:pt x="2" y="4"/>
                  </a:cubicBezTo>
                  <a:cubicBezTo>
                    <a:pt x="1" y="4"/>
                    <a:pt x="0" y="3"/>
                    <a:pt x="0" y="2"/>
                  </a:cubicBezTo>
                  <a:cubicBezTo>
                    <a:pt x="0" y="1"/>
                    <a:pt x="1" y="0"/>
                    <a:pt x="2" y="0"/>
                  </a:cubicBezTo>
                  <a:cubicBezTo>
                    <a:pt x="10" y="0"/>
                    <a:pt x="10" y="0"/>
                    <a:pt x="10" y="0"/>
                  </a:cubicBezTo>
                  <a:cubicBezTo>
                    <a:pt x="11" y="0"/>
                    <a:pt x="12" y="1"/>
                    <a:pt x="12" y="2"/>
                  </a:cubicBezTo>
                  <a:cubicBezTo>
                    <a:pt x="12" y="3"/>
                    <a:pt x="11" y="4"/>
                    <a:pt x="10" y="4"/>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GB" sz="1200">
                <a:solidFill>
                  <a:schemeClr val="accent1"/>
                </a:solidFill>
                <a:latin typeface="Montserrat" panose="00000500000000000000"/>
              </a:endParaRPr>
            </a:p>
          </p:txBody>
        </p:sp>
        <p:sp>
          <p:nvSpPr>
            <p:cNvPr id="31" name="Freeform 31">
              <a:extLst>
                <a:ext uri="{FF2B5EF4-FFF2-40B4-BE49-F238E27FC236}">
                  <a16:creationId xmlns:a16="http://schemas.microsoft.com/office/drawing/2014/main" id="{CBE5DD27-2437-4377-B065-8958F194B627}"/>
                </a:ext>
              </a:extLst>
            </p:cNvPr>
            <p:cNvSpPr>
              <a:spLocks/>
            </p:cNvSpPr>
            <p:nvPr/>
          </p:nvSpPr>
          <p:spPr bwMode="auto">
            <a:xfrm>
              <a:off x="915247" y="4194595"/>
              <a:ext cx="31580" cy="16227"/>
            </a:xfrm>
            <a:custGeom>
              <a:avLst/>
              <a:gdLst>
                <a:gd name="T0" fmla="*/ 6 w 8"/>
                <a:gd name="T1" fmla="*/ 4 h 4"/>
                <a:gd name="T2" fmla="*/ 2 w 8"/>
                <a:gd name="T3" fmla="*/ 4 h 4"/>
                <a:gd name="T4" fmla="*/ 0 w 8"/>
                <a:gd name="T5" fmla="*/ 2 h 4"/>
                <a:gd name="T6" fmla="*/ 2 w 8"/>
                <a:gd name="T7" fmla="*/ 0 h 4"/>
                <a:gd name="T8" fmla="*/ 6 w 8"/>
                <a:gd name="T9" fmla="*/ 0 h 4"/>
                <a:gd name="T10" fmla="*/ 8 w 8"/>
                <a:gd name="T11" fmla="*/ 2 h 4"/>
                <a:gd name="T12" fmla="*/ 6 w 8"/>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6" y="4"/>
                  </a:moveTo>
                  <a:cubicBezTo>
                    <a:pt x="2" y="4"/>
                    <a:pt x="2" y="4"/>
                    <a:pt x="2" y="4"/>
                  </a:cubicBezTo>
                  <a:cubicBezTo>
                    <a:pt x="1" y="4"/>
                    <a:pt x="0" y="3"/>
                    <a:pt x="0" y="2"/>
                  </a:cubicBezTo>
                  <a:cubicBezTo>
                    <a:pt x="0" y="1"/>
                    <a:pt x="1" y="0"/>
                    <a:pt x="2" y="0"/>
                  </a:cubicBezTo>
                  <a:cubicBezTo>
                    <a:pt x="6" y="0"/>
                    <a:pt x="6" y="0"/>
                    <a:pt x="6" y="0"/>
                  </a:cubicBezTo>
                  <a:cubicBezTo>
                    <a:pt x="7" y="0"/>
                    <a:pt x="8" y="1"/>
                    <a:pt x="8" y="2"/>
                  </a:cubicBezTo>
                  <a:cubicBezTo>
                    <a:pt x="8" y="3"/>
                    <a:pt x="7" y="4"/>
                    <a:pt x="6" y="4"/>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GB" sz="1200">
                <a:solidFill>
                  <a:schemeClr val="accent1"/>
                </a:solidFill>
                <a:latin typeface="Montserrat" panose="00000500000000000000"/>
              </a:endParaRPr>
            </a:p>
          </p:txBody>
        </p:sp>
        <p:sp>
          <p:nvSpPr>
            <p:cNvPr id="32" name="Freeform 32">
              <a:extLst>
                <a:ext uri="{FF2B5EF4-FFF2-40B4-BE49-F238E27FC236}">
                  <a16:creationId xmlns:a16="http://schemas.microsoft.com/office/drawing/2014/main" id="{AE924B38-66B7-48B8-9FF5-E285D5C9ABFD}"/>
                </a:ext>
              </a:extLst>
            </p:cNvPr>
            <p:cNvSpPr>
              <a:spLocks/>
            </p:cNvSpPr>
            <p:nvPr/>
          </p:nvSpPr>
          <p:spPr bwMode="auto">
            <a:xfrm>
              <a:off x="680186" y="4068504"/>
              <a:ext cx="219434" cy="182883"/>
            </a:xfrm>
            <a:custGeom>
              <a:avLst/>
              <a:gdLst>
                <a:gd name="T0" fmla="*/ 41 w 56"/>
                <a:gd name="T1" fmla="*/ 45 h 45"/>
                <a:gd name="T2" fmla="*/ 39 w 56"/>
                <a:gd name="T3" fmla="*/ 43 h 45"/>
                <a:gd name="T4" fmla="*/ 41 w 56"/>
                <a:gd name="T5" fmla="*/ 41 h 45"/>
                <a:gd name="T6" fmla="*/ 52 w 56"/>
                <a:gd name="T7" fmla="*/ 30 h 45"/>
                <a:gd name="T8" fmla="*/ 47 w 56"/>
                <a:gd name="T9" fmla="*/ 21 h 45"/>
                <a:gd name="T10" fmla="*/ 46 w 56"/>
                <a:gd name="T11" fmla="*/ 18 h 45"/>
                <a:gd name="T12" fmla="*/ 47 w 56"/>
                <a:gd name="T13" fmla="*/ 15 h 45"/>
                <a:gd name="T14" fmla="*/ 35 w 56"/>
                <a:gd name="T15" fmla="*/ 4 h 45"/>
                <a:gd name="T16" fmla="*/ 26 w 56"/>
                <a:gd name="T17" fmla="*/ 9 h 45"/>
                <a:gd name="T18" fmla="*/ 23 w 56"/>
                <a:gd name="T19" fmla="*/ 10 h 45"/>
                <a:gd name="T20" fmla="*/ 20 w 56"/>
                <a:gd name="T21" fmla="*/ 9 h 45"/>
                <a:gd name="T22" fmla="*/ 9 w 56"/>
                <a:gd name="T23" fmla="*/ 20 h 45"/>
                <a:gd name="T24" fmla="*/ 8 w 56"/>
                <a:gd name="T25" fmla="*/ 21 h 45"/>
                <a:gd name="T26" fmla="*/ 4 w 56"/>
                <a:gd name="T27" fmla="*/ 30 h 45"/>
                <a:gd name="T28" fmla="*/ 15 w 56"/>
                <a:gd name="T29" fmla="*/ 41 h 45"/>
                <a:gd name="T30" fmla="*/ 27 w 56"/>
                <a:gd name="T31" fmla="*/ 41 h 45"/>
                <a:gd name="T32" fmla="*/ 29 w 56"/>
                <a:gd name="T33" fmla="*/ 43 h 45"/>
                <a:gd name="T34" fmla="*/ 27 w 56"/>
                <a:gd name="T35" fmla="*/ 45 h 45"/>
                <a:gd name="T36" fmla="*/ 15 w 56"/>
                <a:gd name="T37" fmla="*/ 45 h 45"/>
                <a:gd name="T38" fmla="*/ 0 w 56"/>
                <a:gd name="T39" fmla="*/ 30 h 45"/>
                <a:gd name="T40" fmla="*/ 5 w 56"/>
                <a:gd name="T41" fmla="*/ 19 h 45"/>
                <a:gd name="T42" fmla="*/ 20 w 56"/>
                <a:gd name="T43" fmla="*/ 5 h 45"/>
                <a:gd name="T44" fmla="*/ 23 w 56"/>
                <a:gd name="T45" fmla="*/ 6 h 45"/>
                <a:gd name="T46" fmla="*/ 35 w 56"/>
                <a:gd name="T47" fmla="*/ 0 h 45"/>
                <a:gd name="T48" fmla="*/ 51 w 56"/>
                <a:gd name="T49" fmla="*/ 15 h 45"/>
                <a:gd name="T50" fmla="*/ 50 w 56"/>
                <a:gd name="T51" fmla="*/ 18 h 45"/>
                <a:gd name="T52" fmla="*/ 56 w 56"/>
                <a:gd name="T53" fmla="*/ 30 h 45"/>
                <a:gd name="T54" fmla="*/ 41 w 56"/>
                <a:gd name="T55"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6" h="45">
                  <a:moveTo>
                    <a:pt x="41" y="45"/>
                  </a:moveTo>
                  <a:cubicBezTo>
                    <a:pt x="40" y="45"/>
                    <a:pt x="39" y="44"/>
                    <a:pt x="39" y="43"/>
                  </a:cubicBezTo>
                  <a:cubicBezTo>
                    <a:pt x="39" y="42"/>
                    <a:pt x="40" y="41"/>
                    <a:pt x="41" y="41"/>
                  </a:cubicBezTo>
                  <a:cubicBezTo>
                    <a:pt x="47" y="41"/>
                    <a:pt x="52" y="36"/>
                    <a:pt x="52" y="30"/>
                  </a:cubicBezTo>
                  <a:cubicBezTo>
                    <a:pt x="52" y="26"/>
                    <a:pt x="50" y="23"/>
                    <a:pt x="47" y="21"/>
                  </a:cubicBezTo>
                  <a:cubicBezTo>
                    <a:pt x="46" y="20"/>
                    <a:pt x="46" y="19"/>
                    <a:pt x="46" y="18"/>
                  </a:cubicBezTo>
                  <a:cubicBezTo>
                    <a:pt x="46" y="17"/>
                    <a:pt x="47" y="16"/>
                    <a:pt x="47" y="15"/>
                  </a:cubicBezTo>
                  <a:cubicBezTo>
                    <a:pt x="47" y="9"/>
                    <a:pt x="41" y="4"/>
                    <a:pt x="35" y="4"/>
                  </a:cubicBezTo>
                  <a:cubicBezTo>
                    <a:pt x="31" y="4"/>
                    <a:pt x="28" y="6"/>
                    <a:pt x="26" y="9"/>
                  </a:cubicBezTo>
                  <a:cubicBezTo>
                    <a:pt x="25" y="10"/>
                    <a:pt x="24" y="10"/>
                    <a:pt x="23" y="10"/>
                  </a:cubicBezTo>
                  <a:cubicBezTo>
                    <a:pt x="22" y="9"/>
                    <a:pt x="21" y="9"/>
                    <a:pt x="20" y="9"/>
                  </a:cubicBezTo>
                  <a:cubicBezTo>
                    <a:pt x="14" y="9"/>
                    <a:pt x="9" y="14"/>
                    <a:pt x="9" y="20"/>
                  </a:cubicBezTo>
                  <a:cubicBezTo>
                    <a:pt x="9" y="21"/>
                    <a:pt x="9" y="21"/>
                    <a:pt x="8" y="21"/>
                  </a:cubicBezTo>
                  <a:cubicBezTo>
                    <a:pt x="5" y="23"/>
                    <a:pt x="4" y="27"/>
                    <a:pt x="4" y="30"/>
                  </a:cubicBezTo>
                  <a:cubicBezTo>
                    <a:pt x="4" y="36"/>
                    <a:pt x="9" y="41"/>
                    <a:pt x="15" y="41"/>
                  </a:cubicBezTo>
                  <a:cubicBezTo>
                    <a:pt x="27" y="41"/>
                    <a:pt x="27" y="41"/>
                    <a:pt x="27" y="41"/>
                  </a:cubicBezTo>
                  <a:cubicBezTo>
                    <a:pt x="28" y="41"/>
                    <a:pt x="29" y="42"/>
                    <a:pt x="29" y="43"/>
                  </a:cubicBezTo>
                  <a:cubicBezTo>
                    <a:pt x="29" y="44"/>
                    <a:pt x="28" y="45"/>
                    <a:pt x="27" y="45"/>
                  </a:cubicBezTo>
                  <a:cubicBezTo>
                    <a:pt x="15" y="45"/>
                    <a:pt x="15" y="45"/>
                    <a:pt x="15" y="45"/>
                  </a:cubicBezTo>
                  <a:cubicBezTo>
                    <a:pt x="6" y="45"/>
                    <a:pt x="0" y="38"/>
                    <a:pt x="0" y="30"/>
                  </a:cubicBezTo>
                  <a:cubicBezTo>
                    <a:pt x="0" y="26"/>
                    <a:pt x="2" y="22"/>
                    <a:pt x="5" y="19"/>
                  </a:cubicBezTo>
                  <a:cubicBezTo>
                    <a:pt x="6" y="11"/>
                    <a:pt x="13" y="5"/>
                    <a:pt x="20" y="5"/>
                  </a:cubicBezTo>
                  <a:cubicBezTo>
                    <a:pt x="21" y="5"/>
                    <a:pt x="22" y="5"/>
                    <a:pt x="23" y="6"/>
                  </a:cubicBezTo>
                  <a:cubicBezTo>
                    <a:pt x="26" y="2"/>
                    <a:pt x="30" y="0"/>
                    <a:pt x="35" y="0"/>
                  </a:cubicBezTo>
                  <a:cubicBezTo>
                    <a:pt x="44" y="0"/>
                    <a:pt x="51" y="7"/>
                    <a:pt x="51" y="15"/>
                  </a:cubicBezTo>
                  <a:cubicBezTo>
                    <a:pt x="51" y="16"/>
                    <a:pt x="50" y="17"/>
                    <a:pt x="50" y="18"/>
                  </a:cubicBezTo>
                  <a:cubicBezTo>
                    <a:pt x="54" y="21"/>
                    <a:pt x="56" y="26"/>
                    <a:pt x="56" y="30"/>
                  </a:cubicBezTo>
                  <a:cubicBezTo>
                    <a:pt x="56" y="38"/>
                    <a:pt x="50" y="45"/>
                    <a:pt x="41" y="45"/>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GB" sz="1200">
                <a:solidFill>
                  <a:schemeClr val="accent1"/>
                </a:solidFill>
                <a:latin typeface="Montserrat" panose="00000500000000000000"/>
              </a:endParaRPr>
            </a:p>
          </p:txBody>
        </p:sp>
      </p:grpSp>
      <p:sp>
        <p:nvSpPr>
          <p:cNvPr id="33" name="Oval 11"/>
          <p:cNvSpPr>
            <a:spLocks noChangeArrowheads="1"/>
          </p:cNvSpPr>
          <p:nvPr/>
        </p:nvSpPr>
        <p:spPr bwMode="auto">
          <a:xfrm>
            <a:off x="8689530" y="2448732"/>
            <a:ext cx="864939" cy="864939"/>
          </a:xfrm>
          <a:prstGeom prst="ellipse">
            <a:avLst/>
          </a:prstGeom>
          <a:solidFill>
            <a:srgbClr val="FFFFFF"/>
          </a:solidFill>
          <a:ln w="19050">
            <a:solidFill>
              <a:schemeClr val="accent5"/>
            </a:solidFill>
            <a:round/>
            <a:headEnd/>
            <a:tailEnd/>
          </a:ln>
        </p:spPr>
        <p:txBody>
          <a:bodyPr vert="horz" wrap="square" lIns="91440" tIns="45720" rIns="91440" bIns="45720" numCol="1" anchor="t" anchorCtr="0" compatLnSpc="1">
            <a:prstTxWarp prst="textNoShape">
              <a:avLst/>
            </a:prstTxWarp>
          </a:bodyPr>
          <a:lstStyle/>
          <a:p>
            <a:endParaRPr lang="en-US" sz="1200">
              <a:solidFill>
                <a:schemeClr val="accent1"/>
              </a:solidFill>
              <a:latin typeface="Montserrat" panose="00000500000000000000"/>
            </a:endParaRPr>
          </a:p>
        </p:txBody>
      </p:sp>
      <p:sp>
        <p:nvSpPr>
          <p:cNvPr id="34" name="Oval 13"/>
          <p:cNvSpPr>
            <a:spLocks noChangeArrowheads="1"/>
          </p:cNvSpPr>
          <p:nvPr/>
        </p:nvSpPr>
        <p:spPr bwMode="auto">
          <a:xfrm>
            <a:off x="8783716" y="2536556"/>
            <a:ext cx="682341" cy="682341"/>
          </a:xfrm>
          <a:prstGeom prst="ellipse">
            <a:avLst/>
          </a:prstGeom>
          <a:solidFill>
            <a:schemeClr val="accent5"/>
          </a:solidFill>
          <a:ln>
            <a:noFill/>
          </a:ln>
        </p:spPr>
        <p:txBody>
          <a:bodyPr vert="horz" wrap="square" lIns="91440" tIns="45720" rIns="91440" bIns="45720" numCol="1" anchor="t" anchorCtr="0" compatLnSpc="1">
            <a:prstTxWarp prst="textNoShape">
              <a:avLst/>
            </a:prstTxWarp>
          </a:bodyPr>
          <a:lstStyle/>
          <a:p>
            <a:endParaRPr lang="en-US" sz="1200">
              <a:solidFill>
                <a:schemeClr val="accent1"/>
              </a:solidFill>
              <a:latin typeface="Montserrat" panose="00000500000000000000"/>
            </a:endParaRPr>
          </a:p>
        </p:txBody>
      </p:sp>
      <p:sp>
        <p:nvSpPr>
          <p:cNvPr id="35" name="Rectangle 34"/>
          <p:cNvSpPr/>
          <p:nvPr/>
        </p:nvSpPr>
        <p:spPr>
          <a:xfrm>
            <a:off x="8170280" y="1646552"/>
            <a:ext cx="1860271" cy="4473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22363" tIns="61181" rIns="122363" bIns="61181" rtlCol="0" anchor="ctr"/>
          <a:lstStyle/>
          <a:p>
            <a:pPr algn="ctr"/>
            <a:r>
              <a:rPr lang="en-GB" sz="1400" b="1" dirty="0">
                <a:solidFill>
                  <a:schemeClr val="bg1"/>
                </a:solidFill>
                <a:latin typeface="Montserrat" panose="00000500000000000000"/>
                <a:cs typeface="Calibri" panose="020F0502020204030204" pitchFamily="34" charset="0"/>
              </a:rPr>
              <a:t>HYDMedia G6</a:t>
            </a:r>
          </a:p>
          <a:p>
            <a:pPr algn="ctr"/>
            <a:r>
              <a:rPr lang="en-GB" sz="1400" b="1" dirty="0">
                <a:solidFill>
                  <a:schemeClr val="bg1"/>
                </a:solidFill>
                <a:latin typeface="Montserrat" panose="00000500000000000000"/>
                <a:cs typeface="Calibri" panose="020F0502020204030204" pitchFamily="34" charset="0"/>
              </a:rPr>
              <a:t>2020</a:t>
            </a:r>
          </a:p>
          <a:p>
            <a:pPr algn="ctr"/>
            <a:r>
              <a:rPr lang="en-GB" sz="1400" b="1" dirty="0">
                <a:solidFill>
                  <a:schemeClr val="bg1"/>
                </a:solidFill>
                <a:latin typeface="Montserrat" panose="00000500000000000000"/>
                <a:cs typeface="Calibri" panose="020F0502020204030204" pitchFamily="34" charset="0"/>
              </a:rPr>
              <a:t>Hospital ECM platform with independent operating platform and IHE</a:t>
            </a:r>
          </a:p>
          <a:p>
            <a:pPr algn="ctr"/>
            <a:endParaRPr lang="en-GB" sz="1400" b="1" dirty="0">
              <a:solidFill>
                <a:schemeClr val="bg1"/>
              </a:solidFill>
              <a:latin typeface="Montserrat" panose="00000500000000000000"/>
              <a:cs typeface="Calibri" panose="020F0502020204030204" pitchFamily="34" charset="0"/>
            </a:endParaRPr>
          </a:p>
          <a:p>
            <a:pPr algn="ctr"/>
            <a:endParaRPr lang="en-GB" sz="1400" b="1" dirty="0">
              <a:solidFill>
                <a:schemeClr val="bg1"/>
              </a:solidFill>
              <a:latin typeface="Montserrat" panose="00000500000000000000"/>
              <a:cs typeface="Calibri" panose="020F0502020204030204" pitchFamily="34" charset="0"/>
            </a:endParaRPr>
          </a:p>
        </p:txBody>
      </p:sp>
      <p:sp>
        <p:nvSpPr>
          <p:cNvPr id="36" name="Freeform 5">
            <a:extLst>
              <a:ext uri="{FF2B5EF4-FFF2-40B4-BE49-F238E27FC236}">
                <a16:creationId xmlns:a16="http://schemas.microsoft.com/office/drawing/2014/main" id="{531C89CB-B328-4C6B-B9D2-949493C1A472}"/>
              </a:ext>
            </a:extLst>
          </p:cNvPr>
          <p:cNvSpPr>
            <a:spLocks noEditPoints="1"/>
          </p:cNvSpPr>
          <p:nvPr/>
        </p:nvSpPr>
        <p:spPr bwMode="auto">
          <a:xfrm>
            <a:off x="8905278" y="2689661"/>
            <a:ext cx="439585" cy="409411"/>
          </a:xfrm>
          <a:custGeom>
            <a:avLst/>
            <a:gdLst>
              <a:gd name="T0" fmla="*/ 1024 w 1104"/>
              <a:gd name="T1" fmla="*/ 383 h 1042"/>
              <a:gd name="T2" fmla="*/ 552 w 1104"/>
              <a:gd name="T3" fmla="*/ 25 h 1042"/>
              <a:gd name="T4" fmla="*/ 80 w 1104"/>
              <a:gd name="T5" fmla="*/ 383 h 1042"/>
              <a:gd name="T6" fmla="*/ 8 w 1104"/>
              <a:gd name="T7" fmla="*/ 561 h 1042"/>
              <a:gd name="T8" fmla="*/ 53 w 1104"/>
              <a:gd name="T9" fmla="*/ 604 h 1042"/>
              <a:gd name="T10" fmla="*/ 61 w 1104"/>
              <a:gd name="T11" fmla="*/ 704 h 1042"/>
              <a:gd name="T12" fmla="*/ 87 w 1104"/>
              <a:gd name="T13" fmla="*/ 817 h 1042"/>
              <a:gd name="T14" fmla="*/ 223 w 1104"/>
              <a:gd name="T15" fmla="*/ 856 h 1042"/>
              <a:gd name="T16" fmla="*/ 290 w 1104"/>
              <a:gd name="T17" fmla="*/ 904 h 1042"/>
              <a:gd name="T18" fmla="*/ 299 w 1104"/>
              <a:gd name="T19" fmla="*/ 1042 h 1042"/>
              <a:gd name="T20" fmla="*/ 686 w 1104"/>
              <a:gd name="T21" fmla="*/ 1011 h 1042"/>
              <a:gd name="T22" fmla="*/ 594 w 1104"/>
              <a:gd name="T23" fmla="*/ 931 h 1042"/>
              <a:gd name="T24" fmla="*/ 715 w 1104"/>
              <a:gd name="T25" fmla="*/ 638 h 1042"/>
              <a:gd name="T26" fmla="*/ 809 w 1104"/>
              <a:gd name="T27" fmla="*/ 249 h 1042"/>
              <a:gd name="T28" fmla="*/ 812 w 1104"/>
              <a:gd name="T29" fmla="*/ 89 h 1042"/>
              <a:gd name="T30" fmla="*/ 992 w 1104"/>
              <a:gd name="T31" fmla="*/ 453 h 1042"/>
              <a:gd name="T32" fmla="*/ 1055 w 1104"/>
              <a:gd name="T33" fmla="*/ 554 h 1042"/>
              <a:gd name="T34" fmla="*/ 1020 w 1104"/>
              <a:gd name="T35" fmla="*/ 640 h 1042"/>
              <a:gd name="T36" fmla="*/ 997 w 1104"/>
              <a:gd name="T37" fmla="*/ 661 h 1042"/>
              <a:gd name="T38" fmla="*/ 1007 w 1104"/>
              <a:gd name="T39" fmla="*/ 686 h 1042"/>
              <a:gd name="T40" fmla="*/ 930 w 1104"/>
              <a:gd name="T41" fmla="*/ 814 h 1042"/>
              <a:gd name="T42" fmla="*/ 830 w 1104"/>
              <a:gd name="T43" fmla="*/ 818 h 1042"/>
              <a:gd name="T44" fmla="*/ 785 w 1104"/>
              <a:gd name="T45" fmla="*/ 1025 h 1042"/>
              <a:gd name="T46" fmla="*/ 824 w 1104"/>
              <a:gd name="T47" fmla="*/ 1020 h 1042"/>
              <a:gd name="T48" fmla="*/ 833 w 1104"/>
              <a:gd name="T49" fmla="*/ 858 h 1042"/>
              <a:gd name="T50" fmla="*/ 930 w 1104"/>
              <a:gd name="T51" fmla="*/ 854 h 1042"/>
              <a:gd name="T52" fmla="*/ 1040 w 1104"/>
              <a:gd name="T53" fmla="*/ 708 h 1042"/>
              <a:gd name="T54" fmla="*/ 1049 w 1104"/>
              <a:gd name="T55" fmla="*/ 670 h 1042"/>
              <a:gd name="T56" fmla="*/ 1058 w 1104"/>
              <a:gd name="T57" fmla="*/ 594 h 1042"/>
              <a:gd name="T58" fmla="*/ 323 w 1104"/>
              <a:gd name="T59" fmla="*/ 996 h 1042"/>
              <a:gd name="T60" fmla="*/ 274 w 1104"/>
              <a:gd name="T61" fmla="*/ 818 h 1042"/>
              <a:gd name="T62" fmla="*/ 174 w 1104"/>
              <a:gd name="T63" fmla="*/ 814 h 1042"/>
              <a:gd name="T64" fmla="*/ 97 w 1104"/>
              <a:gd name="T65" fmla="*/ 686 h 1042"/>
              <a:gd name="T66" fmla="*/ 107 w 1104"/>
              <a:gd name="T67" fmla="*/ 661 h 1042"/>
              <a:gd name="T68" fmla="*/ 84 w 1104"/>
              <a:gd name="T69" fmla="*/ 640 h 1042"/>
              <a:gd name="T70" fmla="*/ 49 w 1104"/>
              <a:gd name="T71" fmla="*/ 554 h 1042"/>
              <a:gd name="T72" fmla="*/ 112 w 1104"/>
              <a:gd name="T73" fmla="*/ 453 h 1042"/>
              <a:gd name="T74" fmla="*/ 292 w 1104"/>
              <a:gd name="T75" fmla="*/ 89 h 1042"/>
              <a:gd name="T76" fmla="*/ 295 w 1104"/>
              <a:gd name="T77" fmla="*/ 249 h 1042"/>
              <a:gd name="T78" fmla="*/ 389 w 1104"/>
              <a:gd name="T79" fmla="*/ 638 h 1042"/>
              <a:gd name="T80" fmla="*/ 510 w 1104"/>
              <a:gd name="T81" fmla="*/ 931 h 1042"/>
              <a:gd name="T82" fmla="*/ 601 w 1104"/>
              <a:gd name="T83" fmla="*/ 486 h 1042"/>
              <a:gd name="T84" fmla="*/ 639 w 1104"/>
              <a:gd name="T85" fmla="*/ 489 h 1042"/>
              <a:gd name="T86" fmla="*/ 601 w 1104"/>
              <a:gd name="T87" fmla="*/ 506 h 1042"/>
              <a:gd name="T88" fmla="*/ 562 w 1104"/>
              <a:gd name="T89" fmla="*/ 664 h 1042"/>
              <a:gd name="T90" fmla="*/ 500 w 1104"/>
              <a:gd name="T91" fmla="*/ 506 h 1042"/>
              <a:gd name="T92" fmla="*/ 462 w 1104"/>
              <a:gd name="T93" fmla="*/ 486 h 1042"/>
              <a:gd name="T94" fmla="*/ 500 w 1104"/>
              <a:gd name="T95" fmla="*/ 483 h 1042"/>
              <a:gd name="T96" fmla="*/ 648 w 1104"/>
              <a:gd name="T97" fmla="*/ 753 h 1042"/>
              <a:gd name="T98" fmla="*/ 656 w 1104"/>
              <a:gd name="T99" fmla="*/ 708 h 1042"/>
              <a:gd name="T100" fmla="*/ 643 w 1104"/>
              <a:gd name="T101" fmla="*/ 793 h 1042"/>
              <a:gd name="T102" fmla="*/ 497 w 1104"/>
              <a:gd name="T103" fmla="*/ 873 h 1042"/>
              <a:gd name="T104" fmla="*/ 497 w 1104"/>
              <a:gd name="T105" fmla="*/ 873 h 1042"/>
              <a:gd name="T106" fmla="*/ 725 w 1104"/>
              <a:gd name="T107" fmla="*/ 521 h 1042"/>
              <a:gd name="T108" fmla="*/ 602 w 1104"/>
              <a:gd name="T109" fmla="*/ 668 h 1042"/>
              <a:gd name="T110" fmla="*/ 679 w 1104"/>
              <a:gd name="T111" fmla="*/ 499 h 1042"/>
              <a:gd name="T112" fmla="*/ 608 w 1104"/>
              <a:gd name="T113" fmla="*/ 440 h 1042"/>
              <a:gd name="T114" fmla="*/ 561 w 1104"/>
              <a:gd name="T115" fmla="*/ 507 h 1042"/>
              <a:gd name="T116" fmla="*/ 497 w 1104"/>
              <a:gd name="T117" fmla="*/ 440 h 1042"/>
              <a:gd name="T118" fmla="*/ 422 w 1104"/>
              <a:gd name="T119" fmla="*/ 503 h 1042"/>
              <a:gd name="T120" fmla="*/ 500 w 1104"/>
              <a:gd name="T121" fmla="*/ 668 h 1042"/>
              <a:gd name="T122" fmla="*/ 379 w 1104"/>
              <a:gd name="T123" fmla="*/ 521 h 1042"/>
              <a:gd name="T124" fmla="*/ 552 w 1104"/>
              <a:gd name="T125" fmla="*/ 66 h 10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04" h="1042">
                <a:moveTo>
                  <a:pt x="1074" y="494"/>
                </a:moveTo>
                <a:cubicBezTo>
                  <a:pt x="1056" y="480"/>
                  <a:pt x="1040" y="460"/>
                  <a:pt x="1027" y="434"/>
                </a:cubicBezTo>
                <a:cubicBezTo>
                  <a:pt x="1019" y="418"/>
                  <a:pt x="1021" y="403"/>
                  <a:pt x="1024" y="383"/>
                </a:cubicBezTo>
                <a:cubicBezTo>
                  <a:pt x="1025" y="377"/>
                  <a:pt x="1026" y="371"/>
                  <a:pt x="1026" y="364"/>
                </a:cubicBezTo>
                <a:cubicBezTo>
                  <a:pt x="1041" y="226"/>
                  <a:pt x="935" y="106"/>
                  <a:pt x="830" y="53"/>
                </a:cubicBezTo>
                <a:cubicBezTo>
                  <a:pt x="744" y="9"/>
                  <a:pt x="645" y="0"/>
                  <a:pt x="552" y="25"/>
                </a:cubicBezTo>
                <a:cubicBezTo>
                  <a:pt x="459" y="0"/>
                  <a:pt x="360" y="9"/>
                  <a:pt x="274" y="53"/>
                </a:cubicBezTo>
                <a:cubicBezTo>
                  <a:pt x="169" y="106"/>
                  <a:pt x="63" y="226"/>
                  <a:pt x="78" y="364"/>
                </a:cubicBezTo>
                <a:cubicBezTo>
                  <a:pt x="78" y="371"/>
                  <a:pt x="79" y="377"/>
                  <a:pt x="80" y="383"/>
                </a:cubicBezTo>
                <a:cubicBezTo>
                  <a:pt x="83" y="403"/>
                  <a:pt x="85" y="418"/>
                  <a:pt x="77" y="434"/>
                </a:cubicBezTo>
                <a:cubicBezTo>
                  <a:pt x="64" y="460"/>
                  <a:pt x="48" y="480"/>
                  <a:pt x="30" y="494"/>
                </a:cubicBezTo>
                <a:cubicBezTo>
                  <a:pt x="9" y="511"/>
                  <a:pt x="0" y="537"/>
                  <a:pt x="8" y="561"/>
                </a:cubicBezTo>
                <a:cubicBezTo>
                  <a:pt x="13" y="579"/>
                  <a:pt x="28" y="592"/>
                  <a:pt x="46" y="594"/>
                </a:cubicBezTo>
                <a:cubicBezTo>
                  <a:pt x="48" y="594"/>
                  <a:pt x="49" y="595"/>
                  <a:pt x="50" y="596"/>
                </a:cubicBezTo>
                <a:cubicBezTo>
                  <a:pt x="52" y="598"/>
                  <a:pt x="53" y="602"/>
                  <a:pt x="53" y="604"/>
                </a:cubicBezTo>
                <a:cubicBezTo>
                  <a:pt x="49" y="614"/>
                  <a:pt x="33" y="657"/>
                  <a:pt x="55" y="670"/>
                </a:cubicBezTo>
                <a:cubicBezTo>
                  <a:pt x="56" y="671"/>
                  <a:pt x="58" y="672"/>
                  <a:pt x="59" y="672"/>
                </a:cubicBezTo>
                <a:cubicBezTo>
                  <a:pt x="55" y="682"/>
                  <a:pt x="53" y="693"/>
                  <a:pt x="61" y="704"/>
                </a:cubicBezTo>
                <a:cubicBezTo>
                  <a:pt x="62" y="705"/>
                  <a:pt x="63" y="707"/>
                  <a:pt x="64" y="708"/>
                </a:cubicBezTo>
                <a:cubicBezTo>
                  <a:pt x="67" y="712"/>
                  <a:pt x="76" y="724"/>
                  <a:pt x="77" y="730"/>
                </a:cubicBezTo>
                <a:cubicBezTo>
                  <a:pt x="72" y="751"/>
                  <a:pt x="65" y="791"/>
                  <a:pt x="87" y="817"/>
                </a:cubicBezTo>
                <a:cubicBezTo>
                  <a:pt x="107" y="841"/>
                  <a:pt x="138" y="854"/>
                  <a:pt x="174" y="854"/>
                </a:cubicBezTo>
                <a:cubicBezTo>
                  <a:pt x="174" y="854"/>
                  <a:pt x="174" y="854"/>
                  <a:pt x="174" y="854"/>
                </a:cubicBezTo>
                <a:cubicBezTo>
                  <a:pt x="190" y="854"/>
                  <a:pt x="206" y="855"/>
                  <a:pt x="223" y="856"/>
                </a:cubicBezTo>
                <a:cubicBezTo>
                  <a:pt x="239" y="857"/>
                  <a:pt x="255" y="858"/>
                  <a:pt x="271" y="858"/>
                </a:cubicBezTo>
                <a:cubicBezTo>
                  <a:pt x="275" y="860"/>
                  <a:pt x="287" y="865"/>
                  <a:pt x="288" y="886"/>
                </a:cubicBezTo>
                <a:cubicBezTo>
                  <a:pt x="289" y="893"/>
                  <a:pt x="290" y="899"/>
                  <a:pt x="290" y="904"/>
                </a:cubicBezTo>
                <a:cubicBezTo>
                  <a:pt x="292" y="921"/>
                  <a:pt x="293" y="927"/>
                  <a:pt x="280" y="1020"/>
                </a:cubicBezTo>
                <a:cubicBezTo>
                  <a:pt x="279" y="1026"/>
                  <a:pt x="281" y="1032"/>
                  <a:pt x="286" y="1037"/>
                </a:cubicBezTo>
                <a:cubicBezTo>
                  <a:pt x="289" y="1040"/>
                  <a:pt x="294" y="1042"/>
                  <a:pt x="299" y="1042"/>
                </a:cubicBezTo>
                <a:cubicBezTo>
                  <a:pt x="301" y="1042"/>
                  <a:pt x="302" y="1042"/>
                  <a:pt x="303" y="1042"/>
                </a:cubicBezTo>
                <a:cubicBezTo>
                  <a:pt x="311" y="1041"/>
                  <a:pt x="438" y="1015"/>
                  <a:pt x="552" y="955"/>
                </a:cubicBezTo>
                <a:cubicBezTo>
                  <a:pt x="598" y="979"/>
                  <a:pt x="646" y="997"/>
                  <a:pt x="686" y="1011"/>
                </a:cubicBezTo>
                <a:cubicBezTo>
                  <a:pt x="697" y="1014"/>
                  <a:pt x="708" y="1009"/>
                  <a:pt x="712" y="998"/>
                </a:cubicBezTo>
                <a:cubicBezTo>
                  <a:pt x="715" y="988"/>
                  <a:pt x="709" y="976"/>
                  <a:pt x="699" y="973"/>
                </a:cubicBezTo>
                <a:cubicBezTo>
                  <a:pt x="667" y="962"/>
                  <a:pt x="630" y="948"/>
                  <a:pt x="594" y="931"/>
                </a:cubicBezTo>
                <a:cubicBezTo>
                  <a:pt x="623" y="913"/>
                  <a:pt x="649" y="893"/>
                  <a:pt x="671" y="870"/>
                </a:cubicBezTo>
                <a:cubicBezTo>
                  <a:pt x="675" y="867"/>
                  <a:pt x="676" y="862"/>
                  <a:pt x="677" y="858"/>
                </a:cubicBezTo>
                <a:cubicBezTo>
                  <a:pt x="683" y="786"/>
                  <a:pt x="692" y="710"/>
                  <a:pt x="715" y="638"/>
                </a:cubicBezTo>
                <a:cubicBezTo>
                  <a:pt x="727" y="603"/>
                  <a:pt x="741" y="571"/>
                  <a:pt x="759" y="541"/>
                </a:cubicBezTo>
                <a:cubicBezTo>
                  <a:pt x="812" y="451"/>
                  <a:pt x="830" y="345"/>
                  <a:pt x="809" y="249"/>
                </a:cubicBezTo>
                <a:cubicBezTo>
                  <a:pt x="809" y="249"/>
                  <a:pt x="809" y="249"/>
                  <a:pt x="809" y="249"/>
                </a:cubicBezTo>
                <a:cubicBezTo>
                  <a:pt x="787" y="162"/>
                  <a:pt x="710" y="102"/>
                  <a:pt x="666" y="74"/>
                </a:cubicBezTo>
                <a:cubicBezTo>
                  <a:pt x="653" y="66"/>
                  <a:pt x="640" y="59"/>
                  <a:pt x="627" y="52"/>
                </a:cubicBezTo>
                <a:cubicBezTo>
                  <a:pt x="690" y="48"/>
                  <a:pt x="754" y="60"/>
                  <a:pt x="812" y="89"/>
                </a:cubicBezTo>
                <a:cubicBezTo>
                  <a:pt x="908" y="138"/>
                  <a:pt x="999" y="246"/>
                  <a:pt x="987" y="360"/>
                </a:cubicBezTo>
                <a:cubicBezTo>
                  <a:pt x="986" y="366"/>
                  <a:pt x="985" y="371"/>
                  <a:pt x="984" y="377"/>
                </a:cubicBezTo>
                <a:cubicBezTo>
                  <a:pt x="981" y="401"/>
                  <a:pt x="977" y="425"/>
                  <a:pt x="992" y="453"/>
                </a:cubicBezTo>
                <a:cubicBezTo>
                  <a:pt x="1007" y="483"/>
                  <a:pt x="1027" y="508"/>
                  <a:pt x="1049" y="525"/>
                </a:cubicBezTo>
                <a:cubicBezTo>
                  <a:pt x="1059" y="533"/>
                  <a:pt x="1060" y="543"/>
                  <a:pt x="1058" y="549"/>
                </a:cubicBezTo>
                <a:cubicBezTo>
                  <a:pt x="1057" y="552"/>
                  <a:pt x="1055" y="554"/>
                  <a:pt x="1055" y="554"/>
                </a:cubicBezTo>
                <a:cubicBezTo>
                  <a:pt x="1039" y="555"/>
                  <a:pt x="1026" y="564"/>
                  <a:pt x="1018" y="578"/>
                </a:cubicBezTo>
                <a:cubicBezTo>
                  <a:pt x="1010" y="591"/>
                  <a:pt x="1009" y="608"/>
                  <a:pt x="1014" y="619"/>
                </a:cubicBezTo>
                <a:cubicBezTo>
                  <a:pt x="1016" y="623"/>
                  <a:pt x="1019" y="633"/>
                  <a:pt x="1020" y="640"/>
                </a:cubicBezTo>
                <a:cubicBezTo>
                  <a:pt x="1019" y="641"/>
                  <a:pt x="1019" y="641"/>
                  <a:pt x="1018" y="641"/>
                </a:cubicBezTo>
                <a:cubicBezTo>
                  <a:pt x="1014" y="643"/>
                  <a:pt x="1010" y="646"/>
                  <a:pt x="1006" y="648"/>
                </a:cubicBezTo>
                <a:cubicBezTo>
                  <a:pt x="1001" y="651"/>
                  <a:pt x="998" y="655"/>
                  <a:pt x="997" y="661"/>
                </a:cubicBezTo>
                <a:cubicBezTo>
                  <a:pt x="996" y="666"/>
                  <a:pt x="997" y="672"/>
                  <a:pt x="999" y="676"/>
                </a:cubicBezTo>
                <a:cubicBezTo>
                  <a:pt x="1000" y="677"/>
                  <a:pt x="1002" y="679"/>
                  <a:pt x="1003" y="681"/>
                </a:cubicBezTo>
                <a:cubicBezTo>
                  <a:pt x="1004" y="682"/>
                  <a:pt x="1005" y="684"/>
                  <a:pt x="1007" y="686"/>
                </a:cubicBezTo>
                <a:cubicBezTo>
                  <a:pt x="995" y="702"/>
                  <a:pt x="984" y="720"/>
                  <a:pt x="988" y="737"/>
                </a:cubicBezTo>
                <a:cubicBezTo>
                  <a:pt x="991" y="751"/>
                  <a:pt x="997" y="779"/>
                  <a:pt x="987" y="791"/>
                </a:cubicBezTo>
                <a:cubicBezTo>
                  <a:pt x="971" y="810"/>
                  <a:pt x="947" y="814"/>
                  <a:pt x="930" y="814"/>
                </a:cubicBezTo>
                <a:cubicBezTo>
                  <a:pt x="930" y="814"/>
                  <a:pt x="930" y="814"/>
                  <a:pt x="930" y="814"/>
                </a:cubicBezTo>
                <a:cubicBezTo>
                  <a:pt x="913" y="814"/>
                  <a:pt x="895" y="815"/>
                  <a:pt x="879" y="816"/>
                </a:cubicBezTo>
                <a:cubicBezTo>
                  <a:pt x="863" y="817"/>
                  <a:pt x="846" y="818"/>
                  <a:pt x="830" y="818"/>
                </a:cubicBezTo>
                <a:cubicBezTo>
                  <a:pt x="817" y="818"/>
                  <a:pt x="779" y="834"/>
                  <a:pt x="776" y="883"/>
                </a:cubicBezTo>
                <a:cubicBezTo>
                  <a:pt x="775" y="890"/>
                  <a:pt x="775" y="895"/>
                  <a:pt x="774" y="899"/>
                </a:cubicBezTo>
                <a:cubicBezTo>
                  <a:pt x="772" y="922"/>
                  <a:pt x="772" y="932"/>
                  <a:pt x="785" y="1025"/>
                </a:cubicBezTo>
                <a:cubicBezTo>
                  <a:pt x="786" y="1035"/>
                  <a:pt x="795" y="1042"/>
                  <a:pt x="805" y="1042"/>
                </a:cubicBezTo>
                <a:cubicBezTo>
                  <a:pt x="805" y="1042"/>
                  <a:pt x="806" y="1042"/>
                  <a:pt x="807" y="1042"/>
                </a:cubicBezTo>
                <a:cubicBezTo>
                  <a:pt x="818" y="1041"/>
                  <a:pt x="826" y="1030"/>
                  <a:pt x="824" y="1020"/>
                </a:cubicBezTo>
                <a:cubicBezTo>
                  <a:pt x="811" y="927"/>
                  <a:pt x="812" y="921"/>
                  <a:pt x="814" y="904"/>
                </a:cubicBezTo>
                <a:cubicBezTo>
                  <a:pt x="814" y="899"/>
                  <a:pt x="815" y="893"/>
                  <a:pt x="816" y="886"/>
                </a:cubicBezTo>
                <a:cubicBezTo>
                  <a:pt x="817" y="865"/>
                  <a:pt x="829" y="860"/>
                  <a:pt x="833" y="858"/>
                </a:cubicBezTo>
                <a:cubicBezTo>
                  <a:pt x="849" y="858"/>
                  <a:pt x="865" y="857"/>
                  <a:pt x="881" y="856"/>
                </a:cubicBezTo>
                <a:cubicBezTo>
                  <a:pt x="898" y="855"/>
                  <a:pt x="913" y="854"/>
                  <a:pt x="929" y="854"/>
                </a:cubicBezTo>
                <a:cubicBezTo>
                  <a:pt x="930" y="854"/>
                  <a:pt x="930" y="854"/>
                  <a:pt x="930" y="854"/>
                </a:cubicBezTo>
                <a:cubicBezTo>
                  <a:pt x="966" y="854"/>
                  <a:pt x="997" y="841"/>
                  <a:pt x="1017" y="817"/>
                </a:cubicBezTo>
                <a:cubicBezTo>
                  <a:pt x="1039" y="791"/>
                  <a:pt x="1032" y="751"/>
                  <a:pt x="1027" y="730"/>
                </a:cubicBezTo>
                <a:cubicBezTo>
                  <a:pt x="1028" y="724"/>
                  <a:pt x="1037" y="712"/>
                  <a:pt x="1040" y="708"/>
                </a:cubicBezTo>
                <a:cubicBezTo>
                  <a:pt x="1041" y="707"/>
                  <a:pt x="1042" y="705"/>
                  <a:pt x="1043" y="704"/>
                </a:cubicBezTo>
                <a:cubicBezTo>
                  <a:pt x="1051" y="693"/>
                  <a:pt x="1049" y="682"/>
                  <a:pt x="1045" y="672"/>
                </a:cubicBezTo>
                <a:cubicBezTo>
                  <a:pt x="1046" y="672"/>
                  <a:pt x="1048" y="671"/>
                  <a:pt x="1049" y="670"/>
                </a:cubicBezTo>
                <a:cubicBezTo>
                  <a:pt x="1071" y="657"/>
                  <a:pt x="1055" y="614"/>
                  <a:pt x="1051" y="604"/>
                </a:cubicBezTo>
                <a:cubicBezTo>
                  <a:pt x="1051" y="602"/>
                  <a:pt x="1052" y="598"/>
                  <a:pt x="1054" y="596"/>
                </a:cubicBezTo>
                <a:cubicBezTo>
                  <a:pt x="1055" y="595"/>
                  <a:pt x="1056" y="594"/>
                  <a:pt x="1058" y="594"/>
                </a:cubicBezTo>
                <a:cubicBezTo>
                  <a:pt x="1076" y="592"/>
                  <a:pt x="1091" y="579"/>
                  <a:pt x="1096" y="561"/>
                </a:cubicBezTo>
                <a:cubicBezTo>
                  <a:pt x="1104" y="537"/>
                  <a:pt x="1095" y="511"/>
                  <a:pt x="1074" y="494"/>
                </a:cubicBezTo>
                <a:close/>
                <a:moveTo>
                  <a:pt x="323" y="996"/>
                </a:moveTo>
                <a:cubicBezTo>
                  <a:pt x="332" y="929"/>
                  <a:pt x="332" y="919"/>
                  <a:pt x="330" y="899"/>
                </a:cubicBezTo>
                <a:cubicBezTo>
                  <a:pt x="329" y="895"/>
                  <a:pt x="329" y="890"/>
                  <a:pt x="328" y="883"/>
                </a:cubicBezTo>
                <a:cubicBezTo>
                  <a:pt x="325" y="834"/>
                  <a:pt x="287" y="818"/>
                  <a:pt x="274" y="818"/>
                </a:cubicBezTo>
                <a:cubicBezTo>
                  <a:pt x="258" y="818"/>
                  <a:pt x="241" y="817"/>
                  <a:pt x="225" y="816"/>
                </a:cubicBezTo>
                <a:cubicBezTo>
                  <a:pt x="209" y="815"/>
                  <a:pt x="192" y="814"/>
                  <a:pt x="175" y="814"/>
                </a:cubicBezTo>
                <a:cubicBezTo>
                  <a:pt x="174" y="814"/>
                  <a:pt x="174" y="814"/>
                  <a:pt x="174" y="814"/>
                </a:cubicBezTo>
                <a:cubicBezTo>
                  <a:pt x="157" y="814"/>
                  <a:pt x="133" y="810"/>
                  <a:pt x="117" y="791"/>
                </a:cubicBezTo>
                <a:cubicBezTo>
                  <a:pt x="107" y="779"/>
                  <a:pt x="113" y="751"/>
                  <a:pt x="116" y="737"/>
                </a:cubicBezTo>
                <a:cubicBezTo>
                  <a:pt x="120" y="720"/>
                  <a:pt x="109" y="702"/>
                  <a:pt x="97" y="686"/>
                </a:cubicBezTo>
                <a:cubicBezTo>
                  <a:pt x="99" y="684"/>
                  <a:pt x="100" y="682"/>
                  <a:pt x="101" y="681"/>
                </a:cubicBezTo>
                <a:cubicBezTo>
                  <a:pt x="102" y="679"/>
                  <a:pt x="104" y="677"/>
                  <a:pt x="105" y="676"/>
                </a:cubicBezTo>
                <a:cubicBezTo>
                  <a:pt x="107" y="672"/>
                  <a:pt x="108" y="666"/>
                  <a:pt x="107" y="661"/>
                </a:cubicBezTo>
                <a:cubicBezTo>
                  <a:pt x="106" y="655"/>
                  <a:pt x="103" y="651"/>
                  <a:pt x="98" y="648"/>
                </a:cubicBezTo>
                <a:cubicBezTo>
                  <a:pt x="94" y="646"/>
                  <a:pt x="90" y="643"/>
                  <a:pt x="86" y="641"/>
                </a:cubicBezTo>
                <a:cubicBezTo>
                  <a:pt x="85" y="641"/>
                  <a:pt x="85" y="641"/>
                  <a:pt x="84" y="640"/>
                </a:cubicBezTo>
                <a:cubicBezTo>
                  <a:pt x="85" y="633"/>
                  <a:pt x="88" y="623"/>
                  <a:pt x="90" y="619"/>
                </a:cubicBezTo>
                <a:cubicBezTo>
                  <a:pt x="95" y="608"/>
                  <a:pt x="94" y="591"/>
                  <a:pt x="86" y="578"/>
                </a:cubicBezTo>
                <a:cubicBezTo>
                  <a:pt x="78" y="564"/>
                  <a:pt x="65" y="555"/>
                  <a:pt x="49" y="554"/>
                </a:cubicBezTo>
                <a:cubicBezTo>
                  <a:pt x="49" y="554"/>
                  <a:pt x="47" y="552"/>
                  <a:pt x="46" y="549"/>
                </a:cubicBezTo>
                <a:cubicBezTo>
                  <a:pt x="44" y="543"/>
                  <a:pt x="45" y="533"/>
                  <a:pt x="55" y="525"/>
                </a:cubicBezTo>
                <a:cubicBezTo>
                  <a:pt x="77" y="508"/>
                  <a:pt x="97" y="483"/>
                  <a:pt x="112" y="453"/>
                </a:cubicBezTo>
                <a:cubicBezTo>
                  <a:pt x="127" y="425"/>
                  <a:pt x="123" y="401"/>
                  <a:pt x="120" y="377"/>
                </a:cubicBezTo>
                <a:cubicBezTo>
                  <a:pt x="119" y="371"/>
                  <a:pt x="118" y="366"/>
                  <a:pt x="117" y="360"/>
                </a:cubicBezTo>
                <a:cubicBezTo>
                  <a:pt x="105" y="246"/>
                  <a:pt x="196" y="138"/>
                  <a:pt x="292" y="89"/>
                </a:cubicBezTo>
                <a:cubicBezTo>
                  <a:pt x="349" y="60"/>
                  <a:pt x="414" y="48"/>
                  <a:pt x="477" y="52"/>
                </a:cubicBezTo>
                <a:cubicBezTo>
                  <a:pt x="464" y="59"/>
                  <a:pt x="451" y="66"/>
                  <a:pt x="438" y="74"/>
                </a:cubicBezTo>
                <a:cubicBezTo>
                  <a:pt x="394" y="102"/>
                  <a:pt x="317" y="162"/>
                  <a:pt x="295" y="249"/>
                </a:cubicBezTo>
                <a:cubicBezTo>
                  <a:pt x="295" y="249"/>
                  <a:pt x="295" y="249"/>
                  <a:pt x="295" y="249"/>
                </a:cubicBezTo>
                <a:cubicBezTo>
                  <a:pt x="274" y="345"/>
                  <a:pt x="292" y="451"/>
                  <a:pt x="345" y="541"/>
                </a:cubicBezTo>
                <a:cubicBezTo>
                  <a:pt x="363" y="571"/>
                  <a:pt x="377" y="603"/>
                  <a:pt x="389" y="638"/>
                </a:cubicBezTo>
                <a:cubicBezTo>
                  <a:pt x="412" y="710"/>
                  <a:pt x="421" y="786"/>
                  <a:pt x="427" y="858"/>
                </a:cubicBezTo>
                <a:cubicBezTo>
                  <a:pt x="428" y="862"/>
                  <a:pt x="429" y="867"/>
                  <a:pt x="433" y="870"/>
                </a:cubicBezTo>
                <a:cubicBezTo>
                  <a:pt x="455" y="893"/>
                  <a:pt x="482" y="913"/>
                  <a:pt x="510" y="931"/>
                </a:cubicBezTo>
                <a:cubicBezTo>
                  <a:pt x="438" y="965"/>
                  <a:pt x="362" y="987"/>
                  <a:pt x="323" y="996"/>
                </a:cubicBezTo>
                <a:close/>
                <a:moveTo>
                  <a:pt x="601" y="506"/>
                </a:moveTo>
                <a:cubicBezTo>
                  <a:pt x="601" y="486"/>
                  <a:pt x="601" y="486"/>
                  <a:pt x="601" y="486"/>
                </a:cubicBezTo>
                <a:cubicBezTo>
                  <a:pt x="601" y="483"/>
                  <a:pt x="604" y="480"/>
                  <a:pt x="608" y="480"/>
                </a:cubicBezTo>
                <a:cubicBezTo>
                  <a:pt x="629" y="480"/>
                  <a:pt x="629" y="480"/>
                  <a:pt x="629" y="480"/>
                </a:cubicBezTo>
                <a:cubicBezTo>
                  <a:pt x="634" y="480"/>
                  <a:pt x="639" y="484"/>
                  <a:pt x="639" y="489"/>
                </a:cubicBezTo>
                <a:cubicBezTo>
                  <a:pt x="639" y="499"/>
                  <a:pt x="639" y="499"/>
                  <a:pt x="639" y="499"/>
                </a:cubicBezTo>
                <a:cubicBezTo>
                  <a:pt x="639" y="503"/>
                  <a:pt x="635" y="506"/>
                  <a:pt x="632" y="506"/>
                </a:cubicBezTo>
                <a:lnTo>
                  <a:pt x="601" y="506"/>
                </a:lnTo>
                <a:close/>
                <a:moveTo>
                  <a:pt x="540" y="547"/>
                </a:moveTo>
                <a:cubicBezTo>
                  <a:pt x="562" y="547"/>
                  <a:pt x="562" y="547"/>
                  <a:pt x="562" y="547"/>
                </a:cubicBezTo>
                <a:cubicBezTo>
                  <a:pt x="562" y="664"/>
                  <a:pt x="562" y="664"/>
                  <a:pt x="562" y="664"/>
                </a:cubicBezTo>
                <a:cubicBezTo>
                  <a:pt x="540" y="664"/>
                  <a:pt x="540" y="664"/>
                  <a:pt x="540" y="664"/>
                </a:cubicBezTo>
                <a:lnTo>
                  <a:pt x="540" y="547"/>
                </a:lnTo>
                <a:close/>
                <a:moveTo>
                  <a:pt x="500" y="506"/>
                </a:moveTo>
                <a:cubicBezTo>
                  <a:pt x="465" y="506"/>
                  <a:pt x="465" y="506"/>
                  <a:pt x="465" y="506"/>
                </a:cubicBezTo>
                <a:cubicBezTo>
                  <a:pt x="464" y="506"/>
                  <a:pt x="462" y="505"/>
                  <a:pt x="462" y="503"/>
                </a:cubicBezTo>
                <a:cubicBezTo>
                  <a:pt x="462" y="486"/>
                  <a:pt x="462" y="486"/>
                  <a:pt x="462" y="486"/>
                </a:cubicBezTo>
                <a:cubicBezTo>
                  <a:pt x="462" y="482"/>
                  <a:pt x="465" y="480"/>
                  <a:pt x="468" y="480"/>
                </a:cubicBezTo>
                <a:cubicBezTo>
                  <a:pt x="497" y="480"/>
                  <a:pt x="497" y="480"/>
                  <a:pt x="497" y="480"/>
                </a:cubicBezTo>
                <a:cubicBezTo>
                  <a:pt x="498" y="480"/>
                  <a:pt x="500" y="481"/>
                  <a:pt x="500" y="483"/>
                </a:cubicBezTo>
                <a:lnTo>
                  <a:pt x="500" y="506"/>
                </a:lnTo>
                <a:close/>
                <a:moveTo>
                  <a:pt x="656" y="708"/>
                </a:moveTo>
                <a:cubicBezTo>
                  <a:pt x="653" y="723"/>
                  <a:pt x="651" y="738"/>
                  <a:pt x="648" y="753"/>
                </a:cubicBezTo>
                <a:cubicBezTo>
                  <a:pt x="456" y="753"/>
                  <a:pt x="456" y="753"/>
                  <a:pt x="456" y="753"/>
                </a:cubicBezTo>
                <a:cubicBezTo>
                  <a:pt x="453" y="738"/>
                  <a:pt x="451" y="723"/>
                  <a:pt x="448" y="708"/>
                </a:cubicBezTo>
                <a:lnTo>
                  <a:pt x="656" y="708"/>
                </a:lnTo>
                <a:close/>
                <a:moveTo>
                  <a:pt x="465" y="833"/>
                </a:moveTo>
                <a:cubicBezTo>
                  <a:pt x="464" y="820"/>
                  <a:pt x="462" y="806"/>
                  <a:pt x="461" y="793"/>
                </a:cubicBezTo>
                <a:cubicBezTo>
                  <a:pt x="643" y="793"/>
                  <a:pt x="643" y="793"/>
                  <a:pt x="643" y="793"/>
                </a:cubicBezTo>
                <a:cubicBezTo>
                  <a:pt x="642" y="806"/>
                  <a:pt x="640" y="820"/>
                  <a:pt x="639" y="834"/>
                </a:cubicBezTo>
                <a:lnTo>
                  <a:pt x="465" y="833"/>
                </a:lnTo>
                <a:close/>
                <a:moveTo>
                  <a:pt x="497" y="873"/>
                </a:moveTo>
                <a:cubicBezTo>
                  <a:pt x="607" y="874"/>
                  <a:pt x="607" y="874"/>
                  <a:pt x="607" y="874"/>
                </a:cubicBezTo>
                <a:cubicBezTo>
                  <a:pt x="590" y="887"/>
                  <a:pt x="571" y="899"/>
                  <a:pt x="552" y="909"/>
                </a:cubicBezTo>
                <a:cubicBezTo>
                  <a:pt x="533" y="898"/>
                  <a:pt x="514" y="886"/>
                  <a:pt x="497" y="873"/>
                </a:cubicBezTo>
                <a:close/>
                <a:moveTo>
                  <a:pt x="644" y="108"/>
                </a:moveTo>
                <a:cubicBezTo>
                  <a:pt x="710" y="150"/>
                  <a:pt x="756" y="205"/>
                  <a:pt x="770" y="258"/>
                </a:cubicBezTo>
                <a:cubicBezTo>
                  <a:pt x="789" y="344"/>
                  <a:pt x="772" y="439"/>
                  <a:pt x="725" y="521"/>
                </a:cubicBezTo>
                <a:cubicBezTo>
                  <a:pt x="705" y="554"/>
                  <a:pt x="690" y="588"/>
                  <a:pt x="677" y="626"/>
                </a:cubicBezTo>
                <a:cubicBezTo>
                  <a:pt x="673" y="640"/>
                  <a:pt x="669" y="654"/>
                  <a:pt x="665" y="668"/>
                </a:cubicBezTo>
                <a:cubicBezTo>
                  <a:pt x="602" y="668"/>
                  <a:pt x="602" y="668"/>
                  <a:pt x="602" y="668"/>
                </a:cubicBezTo>
                <a:cubicBezTo>
                  <a:pt x="602" y="546"/>
                  <a:pt x="602" y="546"/>
                  <a:pt x="602" y="546"/>
                </a:cubicBezTo>
                <a:cubicBezTo>
                  <a:pt x="632" y="546"/>
                  <a:pt x="632" y="546"/>
                  <a:pt x="632" y="546"/>
                </a:cubicBezTo>
                <a:cubicBezTo>
                  <a:pt x="658" y="546"/>
                  <a:pt x="679" y="525"/>
                  <a:pt x="679" y="499"/>
                </a:cubicBezTo>
                <a:cubicBezTo>
                  <a:pt x="679" y="489"/>
                  <a:pt x="679" y="489"/>
                  <a:pt x="679" y="489"/>
                </a:cubicBezTo>
                <a:cubicBezTo>
                  <a:pt x="679" y="462"/>
                  <a:pt x="656" y="440"/>
                  <a:pt x="629" y="440"/>
                </a:cubicBezTo>
                <a:cubicBezTo>
                  <a:pt x="608" y="440"/>
                  <a:pt x="608" y="440"/>
                  <a:pt x="608" y="440"/>
                </a:cubicBezTo>
                <a:cubicBezTo>
                  <a:pt x="582" y="440"/>
                  <a:pt x="561" y="461"/>
                  <a:pt x="561" y="486"/>
                </a:cubicBezTo>
                <a:cubicBezTo>
                  <a:pt x="561" y="506"/>
                  <a:pt x="561" y="506"/>
                  <a:pt x="561" y="506"/>
                </a:cubicBezTo>
                <a:cubicBezTo>
                  <a:pt x="561" y="506"/>
                  <a:pt x="561" y="507"/>
                  <a:pt x="561" y="507"/>
                </a:cubicBezTo>
                <a:cubicBezTo>
                  <a:pt x="540" y="507"/>
                  <a:pt x="540" y="507"/>
                  <a:pt x="540" y="507"/>
                </a:cubicBezTo>
                <a:cubicBezTo>
                  <a:pt x="540" y="483"/>
                  <a:pt x="540" y="483"/>
                  <a:pt x="540" y="483"/>
                </a:cubicBezTo>
                <a:cubicBezTo>
                  <a:pt x="540" y="459"/>
                  <a:pt x="520" y="440"/>
                  <a:pt x="497" y="440"/>
                </a:cubicBezTo>
                <a:cubicBezTo>
                  <a:pt x="468" y="440"/>
                  <a:pt x="468" y="440"/>
                  <a:pt x="468" y="440"/>
                </a:cubicBezTo>
                <a:cubicBezTo>
                  <a:pt x="443" y="440"/>
                  <a:pt x="422" y="460"/>
                  <a:pt x="422" y="486"/>
                </a:cubicBezTo>
                <a:cubicBezTo>
                  <a:pt x="422" y="503"/>
                  <a:pt x="422" y="503"/>
                  <a:pt x="422" y="503"/>
                </a:cubicBezTo>
                <a:cubicBezTo>
                  <a:pt x="422" y="527"/>
                  <a:pt x="442" y="546"/>
                  <a:pt x="465" y="546"/>
                </a:cubicBezTo>
                <a:cubicBezTo>
                  <a:pt x="500" y="546"/>
                  <a:pt x="500" y="546"/>
                  <a:pt x="500" y="546"/>
                </a:cubicBezTo>
                <a:cubicBezTo>
                  <a:pt x="500" y="668"/>
                  <a:pt x="500" y="668"/>
                  <a:pt x="500" y="668"/>
                </a:cubicBezTo>
                <a:cubicBezTo>
                  <a:pt x="439" y="668"/>
                  <a:pt x="439" y="668"/>
                  <a:pt x="439" y="668"/>
                </a:cubicBezTo>
                <a:cubicBezTo>
                  <a:pt x="435" y="654"/>
                  <a:pt x="431" y="640"/>
                  <a:pt x="427" y="626"/>
                </a:cubicBezTo>
                <a:cubicBezTo>
                  <a:pt x="414" y="588"/>
                  <a:pt x="399" y="554"/>
                  <a:pt x="379" y="521"/>
                </a:cubicBezTo>
                <a:cubicBezTo>
                  <a:pt x="332" y="439"/>
                  <a:pt x="315" y="344"/>
                  <a:pt x="334" y="258"/>
                </a:cubicBezTo>
                <a:cubicBezTo>
                  <a:pt x="348" y="205"/>
                  <a:pt x="394" y="150"/>
                  <a:pt x="460" y="108"/>
                </a:cubicBezTo>
                <a:cubicBezTo>
                  <a:pt x="489" y="89"/>
                  <a:pt x="520" y="76"/>
                  <a:pt x="552" y="66"/>
                </a:cubicBezTo>
                <a:cubicBezTo>
                  <a:pt x="584" y="76"/>
                  <a:pt x="615" y="89"/>
                  <a:pt x="644" y="10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a:ln>
                <a:noFill/>
              </a:ln>
              <a:solidFill>
                <a:schemeClr val="accent1"/>
              </a:solidFill>
              <a:effectLst/>
              <a:uLnTx/>
              <a:uFillTx/>
              <a:latin typeface="Montserrat" panose="00000500000000000000"/>
            </a:endParaRPr>
          </a:p>
        </p:txBody>
      </p:sp>
      <p:sp>
        <p:nvSpPr>
          <p:cNvPr id="37" name="Freeform 6">
            <a:extLst>
              <a:ext uri="{FF2B5EF4-FFF2-40B4-BE49-F238E27FC236}">
                <a16:creationId xmlns:a16="http://schemas.microsoft.com/office/drawing/2014/main" id="{351D676A-4F3D-4F4C-8A6C-CC29B770CDB3}"/>
              </a:ext>
            </a:extLst>
          </p:cNvPr>
          <p:cNvSpPr>
            <a:spLocks/>
          </p:cNvSpPr>
          <p:nvPr/>
        </p:nvSpPr>
        <p:spPr bwMode="auto">
          <a:xfrm>
            <a:off x="9064147" y="2617467"/>
            <a:ext cx="121846" cy="62277"/>
          </a:xfrm>
          <a:custGeom>
            <a:avLst/>
            <a:gdLst>
              <a:gd name="T0" fmla="*/ 51 w 284"/>
              <a:gd name="T1" fmla="*/ 56 h 159"/>
              <a:gd name="T2" fmla="*/ 84 w 284"/>
              <a:gd name="T3" fmla="*/ 123 h 159"/>
              <a:gd name="T4" fmla="*/ 83 w 284"/>
              <a:gd name="T5" fmla="*/ 123 h 159"/>
              <a:gd name="T6" fmla="*/ 34 w 284"/>
              <a:gd name="T7" fmla="*/ 87 h 159"/>
              <a:gd name="T8" fmla="*/ 6 w 284"/>
              <a:gd name="T9" fmla="*/ 91 h 159"/>
              <a:gd name="T10" fmla="*/ 11 w 284"/>
              <a:gd name="T11" fmla="*/ 119 h 159"/>
              <a:gd name="T12" fmla="*/ 59 w 284"/>
              <a:gd name="T13" fmla="*/ 155 h 159"/>
              <a:gd name="T14" fmla="*/ 71 w 284"/>
              <a:gd name="T15" fmla="*/ 159 h 159"/>
              <a:gd name="T16" fmla="*/ 87 w 284"/>
              <a:gd name="T17" fmla="*/ 151 h 159"/>
              <a:gd name="T18" fmla="*/ 90 w 284"/>
              <a:gd name="T19" fmla="*/ 132 h 159"/>
              <a:gd name="T20" fmla="*/ 102 w 284"/>
              <a:gd name="T21" fmla="*/ 136 h 159"/>
              <a:gd name="T22" fmla="*/ 111 w 284"/>
              <a:gd name="T23" fmla="*/ 134 h 159"/>
              <a:gd name="T24" fmla="*/ 121 w 284"/>
              <a:gd name="T25" fmla="*/ 122 h 159"/>
              <a:gd name="T26" fmla="*/ 139 w 284"/>
              <a:gd name="T27" fmla="*/ 133 h 159"/>
              <a:gd name="T28" fmla="*/ 159 w 284"/>
              <a:gd name="T29" fmla="*/ 116 h 159"/>
              <a:gd name="T30" fmla="*/ 170 w 284"/>
              <a:gd name="T31" fmla="*/ 134 h 159"/>
              <a:gd name="T32" fmla="*/ 179 w 284"/>
              <a:gd name="T33" fmla="*/ 136 h 159"/>
              <a:gd name="T34" fmla="*/ 195 w 284"/>
              <a:gd name="T35" fmla="*/ 128 h 159"/>
              <a:gd name="T36" fmla="*/ 197 w 284"/>
              <a:gd name="T37" fmla="*/ 148 h 159"/>
              <a:gd name="T38" fmla="*/ 213 w 284"/>
              <a:gd name="T39" fmla="*/ 156 h 159"/>
              <a:gd name="T40" fmla="*/ 225 w 284"/>
              <a:gd name="T41" fmla="*/ 153 h 159"/>
              <a:gd name="T42" fmla="*/ 273 w 284"/>
              <a:gd name="T43" fmla="*/ 117 h 159"/>
              <a:gd name="T44" fmla="*/ 278 w 284"/>
              <a:gd name="T45" fmla="*/ 89 h 159"/>
              <a:gd name="T46" fmla="*/ 250 w 284"/>
              <a:gd name="T47" fmla="*/ 85 h 159"/>
              <a:gd name="T48" fmla="*/ 201 w 284"/>
              <a:gd name="T49" fmla="*/ 120 h 159"/>
              <a:gd name="T50" fmla="*/ 197 w 284"/>
              <a:gd name="T51" fmla="*/ 124 h 159"/>
              <a:gd name="T52" fmla="*/ 231 w 284"/>
              <a:gd name="T53" fmla="*/ 56 h 159"/>
              <a:gd name="T54" fmla="*/ 222 w 284"/>
              <a:gd name="T55" fmla="*/ 29 h 159"/>
              <a:gd name="T56" fmla="*/ 195 w 284"/>
              <a:gd name="T57" fmla="*/ 38 h 159"/>
              <a:gd name="T58" fmla="*/ 161 w 284"/>
              <a:gd name="T59" fmla="*/ 107 h 159"/>
              <a:gd name="T60" fmla="*/ 159 w 284"/>
              <a:gd name="T61" fmla="*/ 113 h 159"/>
              <a:gd name="T62" fmla="*/ 159 w 284"/>
              <a:gd name="T63" fmla="*/ 20 h 159"/>
              <a:gd name="T64" fmla="*/ 139 w 284"/>
              <a:gd name="T65" fmla="*/ 0 h 159"/>
              <a:gd name="T66" fmla="*/ 119 w 284"/>
              <a:gd name="T67" fmla="*/ 20 h 159"/>
              <a:gd name="T68" fmla="*/ 119 w 284"/>
              <a:gd name="T69" fmla="*/ 105 h 159"/>
              <a:gd name="T70" fmla="*/ 87 w 284"/>
              <a:gd name="T71" fmla="*/ 38 h 159"/>
              <a:gd name="T72" fmla="*/ 60 w 284"/>
              <a:gd name="T73" fmla="*/ 29 h 159"/>
              <a:gd name="T74" fmla="*/ 51 w 284"/>
              <a:gd name="T75" fmla="*/ 56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4" h="159">
                <a:moveTo>
                  <a:pt x="51" y="56"/>
                </a:moveTo>
                <a:cubicBezTo>
                  <a:pt x="84" y="123"/>
                  <a:pt x="84" y="123"/>
                  <a:pt x="84" y="123"/>
                </a:cubicBezTo>
                <a:cubicBezTo>
                  <a:pt x="83" y="123"/>
                  <a:pt x="83" y="123"/>
                  <a:pt x="83" y="123"/>
                </a:cubicBezTo>
                <a:cubicBezTo>
                  <a:pt x="34" y="87"/>
                  <a:pt x="34" y="87"/>
                  <a:pt x="34" y="87"/>
                </a:cubicBezTo>
                <a:cubicBezTo>
                  <a:pt x="25" y="81"/>
                  <a:pt x="13" y="82"/>
                  <a:pt x="6" y="91"/>
                </a:cubicBezTo>
                <a:cubicBezTo>
                  <a:pt x="0" y="100"/>
                  <a:pt x="2" y="113"/>
                  <a:pt x="11" y="119"/>
                </a:cubicBezTo>
                <a:cubicBezTo>
                  <a:pt x="59" y="155"/>
                  <a:pt x="59" y="155"/>
                  <a:pt x="59" y="155"/>
                </a:cubicBezTo>
                <a:cubicBezTo>
                  <a:pt x="63" y="158"/>
                  <a:pt x="67" y="159"/>
                  <a:pt x="71" y="159"/>
                </a:cubicBezTo>
                <a:cubicBezTo>
                  <a:pt x="77" y="159"/>
                  <a:pt x="83" y="156"/>
                  <a:pt x="87" y="151"/>
                </a:cubicBezTo>
                <a:cubicBezTo>
                  <a:pt x="91" y="145"/>
                  <a:pt x="92" y="138"/>
                  <a:pt x="90" y="132"/>
                </a:cubicBezTo>
                <a:cubicBezTo>
                  <a:pt x="93" y="134"/>
                  <a:pt x="98" y="136"/>
                  <a:pt x="102" y="136"/>
                </a:cubicBezTo>
                <a:cubicBezTo>
                  <a:pt x="105" y="136"/>
                  <a:pt x="108" y="135"/>
                  <a:pt x="111" y="134"/>
                </a:cubicBezTo>
                <a:cubicBezTo>
                  <a:pt x="116" y="132"/>
                  <a:pt x="120" y="127"/>
                  <a:pt x="121" y="122"/>
                </a:cubicBezTo>
                <a:cubicBezTo>
                  <a:pt x="124" y="129"/>
                  <a:pt x="131" y="133"/>
                  <a:pt x="139" y="133"/>
                </a:cubicBezTo>
                <a:cubicBezTo>
                  <a:pt x="150" y="133"/>
                  <a:pt x="158" y="126"/>
                  <a:pt x="159" y="116"/>
                </a:cubicBezTo>
                <a:cubicBezTo>
                  <a:pt x="159" y="123"/>
                  <a:pt x="163" y="130"/>
                  <a:pt x="170" y="134"/>
                </a:cubicBezTo>
                <a:cubicBezTo>
                  <a:pt x="173" y="135"/>
                  <a:pt x="176" y="136"/>
                  <a:pt x="179" y="136"/>
                </a:cubicBezTo>
                <a:cubicBezTo>
                  <a:pt x="185" y="136"/>
                  <a:pt x="191" y="133"/>
                  <a:pt x="195" y="128"/>
                </a:cubicBezTo>
                <a:cubicBezTo>
                  <a:pt x="192" y="134"/>
                  <a:pt x="192" y="142"/>
                  <a:pt x="197" y="148"/>
                </a:cubicBezTo>
                <a:cubicBezTo>
                  <a:pt x="201" y="154"/>
                  <a:pt x="207" y="156"/>
                  <a:pt x="213" y="156"/>
                </a:cubicBezTo>
                <a:cubicBezTo>
                  <a:pt x="217" y="156"/>
                  <a:pt x="221" y="155"/>
                  <a:pt x="225" y="153"/>
                </a:cubicBezTo>
                <a:cubicBezTo>
                  <a:pt x="273" y="117"/>
                  <a:pt x="273" y="117"/>
                  <a:pt x="273" y="117"/>
                </a:cubicBezTo>
                <a:cubicBezTo>
                  <a:pt x="282" y="110"/>
                  <a:pt x="284" y="98"/>
                  <a:pt x="278" y="89"/>
                </a:cubicBezTo>
                <a:cubicBezTo>
                  <a:pt x="271" y="80"/>
                  <a:pt x="258" y="78"/>
                  <a:pt x="250" y="85"/>
                </a:cubicBezTo>
                <a:cubicBezTo>
                  <a:pt x="201" y="120"/>
                  <a:pt x="201" y="120"/>
                  <a:pt x="201" y="120"/>
                </a:cubicBezTo>
                <a:cubicBezTo>
                  <a:pt x="199" y="121"/>
                  <a:pt x="198" y="123"/>
                  <a:pt x="197" y="124"/>
                </a:cubicBezTo>
                <a:cubicBezTo>
                  <a:pt x="231" y="56"/>
                  <a:pt x="231" y="56"/>
                  <a:pt x="231" y="56"/>
                </a:cubicBezTo>
                <a:cubicBezTo>
                  <a:pt x="236" y="46"/>
                  <a:pt x="231" y="34"/>
                  <a:pt x="222" y="29"/>
                </a:cubicBezTo>
                <a:cubicBezTo>
                  <a:pt x="212" y="24"/>
                  <a:pt x="200" y="28"/>
                  <a:pt x="195" y="38"/>
                </a:cubicBezTo>
                <a:cubicBezTo>
                  <a:pt x="161" y="107"/>
                  <a:pt x="161" y="107"/>
                  <a:pt x="161" y="107"/>
                </a:cubicBezTo>
                <a:cubicBezTo>
                  <a:pt x="160" y="109"/>
                  <a:pt x="160" y="111"/>
                  <a:pt x="159" y="113"/>
                </a:cubicBezTo>
                <a:cubicBezTo>
                  <a:pt x="159" y="20"/>
                  <a:pt x="159" y="20"/>
                  <a:pt x="159" y="20"/>
                </a:cubicBezTo>
                <a:cubicBezTo>
                  <a:pt x="159" y="9"/>
                  <a:pt x="150" y="0"/>
                  <a:pt x="139" y="0"/>
                </a:cubicBezTo>
                <a:cubicBezTo>
                  <a:pt x="128" y="0"/>
                  <a:pt x="119" y="9"/>
                  <a:pt x="119" y="20"/>
                </a:cubicBezTo>
                <a:cubicBezTo>
                  <a:pt x="119" y="105"/>
                  <a:pt x="119" y="105"/>
                  <a:pt x="119" y="105"/>
                </a:cubicBezTo>
                <a:cubicBezTo>
                  <a:pt x="87" y="38"/>
                  <a:pt x="87" y="38"/>
                  <a:pt x="87" y="38"/>
                </a:cubicBezTo>
                <a:cubicBezTo>
                  <a:pt x="82" y="28"/>
                  <a:pt x="70" y="24"/>
                  <a:pt x="60" y="29"/>
                </a:cubicBezTo>
                <a:cubicBezTo>
                  <a:pt x="50" y="34"/>
                  <a:pt x="46" y="46"/>
                  <a:pt x="51" y="5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a:ln>
                <a:noFill/>
              </a:ln>
              <a:solidFill>
                <a:schemeClr val="accent1"/>
              </a:solidFill>
              <a:effectLst/>
              <a:uLnTx/>
              <a:uFillTx/>
              <a:latin typeface="Montserrat" panose="00000500000000000000"/>
            </a:endParaRPr>
          </a:p>
        </p:txBody>
      </p:sp>
      <p:sp>
        <p:nvSpPr>
          <p:cNvPr id="38" name="Oval 17"/>
          <p:cNvSpPr>
            <a:spLocks noChangeArrowheads="1"/>
          </p:cNvSpPr>
          <p:nvPr/>
        </p:nvSpPr>
        <p:spPr bwMode="auto">
          <a:xfrm>
            <a:off x="4222807" y="4070949"/>
            <a:ext cx="864939" cy="864939"/>
          </a:xfrm>
          <a:prstGeom prst="ellipse">
            <a:avLst/>
          </a:prstGeom>
          <a:solidFill>
            <a:srgbClr val="FFFFFF"/>
          </a:solidFill>
          <a:ln w="19050">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US" sz="1200">
              <a:solidFill>
                <a:schemeClr val="accent1"/>
              </a:solidFill>
              <a:latin typeface="Montserrat" panose="00000500000000000000"/>
            </a:endParaRPr>
          </a:p>
        </p:txBody>
      </p:sp>
      <p:sp>
        <p:nvSpPr>
          <p:cNvPr id="39" name="Oval 19"/>
          <p:cNvSpPr>
            <a:spLocks noChangeArrowheads="1"/>
          </p:cNvSpPr>
          <p:nvPr/>
        </p:nvSpPr>
        <p:spPr bwMode="auto">
          <a:xfrm>
            <a:off x="4314106" y="4162248"/>
            <a:ext cx="682341" cy="682341"/>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200">
              <a:solidFill>
                <a:schemeClr val="accent1"/>
              </a:solidFill>
              <a:latin typeface="Montserrat" panose="00000500000000000000"/>
            </a:endParaRPr>
          </a:p>
        </p:txBody>
      </p:sp>
      <p:sp>
        <p:nvSpPr>
          <p:cNvPr id="40" name="Rectangle 39"/>
          <p:cNvSpPr/>
          <p:nvPr/>
        </p:nvSpPr>
        <p:spPr>
          <a:xfrm>
            <a:off x="3703390" y="3229728"/>
            <a:ext cx="1871613" cy="4473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22363" tIns="61181" rIns="122363" bIns="61181" rtlCol="0" anchor="ctr"/>
          <a:lstStyle/>
          <a:p>
            <a:pPr algn="ctr"/>
            <a:r>
              <a:rPr lang="en-GB" sz="1400" b="1" err="1">
                <a:solidFill>
                  <a:schemeClr val="bg1"/>
                </a:solidFill>
                <a:latin typeface="Montserrat" panose="00000500000000000000"/>
                <a:cs typeface="Calibri" panose="020F0502020204030204" pitchFamily="34" charset="0"/>
              </a:rPr>
              <a:t>HYDMedia</a:t>
            </a:r>
            <a:r>
              <a:rPr lang="en-GB" sz="1400" b="1">
                <a:solidFill>
                  <a:schemeClr val="bg1"/>
                </a:solidFill>
                <a:latin typeface="Montserrat" panose="00000500000000000000"/>
                <a:cs typeface="Calibri" panose="020F0502020204030204" pitchFamily="34" charset="0"/>
              </a:rPr>
              <a:t> G3</a:t>
            </a:r>
          </a:p>
          <a:p>
            <a:pPr algn="ctr"/>
            <a:r>
              <a:rPr lang="en-GB" sz="1400" b="1">
                <a:solidFill>
                  <a:schemeClr val="bg1"/>
                </a:solidFill>
                <a:latin typeface="Montserrat" panose="00000500000000000000"/>
                <a:cs typeface="Calibri" panose="020F0502020204030204" pitchFamily="34" charset="0"/>
              </a:rPr>
              <a:t>1999</a:t>
            </a:r>
          </a:p>
          <a:p>
            <a:pPr algn="ctr"/>
            <a:r>
              <a:rPr lang="en-GB" sz="1400" b="1">
                <a:solidFill>
                  <a:schemeClr val="bg1"/>
                </a:solidFill>
                <a:latin typeface="Montserrat" panose="00000500000000000000"/>
                <a:cs typeface="Calibri" panose="020F0502020204030204" pitchFamily="34" charset="0"/>
              </a:rPr>
              <a:t>Scanning + HL7 + first Office integration</a:t>
            </a:r>
          </a:p>
          <a:p>
            <a:pPr algn="ctr"/>
            <a:endParaRPr lang="en-GB" sz="1400" b="1">
              <a:solidFill>
                <a:schemeClr val="accent2"/>
              </a:solidFill>
              <a:latin typeface="Montserrat" panose="00000500000000000000"/>
              <a:cs typeface="Calibri" panose="020F0502020204030204" pitchFamily="34" charset="0"/>
            </a:endParaRPr>
          </a:p>
        </p:txBody>
      </p:sp>
      <p:sp>
        <p:nvSpPr>
          <p:cNvPr id="41" name="Freeform 40"/>
          <p:cNvSpPr>
            <a:spLocks/>
          </p:cNvSpPr>
          <p:nvPr/>
        </p:nvSpPr>
        <p:spPr bwMode="auto">
          <a:xfrm>
            <a:off x="4638986" y="4388470"/>
            <a:ext cx="237443" cy="336377"/>
          </a:xfrm>
          <a:custGeom>
            <a:avLst/>
            <a:gdLst>
              <a:gd name="T0" fmla="*/ 272 w 768"/>
              <a:gd name="T1" fmla="*/ 764 h 1088"/>
              <a:gd name="T2" fmla="*/ 272 w 768"/>
              <a:gd name="T3" fmla="*/ 846 h 1088"/>
              <a:gd name="T4" fmla="*/ 286 w 768"/>
              <a:gd name="T5" fmla="*/ 1088 h 1088"/>
              <a:gd name="T6" fmla="*/ 0 w 768"/>
              <a:gd name="T7" fmla="*/ 1088 h 1088"/>
              <a:gd name="T8" fmla="*/ 26 w 768"/>
              <a:gd name="T9" fmla="*/ 838 h 1088"/>
              <a:gd name="T10" fmla="*/ 36 w 768"/>
              <a:gd name="T11" fmla="*/ 746 h 1088"/>
              <a:gd name="T12" fmla="*/ 44 w 768"/>
              <a:gd name="T13" fmla="*/ 652 h 1088"/>
              <a:gd name="T14" fmla="*/ 46 w 768"/>
              <a:gd name="T15" fmla="*/ 632 h 1088"/>
              <a:gd name="T16" fmla="*/ 54 w 768"/>
              <a:gd name="T17" fmla="*/ 598 h 1088"/>
              <a:gd name="T18" fmla="*/ 72 w 768"/>
              <a:gd name="T19" fmla="*/ 568 h 1088"/>
              <a:gd name="T20" fmla="*/ 96 w 768"/>
              <a:gd name="T21" fmla="*/ 542 h 1088"/>
              <a:gd name="T22" fmla="*/ 110 w 768"/>
              <a:gd name="T23" fmla="*/ 530 h 1088"/>
              <a:gd name="T24" fmla="*/ 174 w 768"/>
              <a:gd name="T25" fmla="*/ 488 h 1088"/>
              <a:gd name="T26" fmla="*/ 244 w 768"/>
              <a:gd name="T27" fmla="*/ 456 h 1088"/>
              <a:gd name="T28" fmla="*/ 278 w 768"/>
              <a:gd name="T29" fmla="*/ 442 h 1088"/>
              <a:gd name="T30" fmla="*/ 338 w 768"/>
              <a:gd name="T31" fmla="*/ 410 h 1088"/>
              <a:gd name="T32" fmla="*/ 394 w 768"/>
              <a:gd name="T33" fmla="*/ 370 h 1088"/>
              <a:gd name="T34" fmla="*/ 444 w 768"/>
              <a:gd name="T35" fmla="*/ 322 h 1088"/>
              <a:gd name="T36" fmla="*/ 466 w 768"/>
              <a:gd name="T37" fmla="*/ 294 h 1088"/>
              <a:gd name="T38" fmla="*/ 488 w 768"/>
              <a:gd name="T39" fmla="*/ 272 h 1088"/>
              <a:gd name="T40" fmla="*/ 504 w 768"/>
              <a:gd name="T41" fmla="*/ 266 h 1088"/>
              <a:gd name="T42" fmla="*/ 524 w 768"/>
              <a:gd name="T43" fmla="*/ 266 h 1088"/>
              <a:gd name="T44" fmla="*/ 534 w 768"/>
              <a:gd name="T45" fmla="*/ 270 h 1088"/>
              <a:gd name="T46" fmla="*/ 538 w 768"/>
              <a:gd name="T47" fmla="*/ 286 h 1088"/>
              <a:gd name="T48" fmla="*/ 534 w 768"/>
              <a:gd name="T49" fmla="*/ 302 h 1088"/>
              <a:gd name="T50" fmla="*/ 518 w 768"/>
              <a:gd name="T51" fmla="*/ 328 h 1088"/>
              <a:gd name="T52" fmla="*/ 486 w 768"/>
              <a:gd name="T53" fmla="*/ 368 h 1088"/>
              <a:gd name="T54" fmla="*/ 418 w 768"/>
              <a:gd name="T55" fmla="*/ 442 h 1088"/>
              <a:gd name="T56" fmla="*/ 382 w 768"/>
              <a:gd name="T57" fmla="*/ 478 h 1088"/>
              <a:gd name="T58" fmla="*/ 364 w 768"/>
              <a:gd name="T59" fmla="*/ 496 h 1088"/>
              <a:gd name="T60" fmla="*/ 358 w 768"/>
              <a:gd name="T61" fmla="*/ 508 h 1088"/>
              <a:gd name="T62" fmla="*/ 358 w 768"/>
              <a:gd name="T63" fmla="*/ 522 h 1088"/>
              <a:gd name="T64" fmla="*/ 366 w 768"/>
              <a:gd name="T65" fmla="*/ 526 h 1088"/>
              <a:gd name="T66" fmla="*/ 378 w 768"/>
              <a:gd name="T67" fmla="*/ 530 h 1088"/>
              <a:gd name="T68" fmla="*/ 394 w 768"/>
              <a:gd name="T69" fmla="*/ 524 h 1088"/>
              <a:gd name="T70" fmla="*/ 404 w 768"/>
              <a:gd name="T71" fmla="*/ 516 h 1088"/>
              <a:gd name="T72" fmla="*/ 462 w 768"/>
              <a:gd name="T73" fmla="*/ 466 h 1088"/>
              <a:gd name="T74" fmla="*/ 512 w 768"/>
              <a:gd name="T75" fmla="*/ 410 h 1088"/>
              <a:gd name="T76" fmla="*/ 552 w 768"/>
              <a:gd name="T77" fmla="*/ 348 h 1088"/>
              <a:gd name="T78" fmla="*/ 578 w 768"/>
              <a:gd name="T79" fmla="*/ 274 h 1088"/>
              <a:gd name="T80" fmla="*/ 588 w 768"/>
              <a:gd name="T81" fmla="*/ 240 h 1088"/>
              <a:gd name="T82" fmla="*/ 614 w 768"/>
              <a:gd name="T83" fmla="*/ 174 h 1088"/>
              <a:gd name="T84" fmla="*/ 646 w 768"/>
              <a:gd name="T85" fmla="*/ 112 h 1088"/>
              <a:gd name="T86" fmla="*/ 706 w 768"/>
              <a:gd name="T87" fmla="*/ 24 h 1088"/>
              <a:gd name="T88" fmla="*/ 714 w 768"/>
              <a:gd name="T89" fmla="*/ 14 h 1088"/>
              <a:gd name="T90" fmla="*/ 730 w 768"/>
              <a:gd name="T91" fmla="*/ 2 h 1088"/>
              <a:gd name="T92" fmla="*/ 744 w 768"/>
              <a:gd name="T93" fmla="*/ 0 h 1088"/>
              <a:gd name="T94" fmla="*/ 754 w 768"/>
              <a:gd name="T95" fmla="*/ 2 h 1088"/>
              <a:gd name="T96" fmla="*/ 766 w 768"/>
              <a:gd name="T97" fmla="*/ 26 h 1088"/>
              <a:gd name="T98" fmla="*/ 768 w 768"/>
              <a:gd name="T99" fmla="*/ 52 h 1088"/>
              <a:gd name="T100" fmla="*/ 766 w 768"/>
              <a:gd name="T101" fmla="*/ 80 h 1088"/>
              <a:gd name="T102" fmla="*/ 760 w 768"/>
              <a:gd name="T103" fmla="*/ 108 h 1088"/>
              <a:gd name="T104" fmla="*/ 730 w 768"/>
              <a:gd name="T105" fmla="*/ 206 h 1088"/>
              <a:gd name="T106" fmla="*/ 692 w 768"/>
              <a:gd name="T107" fmla="*/ 300 h 1088"/>
              <a:gd name="T108" fmla="*/ 648 w 768"/>
              <a:gd name="T109" fmla="*/ 386 h 1088"/>
              <a:gd name="T110" fmla="*/ 594 w 768"/>
              <a:gd name="T111" fmla="*/ 468 h 1088"/>
              <a:gd name="T112" fmla="*/ 534 w 768"/>
              <a:gd name="T113" fmla="*/ 544 h 1088"/>
              <a:gd name="T114" fmla="*/ 466 w 768"/>
              <a:gd name="T115" fmla="*/ 616 h 1088"/>
              <a:gd name="T116" fmla="*/ 390 w 768"/>
              <a:gd name="T117" fmla="*/ 680 h 1088"/>
              <a:gd name="T118" fmla="*/ 306 w 768"/>
              <a:gd name="T119" fmla="*/ 740 h 1088"/>
              <a:gd name="T120" fmla="*/ 272 w 768"/>
              <a:gd name="T121" fmla="*/ 764 h 10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68" h="1088">
                <a:moveTo>
                  <a:pt x="272" y="764"/>
                </a:moveTo>
                <a:lnTo>
                  <a:pt x="272" y="764"/>
                </a:lnTo>
                <a:lnTo>
                  <a:pt x="270" y="804"/>
                </a:lnTo>
                <a:lnTo>
                  <a:pt x="272" y="846"/>
                </a:lnTo>
                <a:lnTo>
                  <a:pt x="276" y="926"/>
                </a:lnTo>
                <a:lnTo>
                  <a:pt x="286" y="1088"/>
                </a:lnTo>
                <a:lnTo>
                  <a:pt x="286" y="1088"/>
                </a:lnTo>
                <a:lnTo>
                  <a:pt x="0" y="1088"/>
                </a:lnTo>
                <a:lnTo>
                  <a:pt x="0" y="1088"/>
                </a:lnTo>
                <a:lnTo>
                  <a:pt x="26" y="838"/>
                </a:lnTo>
                <a:lnTo>
                  <a:pt x="26" y="838"/>
                </a:lnTo>
                <a:lnTo>
                  <a:pt x="36" y="746"/>
                </a:lnTo>
                <a:lnTo>
                  <a:pt x="40" y="698"/>
                </a:lnTo>
                <a:lnTo>
                  <a:pt x="44" y="652"/>
                </a:lnTo>
                <a:lnTo>
                  <a:pt x="44" y="652"/>
                </a:lnTo>
                <a:lnTo>
                  <a:pt x="46" y="632"/>
                </a:lnTo>
                <a:lnTo>
                  <a:pt x="50" y="614"/>
                </a:lnTo>
                <a:lnTo>
                  <a:pt x="54" y="598"/>
                </a:lnTo>
                <a:lnTo>
                  <a:pt x="62" y="582"/>
                </a:lnTo>
                <a:lnTo>
                  <a:pt x="72" y="568"/>
                </a:lnTo>
                <a:lnTo>
                  <a:pt x="82" y="556"/>
                </a:lnTo>
                <a:lnTo>
                  <a:pt x="96" y="542"/>
                </a:lnTo>
                <a:lnTo>
                  <a:pt x="110" y="530"/>
                </a:lnTo>
                <a:lnTo>
                  <a:pt x="110" y="530"/>
                </a:lnTo>
                <a:lnTo>
                  <a:pt x="140" y="508"/>
                </a:lnTo>
                <a:lnTo>
                  <a:pt x="174" y="488"/>
                </a:lnTo>
                <a:lnTo>
                  <a:pt x="208" y="472"/>
                </a:lnTo>
                <a:lnTo>
                  <a:pt x="244" y="456"/>
                </a:lnTo>
                <a:lnTo>
                  <a:pt x="244" y="456"/>
                </a:lnTo>
                <a:lnTo>
                  <a:pt x="278" y="442"/>
                </a:lnTo>
                <a:lnTo>
                  <a:pt x="308" y="428"/>
                </a:lnTo>
                <a:lnTo>
                  <a:pt x="338" y="410"/>
                </a:lnTo>
                <a:lnTo>
                  <a:pt x="368" y="390"/>
                </a:lnTo>
                <a:lnTo>
                  <a:pt x="394" y="370"/>
                </a:lnTo>
                <a:lnTo>
                  <a:pt x="420" y="346"/>
                </a:lnTo>
                <a:lnTo>
                  <a:pt x="444" y="322"/>
                </a:lnTo>
                <a:lnTo>
                  <a:pt x="466" y="294"/>
                </a:lnTo>
                <a:lnTo>
                  <a:pt x="466" y="294"/>
                </a:lnTo>
                <a:lnTo>
                  <a:pt x="480" y="278"/>
                </a:lnTo>
                <a:lnTo>
                  <a:pt x="488" y="272"/>
                </a:lnTo>
                <a:lnTo>
                  <a:pt x="496" y="268"/>
                </a:lnTo>
                <a:lnTo>
                  <a:pt x="504" y="266"/>
                </a:lnTo>
                <a:lnTo>
                  <a:pt x="514" y="264"/>
                </a:lnTo>
                <a:lnTo>
                  <a:pt x="524" y="266"/>
                </a:lnTo>
                <a:lnTo>
                  <a:pt x="534" y="270"/>
                </a:lnTo>
                <a:lnTo>
                  <a:pt x="534" y="270"/>
                </a:lnTo>
                <a:lnTo>
                  <a:pt x="538" y="278"/>
                </a:lnTo>
                <a:lnTo>
                  <a:pt x="538" y="286"/>
                </a:lnTo>
                <a:lnTo>
                  <a:pt x="536" y="294"/>
                </a:lnTo>
                <a:lnTo>
                  <a:pt x="534" y="302"/>
                </a:lnTo>
                <a:lnTo>
                  <a:pt x="526" y="316"/>
                </a:lnTo>
                <a:lnTo>
                  <a:pt x="518" y="328"/>
                </a:lnTo>
                <a:lnTo>
                  <a:pt x="518" y="328"/>
                </a:lnTo>
                <a:lnTo>
                  <a:pt x="486" y="368"/>
                </a:lnTo>
                <a:lnTo>
                  <a:pt x="454" y="406"/>
                </a:lnTo>
                <a:lnTo>
                  <a:pt x="418" y="442"/>
                </a:lnTo>
                <a:lnTo>
                  <a:pt x="382" y="478"/>
                </a:lnTo>
                <a:lnTo>
                  <a:pt x="382" y="478"/>
                </a:lnTo>
                <a:lnTo>
                  <a:pt x="372" y="486"/>
                </a:lnTo>
                <a:lnTo>
                  <a:pt x="364" y="496"/>
                </a:lnTo>
                <a:lnTo>
                  <a:pt x="360" y="502"/>
                </a:lnTo>
                <a:lnTo>
                  <a:pt x="358" y="508"/>
                </a:lnTo>
                <a:lnTo>
                  <a:pt x="358" y="514"/>
                </a:lnTo>
                <a:lnTo>
                  <a:pt x="358" y="522"/>
                </a:lnTo>
                <a:lnTo>
                  <a:pt x="358" y="522"/>
                </a:lnTo>
                <a:lnTo>
                  <a:pt x="366" y="526"/>
                </a:lnTo>
                <a:lnTo>
                  <a:pt x="372" y="528"/>
                </a:lnTo>
                <a:lnTo>
                  <a:pt x="378" y="530"/>
                </a:lnTo>
                <a:lnTo>
                  <a:pt x="384" y="528"/>
                </a:lnTo>
                <a:lnTo>
                  <a:pt x="394" y="524"/>
                </a:lnTo>
                <a:lnTo>
                  <a:pt x="404" y="516"/>
                </a:lnTo>
                <a:lnTo>
                  <a:pt x="404" y="516"/>
                </a:lnTo>
                <a:lnTo>
                  <a:pt x="434" y="492"/>
                </a:lnTo>
                <a:lnTo>
                  <a:pt x="462" y="466"/>
                </a:lnTo>
                <a:lnTo>
                  <a:pt x="488" y="438"/>
                </a:lnTo>
                <a:lnTo>
                  <a:pt x="512" y="410"/>
                </a:lnTo>
                <a:lnTo>
                  <a:pt x="534" y="380"/>
                </a:lnTo>
                <a:lnTo>
                  <a:pt x="552" y="348"/>
                </a:lnTo>
                <a:lnTo>
                  <a:pt x="566" y="312"/>
                </a:lnTo>
                <a:lnTo>
                  <a:pt x="578" y="274"/>
                </a:lnTo>
                <a:lnTo>
                  <a:pt x="578" y="274"/>
                </a:lnTo>
                <a:lnTo>
                  <a:pt x="588" y="240"/>
                </a:lnTo>
                <a:lnTo>
                  <a:pt x="600" y="208"/>
                </a:lnTo>
                <a:lnTo>
                  <a:pt x="614" y="174"/>
                </a:lnTo>
                <a:lnTo>
                  <a:pt x="630" y="144"/>
                </a:lnTo>
                <a:lnTo>
                  <a:pt x="646" y="112"/>
                </a:lnTo>
                <a:lnTo>
                  <a:pt x="666" y="82"/>
                </a:lnTo>
                <a:lnTo>
                  <a:pt x="706" y="24"/>
                </a:lnTo>
                <a:lnTo>
                  <a:pt x="706" y="24"/>
                </a:lnTo>
                <a:lnTo>
                  <a:pt x="714" y="14"/>
                </a:lnTo>
                <a:lnTo>
                  <a:pt x="724" y="6"/>
                </a:lnTo>
                <a:lnTo>
                  <a:pt x="730" y="2"/>
                </a:lnTo>
                <a:lnTo>
                  <a:pt x="736" y="0"/>
                </a:lnTo>
                <a:lnTo>
                  <a:pt x="744" y="0"/>
                </a:lnTo>
                <a:lnTo>
                  <a:pt x="754" y="2"/>
                </a:lnTo>
                <a:lnTo>
                  <a:pt x="754" y="2"/>
                </a:lnTo>
                <a:lnTo>
                  <a:pt x="760" y="14"/>
                </a:lnTo>
                <a:lnTo>
                  <a:pt x="766" y="26"/>
                </a:lnTo>
                <a:lnTo>
                  <a:pt x="768" y="40"/>
                </a:lnTo>
                <a:lnTo>
                  <a:pt x="768" y="52"/>
                </a:lnTo>
                <a:lnTo>
                  <a:pt x="768" y="66"/>
                </a:lnTo>
                <a:lnTo>
                  <a:pt x="766" y="80"/>
                </a:lnTo>
                <a:lnTo>
                  <a:pt x="760" y="108"/>
                </a:lnTo>
                <a:lnTo>
                  <a:pt x="760" y="108"/>
                </a:lnTo>
                <a:lnTo>
                  <a:pt x="746" y="158"/>
                </a:lnTo>
                <a:lnTo>
                  <a:pt x="730" y="206"/>
                </a:lnTo>
                <a:lnTo>
                  <a:pt x="712" y="254"/>
                </a:lnTo>
                <a:lnTo>
                  <a:pt x="692" y="300"/>
                </a:lnTo>
                <a:lnTo>
                  <a:pt x="670" y="344"/>
                </a:lnTo>
                <a:lnTo>
                  <a:pt x="648" y="386"/>
                </a:lnTo>
                <a:lnTo>
                  <a:pt x="622" y="428"/>
                </a:lnTo>
                <a:lnTo>
                  <a:pt x="594" y="468"/>
                </a:lnTo>
                <a:lnTo>
                  <a:pt x="564" y="508"/>
                </a:lnTo>
                <a:lnTo>
                  <a:pt x="534" y="544"/>
                </a:lnTo>
                <a:lnTo>
                  <a:pt x="500" y="580"/>
                </a:lnTo>
                <a:lnTo>
                  <a:pt x="466" y="616"/>
                </a:lnTo>
                <a:lnTo>
                  <a:pt x="428" y="648"/>
                </a:lnTo>
                <a:lnTo>
                  <a:pt x="390" y="680"/>
                </a:lnTo>
                <a:lnTo>
                  <a:pt x="348" y="710"/>
                </a:lnTo>
                <a:lnTo>
                  <a:pt x="306" y="740"/>
                </a:lnTo>
                <a:lnTo>
                  <a:pt x="306" y="740"/>
                </a:lnTo>
                <a:lnTo>
                  <a:pt x="272" y="764"/>
                </a:lnTo>
                <a:lnTo>
                  <a:pt x="272" y="76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solidFill>
                <a:schemeClr val="accent1"/>
              </a:solidFill>
              <a:latin typeface="Montserrat" panose="00000500000000000000"/>
              <a:cs typeface="Arial" panose="020B0604020202020204" pitchFamily="34" charset="0"/>
            </a:endParaRPr>
          </a:p>
        </p:txBody>
      </p:sp>
      <p:sp>
        <p:nvSpPr>
          <p:cNvPr id="42" name="Freeform 6"/>
          <p:cNvSpPr>
            <a:spLocks/>
          </p:cNvSpPr>
          <p:nvPr/>
        </p:nvSpPr>
        <p:spPr bwMode="auto">
          <a:xfrm>
            <a:off x="4387940" y="4388470"/>
            <a:ext cx="237443" cy="335758"/>
          </a:xfrm>
          <a:custGeom>
            <a:avLst/>
            <a:gdLst>
              <a:gd name="T0" fmla="*/ 24 w 768"/>
              <a:gd name="T1" fmla="*/ 0 h 1086"/>
              <a:gd name="T2" fmla="*/ 38 w 768"/>
              <a:gd name="T3" fmla="*/ 2 h 1086"/>
              <a:gd name="T4" fmla="*/ 50 w 768"/>
              <a:gd name="T5" fmla="*/ 8 h 1086"/>
              <a:gd name="T6" fmla="*/ 68 w 768"/>
              <a:gd name="T7" fmla="*/ 30 h 1086"/>
              <a:gd name="T8" fmla="*/ 90 w 768"/>
              <a:gd name="T9" fmla="*/ 60 h 1086"/>
              <a:gd name="T10" fmla="*/ 128 w 768"/>
              <a:gd name="T11" fmla="*/ 122 h 1086"/>
              <a:gd name="T12" fmla="*/ 160 w 768"/>
              <a:gd name="T13" fmla="*/ 188 h 1086"/>
              <a:gd name="T14" fmla="*/ 188 w 768"/>
              <a:gd name="T15" fmla="*/ 256 h 1086"/>
              <a:gd name="T16" fmla="*/ 198 w 768"/>
              <a:gd name="T17" fmla="*/ 292 h 1086"/>
              <a:gd name="T18" fmla="*/ 226 w 768"/>
              <a:gd name="T19" fmla="*/ 362 h 1086"/>
              <a:gd name="T20" fmla="*/ 266 w 768"/>
              <a:gd name="T21" fmla="*/ 422 h 1086"/>
              <a:gd name="T22" fmla="*/ 316 w 768"/>
              <a:gd name="T23" fmla="*/ 474 h 1086"/>
              <a:gd name="T24" fmla="*/ 374 w 768"/>
              <a:gd name="T25" fmla="*/ 522 h 1086"/>
              <a:gd name="T26" fmla="*/ 384 w 768"/>
              <a:gd name="T27" fmla="*/ 528 h 1086"/>
              <a:gd name="T28" fmla="*/ 392 w 768"/>
              <a:gd name="T29" fmla="*/ 528 h 1086"/>
              <a:gd name="T30" fmla="*/ 416 w 768"/>
              <a:gd name="T31" fmla="*/ 516 h 1086"/>
              <a:gd name="T32" fmla="*/ 414 w 768"/>
              <a:gd name="T33" fmla="*/ 508 h 1086"/>
              <a:gd name="T34" fmla="*/ 404 w 768"/>
              <a:gd name="T35" fmla="*/ 492 h 1086"/>
              <a:gd name="T36" fmla="*/ 384 w 768"/>
              <a:gd name="T37" fmla="*/ 472 h 1086"/>
              <a:gd name="T38" fmla="*/ 318 w 768"/>
              <a:gd name="T39" fmla="*/ 406 h 1086"/>
              <a:gd name="T40" fmla="*/ 258 w 768"/>
              <a:gd name="T41" fmla="*/ 334 h 1086"/>
              <a:gd name="T42" fmla="*/ 248 w 768"/>
              <a:gd name="T43" fmla="*/ 320 h 1086"/>
              <a:gd name="T44" fmla="*/ 236 w 768"/>
              <a:gd name="T45" fmla="*/ 298 h 1086"/>
              <a:gd name="T46" fmla="*/ 234 w 768"/>
              <a:gd name="T47" fmla="*/ 282 h 1086"/>
              <a:gd name="T48" fmla="*/ 234 w 768"/>
              <a:gd name="T49" fmla="*/ 272 h 1086"/>
              <a:gd name="T50" fmla="*/ 254 w 768"/>
              <a:gd name="T51" fmla="*/ 264 h 1086"/>
              <a:gd name="T52" fmla="*/ 272 w 768"/>
              <a:gd name="T53" fmla="*/ 266 h 1086"/>
              <a:gd name="T54" fmla="*/ 286 w 768"/>
              <a:gd name="T55" fmla="*/ 274 h 1086"/>
              <a:gd name="T56" fmla="*/ 300 w 768"/>
              <a:gd name="T57" fmla="*/ 288 h 1086"/>
              <a:gd name="T58" fmla="*/ 326 w 768"/>
              <a:gd name="T59" fmla="*/ 320 h 1086"/>
              <a:gd name="T60" fmla="*/ 382 w 768"/>
              <a:gd name="T61" fmla="*/ 374 h 1086"/>
              <a:gd name="T62" fmla="*/ 446 w 768"/>
              <a:gd name="T63" fmla="*/ 418 h 1086"/>
              <a:gd name="T64" fmla="*/ 516 w 768"/>
              <a:gd name="T65" fmla="*/ 452 h 1086"/>
              <a:gd name="T66" fmla="*/ 554 w 768"/>
              <a:gd name="T67" fmla="*/ 468 h 1086"/>
              <a:gd name="T68" fmla="*/ 602 w 768"/>
              <a:gd name="T69" fmla="*/ 490 h 1086"/>
              <a:gd name="T70" fmla="*/ 648 w 768"/>
              <a:gd name="T71" fmla="*/ 520 h 1086"/>
              <a:gd name="T72" fmla="*/ 664 w 768"/>
              <a:gd name="T73" fmla="*/ 532 h 1086"/>
              <a:gd name="T74" fmla="*/ 692 w 768"/>
              <a:gd name="T75" fmla="*/ 560 h 1086"/>
              <a:gd name="T76" fmla="*/ 712 w 768"/>
              <a:gd name="T77" fmla="*/ 594 h 1086"/>
              <a:gd name="T78" fmla="*/ 726 w 768"/>
              <a:gd name="T79" fmla="*/ 632 h 1086"/>
              <a:gd name="T80" fmla="*/ 728 w 768"/>
              <a:gd name="T81" fmla="*/ 654 h 1086"/>
              <a:gd name="T82" fmla="*/ 748 w 768"/>
              <a:gd name="T83" fmla="*/ 860 h 1086"/>
              <a:gd name="T84" fmla="*/ 768 w 768"/>
              <a:gd name="T85" fmla="*/ 1066 h 1086"/>
              <a:gd name="T86" fmla="*/ 768 w 768"/>
              <a:gd name="T87" fmla="*/ 1086 h 1086"/>
              <a:gd name="T88" fmla="*/ 484 w 768"/>
              <a:gd name="T89" fmla="*/ 1086 h 1086"/>
              <a:gd name="T90" fmla="*/ 496 w 768"/>
              <a:gd name="T91" fmla="*/ 926 h 1086"/>
              <a:gd name="T92" fmla="*/ 498 w 768"/>
              <a:gd name="T93" fmla="*/ 804 h 1086"/>
              <a:gd name="T94" fmla="*/ 496 w 768"/>
              <a:gd name="T95" fmla="*/ 762 h 1086"/>
              <a:gd name="T96" fmla="*/ 352 w 768"/>
              <a:gd name="T97" fmla="*/ 652 h 1086"/>
              <a:gd name="T98" fmla="*/ 304 w 768"/>
              <a:gd name="T99" fmla="*/ 612 h 1086"/>
              <a:gd name="T100" fmla="*/ 246 w 768"/>
              <a:gd name="T101" fmla="*/ 556 h 1086"/>
              <a:gd name="T102" fmla="*/ 196 w 768"/>
              <a:gd name="T103" fmla="*/ 498 h 1086"/>
              <a:gd name="T104" fmla="*/ 152 w 768"/>
              <a:gd name="T105" fmla="*/ 434 h 1086"/>
              <a:gd name="T106" fmla="*/ 112 w 768"/>
              <a:gd name="T107" fmla="*/ 368 h 1086"/>
              <a:gd name="T108" fmla="*/ 80 w 768"/>
              <a:gd name="T109" fmla="*/ 300 h 1086"/>
              <a:gd name="T110" fmla="*/ 26 w 768"/>
              <a:gd name="T111" fmla="*/ 154 h 1086"/>
              <a:gd name="T112" fmla="*/ 4 w 768"/>
              <a:gd name="T113" fmla="*/ 78 h 1086"/>
              <a:gd name="T114" fmla="*/ 0 w 768"/>
              <a:gd name="T115" fmla="*/ 48 h 1086"/>
              <a:gd name="T116" fmla="*/ 4 w 768"/>
              <a:gd name="T117" fmla="*/ 26 h 1086"/>
              <a:gd name="T118" fmla="*/ 14 w 768"/>
              <a:gd name="T119" fmla="*/ 8 h 1086"/>
              <a:gd name="T120" fmla="*/ 24 w 768"/>
              <a:gd name="T121" fmla="*/ 0 h 10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68" h="1086">
                <a:moveTo>
                  <a:pt x="24" y="0"/>
                </a:moveTo>
                <a:lnTo>
                  <a:pt x="24" y="0"/>
                </a:lnTo>
                <a:lnTo>
                  <a:pt x="32" y="0"/>
                </a:lnTo>
                <a:lnTo>
                  <a:pt x="38" y="2"/>
                </a:lnTo>
                <a:lnTo>
                  <a:pt x="46" y="4"/>
                </a:lnTo>
                <a:lnTo>
                  <a:pt x="50" y="8"/>
                </a:lnTo>
                <a:lnTo>
                  <a:pt x="60" y="18"/>
                </a:lnTo>
                <a:lnTo>
                  <a:pt x="68" y="30"/>
                </a:lnTo>
                <a:lnTo>
                  <a:pt x="68" y="30"/>
                </a:lnTo>
                <a:lnTo>
                  <a:pt x="90" y="60"/>
                </a:lnTo>
                <a:lnTo>
                  <a:pt x="110" y="90"/>
                </a:lnTo>
                <a:lnTo>
                  <a:pt x="128" y="122"/>
                </a:lnTo>
                <a:lnTo>
                  <a:pt x="146" y="154"/>
                </a:lnTo>
                <a:lnTo>
                  <a:pt x="160" y="188"/>
                </a:lnTo>
                <a:lnTo>
                  <a:pt x="174" y="222"/>
                </a:lnTo>
                <a:lnTo>
                  <a:pt x="188" y="256"/>
                </a:lnTo>
                <a:lnTo>
                  <a:pt x="198" y="292"/>
                </a:lnTo>
                <a:lnTo>
                  <a:pt x="198" y="292"/>
                </a:lnTo>
                <a:lnTo>
                  <a:pt x="210" y="328"/>
                </a:lnTo>
                <a:lnTo>
                  <a:pt x="226" y="362"/>
                </a:lnTo>
                <a:lnTo>
                  <a:pt x="244" y="392"/>
                </a:lnTo>
                <a:lnTo>
                  <a:pt x="266" y="422"/>
                </a:lnTo>
                <a:lnTo>
                  <a:pt x="290" y="448"/>
                </a:lnTo>
                <a:lnTo>
                  <a:pt x="316" y="474"/>
                </a:lnTo>
                <a:lnTo>
                  <a:pt x="344" y="498"/>
                </a:lnTo>
                <a:lnTo>
                  <a:pt x="374" y="522"/>
                </a:lnTo>
                <a:lnTo>
                  <a:pt x="374" y="522"/>
                </a:lnTo>
                <a:lnTo>
                  <a:pt x="384" y="528"/>
                </a:lnTo>
                <a:lnTo>
                  <a:pt x="388" y="528"/>
                </a:lnTo>
                <a:lnTo>
                  <a:pt x="392" y="528"/>
                </a:lnTo>
                <a:lnTo>
                  <a:pt x="402" y="526"/>
                </a:lnTo>
                <a:lnTo>
                  <a:pt x="416" y="516"/>
                </a:lnTo>
                <a:lnTo>
                  <a:pt x="416" y="516"/>
                </a:lnTo>
                <a:lnTo>
                  <a:pt x="414" y="508"/>
                </a:lnTo>
                <a:lnTo>
                  <a:pt x="412" y="502"/>
                </a:lnTo>
                <a:lnTo>
                  <a:pt x="404" y="492"/>
                </a:lnTo>
                <a:lnTo>
                  <a:pt x="384" y="472"/>
                </a:lnTo>
                <a:lnTo>
                  <a:pt x="384" y="472"/>
                </a:lnTo>
                <a:lnTo>
                  <a:pt x="350" y="440"/>
                </a:lnTo>
                <a:lnTo>
                  <a:pt x="318" y="406"/>
                </a:lnTo>
                <a:lnTo>
                  <a:pt x="286" y="370"/>
                </a:lnTo>
                <a:lnTo>
                  <a:pt x="258" y="334"/>
                </a:lnTo>
                <a:lnTo>
                  <a:pt x="258" y="334"/>
                </a:lnTo>
                <a:lnTo>
                  <a:pt x="248" y="320"/>
                </a:lnTo>
                <a:lnTo>
                  <a:pt x="238" y="306"/>
                </a:lnTo>
                <a:lnTo>
                  <a:pt x="236" y="298"/>
                </a:lnTo>
                <a:lnTo>
                  <a:pt x="234" y="290"/>
                </a:lnTo>
                <a:lnTo>
                  <a:pt x="234" y="282"/>
                </a:lnTo>
                <a:lnTo>
                  <a:pt x="234" y="272"/>
                </a:lnTo>
                <a:lnTo>
                  <a:pt x="234" y="272"/>
                </a:lnTo>
                <a:lnTo>
                  <a:pt x="244" y="268"/>
                </a:lnTo>
                <a:lnTo>
                  <a:pt x="254" y="264"/>
                </a:lnTo>
                <a:lnTo>
                  <a:pt x="264" y="264"/>
                </a:lnTo>
                <a:lnTo>
                  <a:pt x="272" y="266"/>
                </a:lnTo>
                <a:lnTo>
                  <a:pt x="280" y="270"/>
                </a:lnTo>
                <a:lnTo>
                  <a:pt x="286" y="274"/>
                </a:lnTo>
                <a:lnTo>
                  <a:pt x="294" y="280"/>
                </a:lnTo>
                <a:lnTo>
                  <a:pt x="300" y="288"/>
                </a:lnTo>
                <a:lnTo>
                  <a:pt x="300" y="288"/>
                </a:lnTo>
                <a:lnTo>
                  <a:pt x="326" y="320"/>
                </a:lnTo>
                <a:lnTo>
                  <a:pt x="352" y="348"/>
                </a:lnTo>
                <a:lnTo>
                  <a:pt x="382" y="374"/>
                </a:lnTo>
                <a:lnTo>
                  <a:pt x="414" y="398"/>
                </a:lnTo>
                <a:lnTo>
                  <a:pt x="446" y="418"/>
                </a:lnTo>
                <a:lnTo>
                  <a:pt x="480" y="436"/>
                </a:lnTo>
                <a:lnTo>
                  <a:pt x="516" y="452"/>
                </a:lnTo>
                <a:lnTo>
                  <a:pt x="554" y="468"/>
                </a:lnTo>
                <a:lnTo>
                  <a:pt x="554" y="468"/>
                </a:lnTo>
                <a:lnTo>
                  <a:pt x="578" y="478"/>
                </a:lnTo>
                <a:lnTo>
                  <a:pt x="602" y="490"/>
                </a:lnTo>
                <a:lnTo>
                  <a:pt x="624" y="504"/>
                </a:lnTo>
                <a:lnTo>
                  <a:pt x="648" y="520"/>
                </a:lnTo>
                <a:lnTo>
                  <a:pt x="648" y="520"/>
                </a:lnTo>
                <a:lnTo>
                  <a:pt x="664" y="532"/>
                </a:lnTo>
                <a:lnTo>
                  <a:pt x="678" y="546"/>
                </a:lnTo>
                <a:lnTo>
                  <a:pt x="692" y="560"/>
                </a:lnTo>
                <a:lnTo>
                  <a:pt x="704" y="576"/>
                </a:lnTo>
                <a:lnTo>
                  <a:pt x="712" y="594"/>
                </a:lnTo>
                <a:lnTo>
                  <a:pt x="720" y="612"/>
                </a:lnTo>
                <a:lnTo>
                  <a:pt x="726" y="632"/>
                </a:lnTo>
                <a:lnTo>
                  <a:pt x="728" y="654"/>
                </a:lnTo>
                <a:lnTo>
                  <a:pt x="728" y="654"/>
                </a:lnTo>
                <a:lnTo>
                  <a:pt x="738" y="756"/>
                </a:lnTo>
                <a:lnTo>
                  <a:pt x="748" y="860"/>
                </a:lnTo>
                <a:lnTo>
                  <a:pt x="768" y="1066"/>
                </a:lnTo>
                <a:lnTo>
                  <a:pt x="768" y="1066"/>
                </a:lnTo>
                <a:lnTo>
                  <a:pt x="768" y="1086"/>
                </a:lnTo>
                <a:lnTo>
                  <a:pt x="768" y="1086"/>
                </a:lnTo>
                <a:lnTo>
                  <a:pt x="484" y="1086"/>
                </a:lnTo>
                <a:lnTo>
                  <a:pt x="484" y="1086"/>
                </a:lnTo>
                <a:lnTo>
                  <a:pt x="490" y="1006"/>
                </a:lnTo>
                <a:lnTo>
                  <a:pt x="496" y="926"/>
                </a:lnTo>
                <a:lnTo>
                  <a:pt x="498" y="844"/>
                </a:lnTo>
                <a:lnTo>
                  <a:pt x="498" y="804"/>
                </a:lnTo>
                <a:lnTo>
                  <a:pt x="496" y="762"/>
                </a:lnTo>
                <a:lnTo>
                  <a:pt x="496" y="762"/>
                </a:lnTo>
                <a:lnTo>
                  <a:pt x="400" y="690"/>
                </a:lnTo>
                <a:lnTo>
                  <a:pt x="352" y="652"/>
                </a:lnTo>
                <a:lnTo>
                  <a:pt x="304" y="612"/>
                </a:lnTo>
                <a:lnTo>
                  <a:pt x="304" y="612"/>
                </a:lnTo>
                <a:lnTo>
                  <a:pt x="274" y="584"/>
                </a:lnTo>
                <a:lnTo>
                  <a:pt x="246" y="556"/>
                </a:lnTo>
                <a:lnTo>
                  <a:pt x="220" y="528"/>
                </a:lnTo>
                <a:lnTo>
                  <a:pt x="196" y="498"/>
                </a:lnTo>
                <a:lnTo>
                  <a:pt x="172" y="466"/>
                </a:lnTo>
                <a:lnTo>
                  <a:pt x="152" y="434"/>
                </a:lnTo>
                <a:lnTo>
                  <a:pt x="132" y="402"/>
                </a:lnTo>
                <a:lnTo>
                  <a:pt x="112" y="368"/>
                </a:lnTo>
                <a:lnTo>
                  <a:pt x="96" y="334"/>
                </a:lnTo>
                <a:lnTo>
                  <a:pt x="80" y="300"/>
                </a:lnTo>
                <a:lnTo>
                  <a:pt x="50" y="228"/>
                </a:lnTo>
                <a:lnTo>
                  <a:pt x="26" y="154"/>
                </a:lnTo>
                <a:lnTo>
                  <a:pt x="4" y="78"/>
                </a:lnTo>
                <a:lnTo>
                  <a:pt x="4" y="78"/>
                </a:lnTo>
                <a:lnTo>
                  <a:pt x="0" y="58"/>
                </a:lnTo>
                <a:lnTo>
                  <a:pt x="0" y="48"/>
                </a:lnTo>
                <a:lnTo>
                  <a:pt x="0" y="36"/>
                </a:lnTo>
                <a:lnTo>
                  <a:pt x="4" y="26"/>
                </a:lnTo>
                <a:lnTo>
                  <a:pt x="8" y="16"/>
                </a:lnTo>
                <a:lnTo>
                  <a:pt x="14" y="8"/>
                </a:lnTo>
                <a:lnTo>
                  <a:pt x="24" y="0"/>
                </a:lnTo>
                <a:lnTo>
                  <a:pt x="2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solidFill>
                <a:schemeClr val="accent1"/>
              </a:solidFill>
              <a:latin typeface="Montserrat" panose="00000500000000000000"/>
              <a:cs typeface="Arial" panose="020B0604020202020204" pitchFamily="34" charset="0"/>
            </a:endParaRPr>
          </a:p>
        </p:txBody>
      </p:sp>
      <p:sp>
        <p:nvSpPr>
          <p:cNvPr id="43" name="Freeform 7"/>
          <p:cNvSpPr>
            <a:spLocks/>
          </p:cNvSpPr>
          <p:nvPr/>
        </p:nvSpPr>
        <p:spPr bwMode="auto">
          <a:xfrm>
            <a:off x="4507898" y="4351370"/>
            <a:ext cx="127378" cy="126141"/>
          </a:xfrm>
          <a:custGeom>
            <a:avLst/>
            <a:gdLst>
              <a:gd name="T0" fmla="*/ 240 w 412"/>
              <a:gd name="T1" fmla="*/ 238 h 408"/>
              <a:gd name="T2" fmla="*/ 312 w 412"/>
              <a:gd name="T3" fmla="*/ 318 h 408"/>
              <a:gd name="T4" fmla="*/ 374 w 412"/>
              <a:gd name="T5" fmla="*/ 408 h 408"/>
              <a:gd name="T6" fmla="*/ 348 w 412"/>
              <a:gd name="T7" fmla="*/ 408 h 408"/>
              <a:gd name="T8" fmla="*/ 300 w 412"/>
              <a:gd name="T9" fmla="*/ 408 h 408"/>
              <a:gd name="T10" fmla="*/ 256 w 412"/>
              <a:gd name="T11" fmla="*/ 402 h 408"/>
              <a:gd name="T12" fmla="*/ 216 w 412"/>
              <a:gd name="T13" fmla="*/ 392 h 408"/>
              <a:gd name="T14" fmla="*/ 178 w 412"/>
              <a:gd name="T15" fmla="*/ 378 h 408"/>
              <a:gd name="T16" fmla="*/ 144 w 412"/>
              <a:gd name="T17" fmla="*/ 358 h 408"/>
              <a:gd name="T18" fmla="*/ 112 w 412"/>
              <a:gd name="T19" fmla="*/ 336 h 408"/>
              <a:gd name="T20" fmla="*/ 74 w 412"/>
              <a:gd name="T21" fmla="*/ 296 h 408"/>
              <a:gd name="T22" fmla="*/ 34 w 412"/>
              <a:gd name="T23" fmla="*/ 234 h 408"/>
              <a:gd name="T24" fmla="*/ 10 w 412"/>
              <a:gd name="T25" fmla="*/ 162 h 408"/>
              <a:gd name="T26" fmla="*/ 0 w 412"/>
              <a:gd name="T27" fmla="*/ 84 h 408"/>
              <a:gd name="T28" fmla="*/ 8 w 412"/>
              <a:gd name="T29" fmla="*/ 0 h 408"/>
              <a:gd name="T30" fmla="*/ 20 w 412"/>
              <a:gd name="T31" fmla="*/ 18 h 408"/>
              <a:gd name="T32" fmla="*/ 50 w 412"/>
              <a:gd name="T33" fmla="*/ 46 h 408"/>
              <a:gd name="T34" fmla="*/ 86 w 412"/>
              <a:gd name="T35" fmla="*/ 66 h 408"/>
              <a:gd name="T36" fmla="*/ 142 w 412"/>
              <a:gd name="T37" fmla="*/ 90 h 408"/>
              <a:gd name="T38" fmla="*/ 192 w 412"/>
              <a:gd name="T39" fmla="*/ 110 h 408"/>
              <a:gd name="T40" fmla="*/ 242 w 412"/>
              <a:gd name="T41" fmla="*/ 126 h 408"/>
              <a:gd name="T42" fmla="*/ 264 w 412"/>
              <a:gd name="T43" fmla="*/ 134 h 408"/>
              <a:gd name="T44" fmla="*/ 304 w 412"/>
              <a:gd name="T45" fmla="*/ 152 h 408"/>
              <a:gd name="T46" fmla="*/ 336 w 412"/>
              <a:gd name="T47" fmla="*/ 176 h 408"/>
              <a:gd name="T48" fmla="*/ 362 w 412"/>
              <a:gd name="T49" fmla="*/ 204 h 408"/>
              <a:gd name="T50" fmla="*/ 382 w 412"/>
              <a:gd name="T51" fmla="*/ 238 h 408"/>
              <a:gd name="T52" fmla="*/ 396 w 412"/>
              <a:gd name="T53" fmla="*/ 274 h 408"/>
              <a:gd name="T54" fmla="*/ 406 w 412"/>
              <a:gd name="T55" fmla="*/ 314 h 408"/>
              <a:gd name="T56" fmla="*/ 412 w 412"/>
              <a:gd name="T57" fmla="*/ 380 h 408"/>
              <a:gd name="T58" fmla="*/ 412 w 412"/>
              <a:gd name="T59" fmla="*/ 388 h 408"/>
              <a:gd name="T60" fmla="*/ 410 w 412"/>
              <a:gd name="T61" fmla="*/ 400 h 408"/>
              <a:gd name="T62" fmla="*/ 402 w 412"/>
              <a:gd name="T63" fmla="*/ 406 h 408"/>
              <a:gd name="T64" fmla="*/ 394 w 412"/>
              <a:gd name="T65" fmla="*/ 406 h 408"/>
              <a:gd name="T66" fmla="*/ 400 w 412"/>
              <a:gd name="T67" fmla="*/ 404 h 408"/>
              <a:gd name="T68" fmla="*/ 396 w 412"/>
              <a:gd name="T69" fmla="*/ 394 h 408"/>
              <a:gd name="T70" fmla="*/ 364 w 412"/>
              <a:gd name="T71" fmla="*/ 350 h 408"/>
              <a:gd name="T72" fmla="*/ 310 w 412"/>
              <a:gd name="T73" fmla="*/ 288 h 408"/>
              <a:gd name="T74" fmla="*/ 272 w 412"/>
              <a:gd name="T75" fmla="*/ 248 h 408"/>
              <a:gd name="T76" fmla="*/ 250 w 412"/>
              <a:gd name="T77" fmla="*/ 230 h 408"/>
              <a:gd name="T78" fmla="*/ 230 w 412"/>
              <a:gd name="T79" fmla="*/ 218 h 408"/>
              <a:gd name="T80" fmla="*/ 218 w 412"/>
              <a:gd name="T81" fmla="*/ 204 h 408"/>
              <a:gd name="T82" fmla="*/ 210 w 412"/>
              <a:gd name="T83" fmla="*/ 200 h 408"/>
              <a:gd name="T84" fmla="*/ 206 w 412"/>
              <a:gd name="T85" fmla="*/ 202 h 408"/>
              <a:gd name="T86" fmla="*/ 208 w 412"/>
              <a:gd name="T87" fmla="*/ 208 h 408"/>
              <a:gd name="T88" fmla="*/ 214 w 412"/>
              <a:gd name="T89" fmla="*/ 210 h 408"/>
              <a:gd name="T90" fmla="*/ 224 w 412"/>
              <a:gd name="T91" fmla="*/ 222 h 408"/>
              <a:gd name="T92" fmla="*/ 240 w 412"/>
              <a:gd name="T93" fmla="*/ 238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12" h="408">
                <a:moveTo>
                  <a:pt x="240" y="238"/>
                </a:moveTo>
                <a:lnTo>
                  <a:pt x="240" y="238"/>
                </a:lnTo>
                <a:lnTo>
                  <a:pt x="278" y="278"/>
                </a:lnTo>
                <a:lnTo>
                  <a:pt x="312" y="318"/>
                </a:lnTo>
                <a:lnTo>
                  <a:pt x="344" y="362"/>
                </a:lnTo>
                <a:lnTo>
                  <a:pt x="374" y="408"/>
                </a:lnTo>
                <a:lnTo>
                  <a:pt x="374" y="408"/>
                </a:lnTo>
                <a:lnTo>
                  <a:pt x="348" y="408"/>
                </a:lnTo>
                <a:lnTo>
                  <a:pt x="324" y="408"/>
                </a:lnTo>
                <a:lnTo>
                  <a:pt x="300" y="408"/>
                </a:lnTo>
                <a:lnTo>
                  <a:pt x="278" y="406"/>
                </a:lnTo>
                <a:lnTo>
                  <a:pt x="256" y="402"/>
                </a:lnTo>
                <a:lnTo>
                  <a:pt x="236" y="398"/>
                </a:lnTo>
                <a:lnTo>
                  <a:pt x="216" y="392"/>
                </a:lnTo>
                <a:lnTo>
                  <a:pt x="196" y="386"/>
                </a:lnTo>
                <a:lnTo>
                  <a:pt x="178" y="378"/>
                </a:lnTo>
                <a:lnTo>
                  <a:pt x="160" y="368"/>
                </a:lnTo>
                <a:lnTo>
                  <a:pt x="144" y="358"/>
                </a:lnTo>
                <a:lnTo>
                  <a:pt x="128" y="348"/>
                </a:lnTo>
                <a:lnTo>
                  <a:pt x="112" y="336"/>
                </a:lnTo>
                <a:lnTo>
                  <a:pt x="98" y="324"/>
                </a:lnTo>
                <a:lnTo>
                  <a:pt x="74" y="296"/>
                </a:lnTo>
                <a:lnTo>
                  <a:pt x="52" y="266"/>
                </a:lnTo>
                <a:lnTo>
                  <a:pt x="34" y="234"/>
                </a:lnTo>
                <a:lnTo>
                  <a:pt x="20" y="198"/>
                </a:lnTo>
                <a:lnTo>
                  <a:pt x="10" y="162"/>
                </a:lnTo>
                <a:lnTo>
                  <a:pt x="2" y="124"/>
                </a:lnTo>
                <a:lnTo>
                  <a:pt x="0" y="84"/>
                </a:lnTo>
                <a:lnTo>
                  <a:pt x="2" y="42"/>
                </a:lnTo>
                <a:lnTo>
                  <a:pt x="8" y="0"/>
                </a:lnTo>
                <a:lnTo>
                  <a:pt x="8" y="0"/>
                </a:lnTo>
                <a:lnTo>
                  <a:pt x="20" y="18"/>
                </a:lnTo>
                <a:lnTo>
                  <a:pt x="34" y="34"/>
                </a:lnTo>
                <a:lnTo>
                  <a:pt x="50" y="46"/>
                </a:lnTo>
                <a:lnTo>
                  <a:pt x="68" y="58"/>
                </a:lnTo>
                <a:lnTo>
                  <a:pt x="86" y="66"/>
                </a:lnTo>
                <a:lnTo>
                  <a:pt x="104" y="76"/>
                </a:lnTo>
                <a:lnTo>
                  <a:pt x="142" y="90"/>
                </a:lnTo>
                <a:lnTo>
                  <a:pt x="142" y="90"/>
                </a:lnTo>
                <a:lnTo>
                  <a:pt x="192" y="110"/>
                </a:lnTo>
                <a:lnTo>
                  <a:pt x="216" y="120"/>
                </a:lnTo>
                <a:lnTo>
                  <a:pt x="242" y="126"/>
                </a:lnTo>
                <a:lnTo>
                  <a:pt x="242" y="126"/>
                </a:lnTo>
                <a:lnTo>
                  <a:pt x="264" y="134"/>
                </a:lnTo>
                <a:lnTo>
                  <a:pt x="286" y="142"/>
                </a:lnTo>
                <a:lnTo>
                  <a:pt x="304" y="152"/>
                </a:lnTo>
                <a:lnTo>
                  <a:pt x="320" y="164"/>
                </a:lnTo>
                <a:lnTo>
                  <a:pt x="336" y="176"/>
                </a:lnTo>
                <a:lnTo>
                  <a:pt x="350" y="190"/>
                </a:lnTo>
                <a:lnTo>
                  <a:pt x="362" y="204"/>
                </a:lnTo>
                <a:lnTo>
                  <a:pt x="372" y="220"/>
                </a:lnTo>
                <a:lnTo>
                  <a:pt x="382" y="238"/>
                </a:lnTo>
                <a:lnTo>
                  <a:pt x="390" y="256"/>
                </a:lnTo>
                <a:lnTo>
                  <a:pt x="396" y="274"/>
                </a:lnTo>
                <a:lnTo>
                  <a:pt x="402" y="294"/>
                </a:lnTo>
                <a:lnTo>
                  <a:pt x="406" y="314"/>
                </a:lnTo>
                <a:lnTo>
                  <a:pt x="410" y="336"/>
                </a:lnTo>
                <a:lnTo>
                  <a:pt x="412" y="380"/>
                </a:lnTo>
                <a:lnTo>
                  <a:pt x="412" y="380"/>
                </a:lnTo>
                <a:lnTo>
                  <a:pt x="412" y="388"/>
                </a:lnTo>
                <a:lnTo>
                  <a:pt x="412" y="398"/>
                </a:lnTo>
                <a:lnTo>
                  <a:pt x="410" y="400"/>
                </a:lnTo>
                <a:lnTo>
                  <a:pt x="406" y="404"/>
                </a:lnTo>
                <a:lnTo>
                  <a:pt x="402" y="406"/>
                </a:lnTo>
                <a:lnTo>
                  <a:pt x="396" y="406"/>
                </a:lnTo>
                <a:lnTo>
                  <a:pt x="394" y="406"/>
                </a:lnTo>
                <a:lnTo>
                  <a:pt x="394" y="406"/>
                </a:lnTo>
                <a:lnTo>
                  <a:pt x="400" y="404"/>
                </a:lnTo>
                <a:lnTo>
                  <a:pt x="400" y="400"/>
                </a:lnTo>
                <a:lnTo>
                  <a:pt x="396" y="394"/>
                </a:lnTo>
                <a:lnTo>
                  <a:pt x="396" y="394"/>
                </a:lnTo>
                <a:lnTo>
                  <a:pt x="364" y="350"/>
                </a:lnTo>
                <a:lnTo>
                  <a:pt x="328" y="308"/>
                </a:lnTo>
                <a:lnTo>
                  <a:pt x="310" y="288"/>
                </a:lnTo>
                <a:lnTo>
                  <a:pt x="292" y="268"/>
                </a:lnTo>
                <a:lnTo>
                  <a:pt x="272" y="248"/>
                </a:lnTo>
                <a:lnTo>
                  <a:pt x="250" y="230"/>
                </a:lnTo>
                <a:lnTo>
                  <a:pt x="250" y="230"/>
                </a:lnTo>
                <a:lnTo>
                  <a:pt x="230" y="218"/>
                </a:lnTo>
                <a:lnTo>
                  <a:pt x="230" y="218"/>
                </a:lnTo>
                <a:lnTo>
                  <a:pt x="218" y="204"/>
                </a:lnTo>
                <a:lnTo>
                  <a:pt x="218" y="204"/>
                </a:lnTo>
                <a:lnTo>
                  <a:pt x="212" y="200"/>
                </a:lnTo>
                <a:lnTo>
                  <a:pt x="210" y="200"/>
                </a:lnTo>
                <a:lnTo>
                  <a:pt x="206" y="202"/>
                </a:lnTo>
                <a:lnTo>
                  <a:pt x="206" y="202"/>
                </a:lnTo>
                <a:lnTo>
                  <a:pt x="206" y="206"/>
                </a:lnTo>
                <a:lnTo>
                  <a:pt x="208" y="208"/>
                </a:lnTo>
                <a:lnTo>
                  <a:pt x="214" y="210"/>
                </a:lnTo>
                <a:lnTo>
                  <a:pt x="214" y="210"/>
                </a:lnTo>
                <a:lnTo>
                  <a:pt x="224" y="222"/>
                </a:lnTo>
                <a:lnTo>
                  <a:pt x="224" y="222"/>
                </a:lnTo>
                <a:lnTo>
                  <a:pt x="240" y="238"/>
                </a:lnTo>
                <a:lnTo>
                  <a:pt x="240" y="23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solidFill>
                <a:schemeClr val="accent1"/>
              </a:solidFill>
              <a:latin typeface="Montserrat" panose="00000500000000000000"/>
              <a:cs typeface="Arial" panose="020B0604020202020204" pitchFamily="34" charset="0"/>
            </a:endParaRPr>
          </a:p>
        </p:txBody>
      </p:sp>
      <p:sp>
        <p:nvSpPr>
          <p:cNvPr id="44" name="Freeform 8"/>
          <p:cNvSpPr>
            <a:spLocks noEditPoints="1"/>
          </p:cNvSpPr>
          <p:nvPr/>
        </p:nvSpPr>
        <p:spPr bwMode="auto">
          <a:xfrm>
            <a:off x="4640223" y="4400219"/>
            <a:ext cx="72964" cy="82857"/>
          </a:xfrm>
          <a:custGeom>
            <a:avLst/>
            <a:gdLst>
              <a:gd name="T0" fmla="*/ 230 w 236"/>
              <a:gd name="T1" fmla="*/ 0 h 268"/>
              <a:gd name="T2" fmla="*/ 236 w 236"/>
              <a:gd name="T3" fmla="*/ 54 h 268"/>
              <a:gd name="T4" fmla="*/ 234 w 236"/>
              <a:gd name="T5" fmla="*/ 102 h 268"/>
              <a:gd name="T6" fmla="*/ 224 w 236"/>
              <a:gd name="T7" fmla="*/ 144 h 268"/>
              <a:gd name="T8" fmla="*/ 206 w 236"/>
              <a:gd name="T9" fmla="*/ 180 h 268"/>
              <a:gd name="T10" fmla="*/ 178 w 236"/>
              <a:gd name="T11" fmla="*/ 210 h 268"/>
              <a:gd name="T12" fmla="*/ 144 w 236"/>
              <a:gd name="T13" fmla="*/ 236 h 268"/>
              <a:gd name="T14" fmla="*/ 102 w 236"/>
              <a:gd name="T15" fmla="*/ 254 h 268"/>
              <a:gd name="T16" fmla="*/ 52 w 236"/>
              <a:gd name="T17" fmla="*/ 266 h 268"/>
              <a:gd name="T18" fmla="*/ 38 w 236"/>
              <a:gd name="T19" fmla="*/ 268 h 268"/>
              <a:gd name="T20" fmla="*/ 16 w 236"/>
              <a:gd name="T21" fmla="*/ 268 h 268"/>
              <a:gd name="T22" fmla="*/ 4 w 236"/>
              <a:gd name="T23" fmla="*/ 258 h 268"/>
              <a:gd name="T24" fmla="*/ 0 w 236"/>
              <a:gd name="T25" fmla="*/ 238 h 268"/>
              <a:gd name="T26" fmla="*/ 0 w 236"/>
              <a:gd name="T27" fmla="*/ 224 h 268"/>
              <a:gd name="T28" fmla="*/ 6 w 236"/>
              <a:gd name="T29" fmla="*/ 178 h 268"/>
              <a:gd name="T30" fmla="*/ 22 w 236"/>
              <a:gd name="T31" fmla="*/ 142 h 268"/>
              <a:gd name="T32" fmla="*/ 50 w 236"/>
              <a:gd name="T33" fmla="*/ 110 h 268"/>
              <a:gd name="T34" fmla="*/ 90 w 236"/>
              <a:gd name="T35" fmla="*/ 88 h 268"/>
              <a:gd name="T36" fmla="*/ 128 w 236"/>
              <a:gd name="T37" fmla="*/ 72 h 268"/>
              <a:gd name="T38" fmla="*/ 184 w 236"/>
              <a:gd name="T39" fmla="*/ 44 h 268"/>
              <a:gd name="T40" fmla="*/ 216 w 236"/>
              <a:gd name="T41" fmla="*/ 18 h 268"/>
              <a:gd name="T42" fmla="*/ 230 w 236"/>
              <a:gd name="T43" fmla="*/ 0 h 268"/>
              <a:gd name="T44" fmla="*/ 82 w 236"/>
              <a:gd name="T45" fmla="*/ 164 h 268"/>
              <a:gd name="T46" fmla="*/ 68 w 236"/>
              <a:gd name="T47" fmla="*/ 176 h 268"/>
              <a:gd name="T48" fmla="*/ 64 w 236"/>
              <a:gd name="T49" fmla="*/ 184 h 268"/>
              <a:gd name="T50" fmla="*/ 66 w 236"/>
              <a:gd name="T51" fmla="*/ 188 h 268"/>
              <a:gd name="T52" fmla="*/ 72 w 236"/>
              <a:gd name="T53" fmla="*/ 188 h 268"/>
              <a:gd name="T54" fmla="*/ 74 w 236"/>
              <a:gd name="T55" fmla="*/ 182 h 268"/>
              <a:gd name="T56" fmla="*/ 86 w 236"/>
              <a:gd name="T57" fmla="*/ 168 h 268"/>
              <a:gd name="T58" fmla="*/ 90 w 236"/>
              <a:gd name="T59" fmla="*/ 160 h 268"/>
              <a:gd name="T60" fmla="*/ 88 w 236"/>
              <a:gd name="T61" fmla="*/ 156 h 268"/>
              <a:gd name="T62" fmla="*/ 82 w 236"/>
              <a:gd name="T63" fmla="*/ 164 h 268"/>
              <a:gd name="T64" fmla="*/ 10 w 236"/>
              <a:gd name="T65" fmla="*/ 268 h 268"/>
              <a:gd name="T66" fmla="*/ 28 w 236"/>
              <a:gd name="T67" fmla="*/ 254 h 268"/>
              <a:gd name="T68" fmla="*/ 38 w 236"/>
              <a:gd name="T69" fmla="*/ 240 h 268"/>
              <a:gd name="T70" fmla="*/ 50 w 236"/>
              <a:gd name="T71" fmla="*/ 212 h 268"/>
              <a:gd name="T72" fmla="*/ 38 w 236"/>
              <a:gd name="T73" fmla="*/ 222 h 268"/>
              <a:gd name="T74" fmla="*/ 18 w 236"/>
              <a:gd name="T75" fmla="*/ 248 h 268"/>
              <a:gd name="T76" fmla="*/ 10 w 236"/>
              <a:gd name="T77" fmla="*/ 268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36" h="268">
                <a:moveTo>
                  <a:pt x="230" y="0"/>
                </a:moveTo>
                <a:lnTo>
                  <a:pt x="230" y="0"/>
                </a:lnTo>
                <a:lnTo>
                  <a:pt x="234" y="28"/>
                </a:lnTo>
                <a:lnTo>
                  <a:pt x="236" y="54"/>
                </a:lnTo>
                <a:lnTo>
                  <a:pt x="236" y="78"/>
                </a:lnTo>
                <a:lnTo>
                  <a:pt x="234" y="102"/>
                </a:lnTo>
                <a:lnTo>
                  <a:pt x="230" y="122"/>
                </a:lnTo>
                <a:lnTo>
                  <a:pt x="224" y="144"/>
                </a:lnTo>
                <a:lnTo>
                  <a:pt x="216" y="162"/>
                </a:lnTo>
                <a:lnTo>
                  <a:pt x="206" y="180"/>
                </a:lnTo>
                <a:lnTo>
                  <a:pt x="192" y="196"/>
                </a:lnTo>
                <a:lnTo>
                  <a:pt x="178" y="210"/>
                </a:lnTo>
                <a:lnTo>
                  <a:pt x="162" y="224"/>
                </a:lnTo>
                <a:lnTo>
                  <a:pt x="144" y="236"/>
                </a:lnTo>
                <a:lnTo>
                  <a:pt x="124" y="246"/>
                </a:lnTo>
                <a:lnTo>
                  <a:pt x="102" y="254"/>
                </a:lnTo>
                <a:lnTo>
                  <a:pt x="78" y="260"/>
                </a:lnTo>
                <a:lnTo>
                  <a:pt x="52" y="266"/>
                </a:lnTo>
                <a:lnTo>
                  <a:pt x="52" y="266"/>
                </a:lnTo>
                <a:lnTo>
                  <a:pt x="38" y="268"/>
                </a:lnTo>
                <a:lnTo>
                  <a:pt x="26" y="268"/>
                </a:lnTo>
                <a:lnTo>
                  <a:pt x="16" y="268"/>
                </a:lnTo>
                <a:lnTo>
                  <a:pt x="10" y="264"/>
                </a:lnTo>
                <a:lnTo>
                  <a:pt x="4" y="258"/>
                </a:lnTo>
                <a:lnTo>
                  <a:pt x="2" y="250"/>
                </a:lnTo>
                <a:lnTo>
                  <a:pt x="0" y="238"/>
                </a:lnTo>
                <a:lnTo>
                  <a:pt x="0" y="224"/>
                </a:lnTo>
                <a:lnTo>
                  <a:pt x="0" y="224"/>
                </a:lnTo>
                <a:lnTo>
                  <a:pt x="2" y="200"/>
                </a:lnTo>
                <a:lnTo>
                  <a:pt x="6" y="178"/>
                </a:lnTo>
                <a:lnTo>
                  <a:pt x="12" y="160"/>
                </a:lnTo>
                <a:lnTo>
                  <a:pt x="22" y="142"/>
                </a:lnTo>
                <a:lnTo>
                  <a:pt x="34" y="124"/>
                </a:lnTo>
                <a:lnTo>
                  <a:pt x="50" y="110"/>
                </a:lnTo>
                <a:lnTo>
                  <a:pt x="68" y="98"/>
                </a:lnTo>
                <a:lnTo>
                  <a:pt x="90" y="88"/>
                </a:lnTo>
                <a:lnTo>
                  <a:pt x="90" y="88"/>
                </a:lnTo>
                <a:lnTo>
                  <a:pt x="128" y="72"/>
                </a:lnTo>
                <a:lnTo>
                  <a:pt x="166" y="54"/>
                </a:lnTo>
                <a:lnTo>
                  <a:pt x="184" y="44"/>
                </a:lnTo>
                <a:lnTo>
                  <a:pt x="200" y="32"/>
                </a:lnTo>
                <a:lnTo>
                  <a:pt x="216" y="18"/>
                </a:lnTo>
                <a:lnTo>
                  <a:pt x="230" y="0"/>
                </a:lnTo>
                <a:lnTo>
                  <a:pt x="230" y="0"/>
                </a:lnTo>
                <a:close/>
                <a:moveTo>
                  <a:pt x="82" y="164"/>
                </a:moveTo>
                <a:lnTo>
                  <a:pt x="82" y="164"/>
                </a:lnTo>
                <a:lnTo>
                  <a:pt x="68" y="176"/>
                </a:lnTo>
                <a:lnTo>
                  <a:pt x="68" y="176"/>
                </a:lnTo>
                <a:lnTo>
                  <a:pt x="64" y="182"/>
                </a:lnTo>
                <a:lnTo>
                  <a:pt x="64" y="184"/>
                </a:lnTo>
                <a:lnTo>
                  <a:pt x="66" y="188"/>
                </a:lnTo>
                <a:lnTo>
                  <a:pt x="66" y="188"/>
                </a:lnTo>
                <a:lnTo>
                  <a:pt x="70" y="188"/>
                </a:lnTo>
                <a:lnTo>
                  <a:pt x="72" y="188"/>
                </a:lnTo>
                <a:lnTo>
                  <a:pt x="74" y="182"/>
                </a:lnTo>
                <a:lnTo>
                  <a:pt x="74" y="182"/>
                </a:lnTo>
                <a:lnTo>
                  <a:pt x="86" y="168"/>
                </a:lnTo>
                <a:lnTo>
                  <a:pt x="86" y="168"/>
                </a:lnTo>
                <a:lnTo>
                  <a:pt x="90" y="162"/>
                </a:lnTo>
                <a:lnTo>
                  <a:pt x="90" y="160"/>
                </a:lnTo>
                <a:lnTo>
                  <a:pt x="88" y="156"/>
                </a:lnTo>
                <a:lnTo>
                  <a:pt x="88" y="156"/>
                </a:lnTo>
                <a:lnTo>
                  <a:pt x="82" y="164"/>
                </a:lnTo>
                <a:lnTo>
                  <a:pt x="82" y="164"/>
                </a:lnTo>
                <a:close/>
                <a:moveTo>
                  <a:pt x="10" y="268"/>
                </a:moveTo>
                <a:lnTo>
                  <a:pt x="10" y="268"/>
                </a:lnTo>
                <a:lnTo>
                  <a:pt x="20" y="262"/>
                </a:lnTo>
                <a:lnTo>
                  <a:pt x="28" y="254"/>
                </a:lnTo>
                <a:lnTo>
                  <a:pt x="34" y="248"/>
                </a:lnTo>
                <a:lnTo>
                  <a:pt x="38" y="240"/>
                </a:lnTo>
                <a:lnTo>
                  <a:pt x="44" y="226"/>
                </a:lnTo>
                <a:lnTo>
                  <a:pt x="50" y="212"/>
                </a:lnTo>
                <a:lnTo>
                  <a:pt x="50" y="212"/>
                </a:lnTo>
                <a:lnTo>
                  <a:pt x="38" y="222"/>
                </a:lnTo>
                <a:lnTo>
                  <a:pt x="26" y="234"/>
                </a:lnTo>
                <a:lnTo>
                  <a:pt x="18" y="248"/>
                </a:lnTo>
                <a:lnTo>
                  <a:pt x="10" y="268"/>
                </a:lnTo>
                <a:lnTo>
                  <a:pt x="10" y="26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solidFill>
                <a:schemeClr val="accent1"/>
              </a:solidFill>
              <a:latin typeface="Montserrat" panose="00000500000000000000"/>
              <a:cs typeface="Arial" panose="020B0604020202020204" pitchFamily="34" charset="0"/>
            </a:endParaRPr>
          </a:p>
        </p:txBody>
      </p:sp>
      <p:sp>
        <p:nvSpPr>
          <p:cNvPr id="45" name="Freeform 9"/>
          <p:cNvSpPr>
            <a:spLocks/>
          </p:cNvSpPr>
          <p:nvPr/>
        </p:nvSpPr>
        <p:spPr bwMode="auto">
          <a:xfrm>
            <a:off x="4629711" y="4476893"/>
            <a:ext cx="14222" cy="61216"/>
          </a:xfrm>
          <a:custGeom>
            <a:avLst/>
            <a:gdLst>
              <a:gd name="T0" fmla="*/ 2 w 46"/>
              <a:gd name="T1" fmla="*/ 0 h 198"/>
              <a:gd name="T2" fmla="*/ 2 w 46"/>
              <a:gd name="T3" fmla="*/ 0 h 198"/>
              <a:gd name="T4" fmla="*/ 0 w 46"/>
              <a:gd name="T5" fmla="*/ 8 h 198"/>
              <a:gd name="T6" fmla="*/ 2 w 46"/>
              <a:gd name="T7" fmla="*/ 16 h 198"/>
              <a:gd name="T8" fmla="*/ 6 w 46"/>
              <a:gd name="T9" fmla="*/ 24 h 198"/>
              <a:gd name="T10" fmla="*/ 10 w 46"/>
              <a:gd name="T11" fmla="*/ 30 h 198"/>
              <a:gd name="T12" fmla="*/ 18 w 46"/>
              <a:gd name="T13" fmla="*/ 42 h 198"/>
              <a:gd name="T14" fmla="*/ 20 w 46"/>
              <a:gd name="T15" fmla="*/ 50 h 198"/>
              <a:gd name="T16" fmla="*/ 22 w 46"/>
              <a:gd name="T17" fmla="*/ 56 h 198"/>
              <a:gd name="T18" fmla="*/ 22 w 46"/>
              <a:gd name="T19" fmla="*/ 56 h 198"/>
              <a:gd name="T20" fmla="*/ 28 w 46"/>
              <a:gd name="T21" fmla="*/ 58 h 198"/>
              <a:gd name="T22" fmla="*/ 34 w 46"/>
              <a:gd name="T23" fmla="*/ 56 h 198"/>
              <a:gd name="T24" fmla="*/ 36 w 46"/>
              <a:gd name="T25" fmla="*/ 52 h 198"/>
              <a:gd name="T26" fmla="*/ 40 w 46"/>
              <a:gd name="T27" fmla="*/ 48 h 198"/>
              <a:gd name="T28" fmla="*/ 40 w 46"/>
              <a:gd name="T29" fmla="*/ 48 h 198"/>
              <a:gd name="T30" fmla="*/ 36 w 46"/>
              <a:gd name="T31" fmla="*/ 66 h 198"/>
              <a:gd name="T32" fmla="*/ 34 w 46"/>
              <a:gd name="T33" fmla="*/ 86 h 198"/>
              <a:gd name="T34" fmla="*/ 36 w 46"/>
              <a:gd name="T35" fmla="*/ 104 h 198"/>
              <a:gd name="T36" fmla="*/ 38 w 46"/>
              <a:gd name="T37" fmla="*/ 122 h 198"/>
              <a:gd name="T38" fmla="*/ 44 w 46"/>
              <a:gd name="T39" fmla="*/ 156 h 198"/>
              <a:gd name="T40" fmla="*/ 46 w 46"/>
              <a:gd name="T41" fmla="*/ 174 h 198"/>
              <a:gd name="T42" fmla="*/ 46 w 46"/>
              <a:gd name="T43" fmla="*/ 192 h 198"/>
              <a:gd name="T44" fmla="*/ 46 w 46"/>
              <a:gd name="T45" fmla="*/ 192 h 198"/>
              <a:gd name="T46" fmla="*/ 38 w 46"/>
              <a:gd name="T47" fmla="*/ 198 h 198"/>
              <a:gd name="T48" fmla="*/ 30 w 46"/>
              <a:gd name="T49" fmla="*/ 198 h 198"/>
              <a:gd name="T50" fmla="*/ 10 w 46"/>
              <a:gd name="T51" fmla="*/ 194 h 198"/>
              <a:gd name="T52" fmla="*/ 10 w 46"/>
              <a:gd name="T53" fmla="*/ 194 h 198"/>
              <a:gd name="T54" fmla="*/ 14 w 46"/>
              <a:gd name="T55" fmla="*/ 146 h 198"/>
              <a:gd name="T56" fmla="*/ 12 w 46"/>
              <a:gd name="T57" fmla="*/ 98 h 198"/>
              <a:gd name="T58" fmla="*/ 8 w 46"/>
              <a:gd name="T59" fmla="*/ 48 h 198"/>
              <a:gd name="T60" fmla="*/ 0 w 46"/>
              <a:gd name="T61" fmla="*/ 0 h 198"/>
              <a:gd name="T62" fmla="*/ 0 w 46"/>
              <a:gd name="T63" fmla="*/ 0 h 198"/>
              <a:gd name="T64" fmla="*/ 2 w 46"/>
              <a:gd name="T65" fmla="*/ 0 h 198"/>
              <a:gd name="T66" fmla="*/ 2 w 46"/>
              <a:gd name="T67"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6" h="198">
                <a:moveTo>
                  <a:pt x="2" y="0"/>
                </a:moveTo>
                <a:lnTo>
                  <a:pt x="2" y="0"/>
                </a:lnTo>
                <a:lnTo>
                  <a:pt x="0" y="8"/>
                </a:lnTo>
                <a:lnTo>
                  <a:pt x="2" y="16"/>
                </a:lnTo>
                <a:lnTo>
                  <a:pt x="6" y="24"/>
                </a:lnTo>
                <a:lnTo>
                  <a:pt x="10" y="30"/>
                </a:lnTo>
                <a:lnTo>
                  <a:pt x="18" y="42"/>
                </a:lnTo>
                <a:lnTo>
                  <a:pt x="20" y="50"/>
                </a:lnTo>
                <a:lnTo>
                  <a:pt x="22" y="56"/>
                </a:lnTo>
                <a:lnTo>
                  <a:pt x="22" y="56"/>
                </a:lnTo>
                <a:lnTo>
                  <a:pt x="28" y="58"/>
                </a:lnTo>
                <a:lnTo>
                  <a:pt x="34" y="56"/>
                </a:lnTo>
                <a:lnTo>
                  <a:pt x="36" y="52"/>
                </a:lnTo>
                <a:lnTo>
                  <a:pt x="40" y="48"/>
                </a:lnTo>
                <a:lnTo>
                  <a:pt x="40" y="48"/>
                </a:lnTo>
                <a:lnTo>
                  <a:pt x="36" y="66"/>
                </a:lnTo>
                <a:lnTo>
                  <a:pt x="34" y="86"/>
                </a:lnTo>
                <a:lnTo>
                  <a:pt x="36" y="104"/>
                </a:lnTo>
                <a:lnTo>
                  <a:pt x="38" y="122"/>
                </a:lnTo>
                <a:lnTo>
                  <a:pt x="44" y="156"/>
                </a:lnTo>
                <a:lnTo>
                  <a:pt x="46" y="174"/>
                </a:lnTo>
                <a:lnTo>
                  <a:pt x="46" y="192"/>
                </a:lnTo>
                <a:lnTo>
                  <a:pt x="46" y="192"/>
                </a:lnTo>
                <a:lnTo>
                  <a:pt x="38" y="198"/>
                </a:lnTo>
                <a:lnTo>
                  <a:pt x="30" y="198"/>
                </a:lnTo>
                <a:lnTo>
                  <a:pt x="10" y="194"/>
                </a:lnTo>
                <a:lnTo>
                  <a:pt x="10" y="194"/>
                </a:lnTo>
                <a:lnTo>
                  <a:pt x="14" y="146"/>
                </a:lnTo>
                <a:lnTo>
                  <a:pt x="12" y="98"/>
                </a:lnTo>
                <a:lnTo>
                  <a:pt x="8" y="48"/>
                </a:lnTo>
                <a:lnTo>
                  <a:pt x="0" y="0"/>
                </a:lnTo>
                <a:lnTo>
                  <a:pt x="0" y="0"/>
                </a:lnTo>
                <a:lnTo>
                  <a:pt x="2" y="0"/>
                </a:lnTo>
                <a:lnTo>
                  <a:pt x="2"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solidFill>
                <a:schemeClr val="accent1"/>
              </a:solidFill>
              <a:latin typeface="Montserrat" panose="00000500000000000000"/>
              <a:cs typeface="Arial" panose="020B0604020202020204" pitchFamily="34" charset="0"/>
            </a:endParaRPr>
          </a:p>
        </p:txBody>
      </p:sp>
      <p:sp>
        <p:nvSpPr>
          <p:cNvPr id="46" name="Rectangle 45"/>
          <p:cNvSpPr/>
          <p:nvPr/>
        </p:nvSpPr>
        <p:spPr>
          <a:xfrm>
            <a:off x="5464754" y="2623645"/>
            <a:ext cx="1409857" cy="4473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22363" tIns="61181" rIns="122363" bIns="61181" rtlCol="0" anchor="ctr"/>
          <a:lstStyle/>
          <a:p>
            <a:pPr algn="ctr">
              <a:spcBef>
                <a:spcPts val="400"/>
              </a:spcBef>
              <a:spcAft>
                <a:spcPts val="400"/>
              </a:spcAft>
              <a:buClr>
                <a:schemeClr val="accent2"/>
              </a:buClr>
              <a:buSzPct val="120000"/>
            </a:pPr>
            <a:r>
              <a:rPr lang="en-US" sz="1400" b="1" dirty="0">
                <a:solidFill>
                  <a:schemeClr val="bg1"/>
                </a:solidFill>
                <a:latin typeface="Montserrat" panose="00000500000000000000"/>
                <a:ea typeface="Roboto" panose="02000000000000000000" pitchFamily="2" charset="0"/>
                <a:cs typeface="Arial" panose="020B0604020202020204" pitchFamily="34" charset="0"/>
              </a:rPr>
              <a:t>HYDMedia G4</a:t>
            </a:r>
          </a:p>
          <a:p>
            <a:pPr algn="ctr">
              <a:spcBef>
                <a:spcPts val="400"/>
              </a:spcBef>
              <a:spcAft>
                <a:spcPts val="400"/>
              </a:spcAft>
              <a:buClr>
                <a:schemeClr val="accent2"/>
              </a:buClr>
              <a:buSzPct val="120000"/>
            </a:pPr>
            <a:r>
              <a:rPr lang="en-US" sz="1400" b="1" dirty="0">
                <a:solidFill>
                  <a:schemeClr val="bg1"/>
                </a:solidFill>
                <a:latin typeface="Montserrat" panose="00000500000000000000"/>
                <a:ea typeface="Roboto" panose="02000000000000000000" pitchFamily="2" charset="0"/>
                <a:cs typeface="Arial" panose="020B0604020202020204" pitchFamily="34" charset="0"/>
              </a:rPr>
              <a:t>2002</a:t>
            </a:r>
          </a:p>
          <a:p>
            <a:pPr algn="ctr">
              <a:spcBef>
                <a:spcPts val="400"/>
              </a:spcBef>
              <a:spcAft>
                <a:spcPts val="400"/>
              </a:spcAft>
              <a:buClr>
                <a:schemeClr val="accent2"/>
              </a:buClr>
              <a:buSzPct val="120000"/>
            </a:pPr>
            <a:r>
              <a:rPr lang="en-US" sz="1400" b="1" dirty="0">
                <a:solidFill>
                  <a:schemeClr val="bg1"/>
                </a:solidFill>
                <a:latin typeface="Montserrat" panose="00000500000000000000"/>
                <a:ea typeface="Roboto" panose="02000000000000000000" pitchFamily="2" charset="0"/>
                <a:cs typeface="Arial" panose="020B0604020202020204" pitchFamily="34" charset="0"/>
              </a:rPr>
              <a:t>Scanning + HL7 + Web Client</a:t>
            </a:r>
          </a:p>
          <a:p>
            <a:pPr algn="ctr">
              <a:spcBef>
                <a:spcPts val="400"/>
              </a:spcBef>
              <a:spcAft>
                <a:spcPts val="400"/>
              </a:spcAft>
              <a:buClr>
                <a:schemeClr val="accent2"/>
              </a:buClr>
              <a:buSzPct val="120000"/>
            </a:pPr>
            <a:r>
              <a:rPr lang="en-US" sz="1400" b="1" dirty="0">
                <a:solidFill>
                  <a:schemeClr val="bg1"/>
                </a:solidFill>
                <a:latin typeface="Montserrat" panose="00000500000000000000"/>
                <a:ea typeface="Roboto" panose="02000000000000000000" pitchFamily="2" charset="0"/>
                <a:cs typeface="Arial" panose="020B0604020202020204" pitchFamily="34" charset="0"/>
              </a:rPr>
              <a:t>Market Leader in Germany</a:t>
            </a:r>
          </a:p>
          <a:p>
            <a:pPr algn="ctr">
              <a:spcBef>
                <a:spcPts val="400"/>
              </a:spcBef>
              <a:spcAft>
                <a:spcPts val="400"/>
              </a:spcAft>
              <a:buClr>
                <a:schemeClr val="accent2"/>
              </a:buClr>
              <a:buSzPct val="120000"/>
            </a:pPr>
            <a:r>
              <a:rPr lang="en-US" sz="1400" b="1" dirty="0">
                <a:solidFill>
                  <a:schemeClr val="bg1"/>
                </a:solidFill>
                <a:latin typeface="Montserrat" panose="00000500000000000000"/>
                <a:ea typeface="Roboto" panose="02000000000000000000" pitchFamily="2" charset="0"/>
                <a:cs typeface="Arial" panose="020B0604020202020204" pitchFamily="34" charset="0"/>
              </a:rPr>
              <a:t> </a:t>
            </a:r>
          </a:p>
          <a:p>
            <a:pPr algn="ctr">
              <a:spcBef>
                <a:spcPts val="400"/>
              </a:spcBef>
              <a:spcAft>
                <a:spcPts val="400"/>
              </a:spcAft>
              <a:buClr>
                <a:schemeClr val="accent2"/>
              </a:buClr>
              <a:buSzPct val="120000"/>
            </a:pPr>
            <a:endParaRPr lang="en-US" sz="1400" b="1" dirty="0">
              <a:solidFill>
                <a:schemeClr val="bg1"/>
              </a:solidFill>
              <a:latin typeface="Montserrat" panose="00000500000000000000"/>
              <a:ea typeface="Roboto" panose="02000000000000000000" pitchFamily="2" charset="0"/>
              <a:cs typeface="Arial" panose="020B0604020202020204" pitchFamily="34" charset="0"/>
            </a:endParaRPr>
          </a:p>
        </p:txBody>
      </p:sp>
      <p:sp>
        <p:nvSpPr>
          <p:cNvPr id="47" name="Oval 17"/>
          <p:cNvSpPr>
            <a:spLocks noChangeArrowheads="1"/>
          </p:cNvSpPr>
          <p:nvPr/>
        </p:nvSpPr>
        <p:spPr bwMode="auto">
          <a:xfrm>
            <a:off x="5764908" y="3671757"/>
            <a:ext cx="864939" cy="864939"/>
          </a:xfrm>
          <a:prstGeom prst="ellipse">
            <a:avLst/>
          </a:prstGeom>
          <a:solidFill>
            <a:srgbClr val="FFFFFF"/>
          </a:solidFill>
          <a:ln w="19050">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US" sz="1200">
              <a:solidFill>
                <a:schemeClr val="accent1"/>
              </a:solidFill>
              <a:latin typeface="Montserrat" panose="00000500000000000000"/>
            </a:endParaRPr>
          </a:p>
        </p:txBody>
      </p:sp>
      <p:sp>
        <p:nvSpPr>
          <p:cNvPr id="48" name="Oval 19"/>
          <p:cNvSpPr>
            <a:spLocks noChangeArrowheads="1"/>
          </p:cNvSpPr>
          <p:nvPr/>
        </p:nvSpPr>
        <p:spPr bwMode="auto">
          <a:xfrm>
            <a:off x="5856207" y="3763056"/>
            <a:ext cx="682341" cy="682341"/>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200">
              <a:solidFill>
                <a:schemeClr val="accent1"/>
              </a:solidFill>
              <a:latin typeface="Montserrat" panose="00000500000000000000"/>
            </a:endParaRPr>
          </a:p>
        </p:txBody>
      </p:sp>
      <p:sp>
        <p:nvSpPr>
          <p:cNvPr id="49" name="Freeform 16"/>
          <p:cNvSpPr>
            <a:spLocks noEditPoints="1"/>
          </p:cNvSpPr>
          <p:nvPr/>
        </p:nvSpPr>
        <p:spPr bwMode="auto">
          <a:xfrm>
            <a:off x="5958138" y="3869782"/>
            <a:ext cx="346165" cy="352989"/>
          </a:xfrm>
          <a:custGeom>
            <a:avLst/>
            <a:gdLst>
              <a:gd name="T0" fmla="*/ 8 w 1116"/>
              <a:gd name="T1" fmla="*/ 478 h 1138"/>
              <a:gd name="T2" fmla="*/ 112 w 1116"/>
              <a:gd name="T3" fmla="*/ 234 h 1138"/>
              <a:gd name="T4" fmla="*/ 84 w 1116"/>
              <a:gd name="T5" fmla="*/ 368 h 1138"/>
              <a:gd name="T6" fmla="*/ 44 w 1116"/>
              <a:gd name="T7" fmla="*/ 546 h 1138"/>
              <a:gd name="T8" fmla="*/ 196 w 1116"/>
              <a:gd name="T9" fmla="*/ 546 h 1138"/>
              <a:gd name="T10" fmla="*/ 128 w 1116"/>
              <a:gd name="T11" fmla="*/ 592 h 1138"/>
              <a:gd name="T12" fmla="*/ 76 w 1116"/>
              <a:gd name="T13" fmla="*/ 750 h 1138"/>
              <a:gd name="T14" fmla="*/ 124 w 1116"/>
              <a:gd name="T15" fmla="*/ 848 h 1138"/>
              <a:gd name="T16" fmla="*/ 204 w 1116"/>
              <a:gd name="T17" fmla="*/ 918 h 1138"/>
              <a:gd name="T18" fmla="*/ 296 w 1116"/>
              <a:gd name="T19" fmla="*/ 718 h 1138"/>
              <a:gd name="T20" fmla="*/ 320 w 1116"/>
              <a:gd name="T21" fmla="*/ 638 h 1138"/>
              <a:gd name="T22" fmla="*/ 350 w 1116"/>
              <a:gd name="T23" fmla="*/ 750 h 1138"/>
              <a:gd name="T24" fmla="*/ 390 w 1116"/>
              <a:gd name="T25" fmla="*/ 842 h 1138"/>
              <a:gd name="T26" fmla="*/ 548 w 1116"/>
              <a:gd name="T27" fmla="*/ 760 h 1138"/>
              <a:gd name="T28" fmla="*/ 546 w 1116"/>
              <a:gd name="T29" fmla="*/ 616 h 1138"/>
              <a:gd name="T30" fmla="*/ 416 w 1116"/>
              <a:gd name="T31" fmla="*/ 592 h 1138"/>
              <a:gd name="T32" fmla="*/ 434 w 1116"/>
              <a:gd name="T33" fmla="*/ 548 h 1138"/>
              <a:gd name="T34" fmla="*/ 548 w 1116"/>
              <a:gd name="T35" fmla="*/ 514 h 1138"/>
              <a:gd name="T36" fmla="*/ 546 w 1116"/>
              <a:gd name="T37" fmla="*/ 358 h 1138"/>
              <a:gd name="T38" fmla="*/ 492 w 1116"/>
              <a:gd name="T39" fmla="*/ 272 h 1138"/>
              <a:gd name="T40" fmla="*/ 548 w 1116"/>
              <a:gd name="T41" fmla="*/ 160 h 1138"/>
              <a:gd name="T42" fmla="*/ 476 w 1116"/>
              <a:gd name="T43" fmla="*/ 142 h 1138"/>
              <a:gd name="T44" fmla="*/ 452 w 1116"/>
              <a:gd name="T45" fmla="*/ 56 h 1138"/>
              <a:gd name="T46" fmla="*/ 368 w 1116"/>
              <a:gd name="T47" fmla="*/ 36 h 1138"/>
              <a:gd name="T48" fmla="*/ 752 w 1116"/>
              <a:gd name="T49" fmla="*/ 30 h 1138"/>
              <a:gd name="T50" fmla="*/ 872 w 1116"/>
              <a:gd name="T51" fmla="*/ 86 h 1138"/>
              <a:gd name="T52" fmla="*/ 1006 w 1116"/>
              <a:gd name="T53" fmla="*/ 204 h 1138"/>
              <a:gd name="T54" fmla="*/ 1092 w 1116"/>
              <a:gd name="T55" fmla="*/ 342 h 1138"/>
              <a:gd name="T56" fmla="*/ 1062 w 1116"/>
              <a:gd name="T57" fmla="*/ 386 h 1138"/>
              <a:gd name="T58" fmla="*/ 1004 w 1116"/>
              <a:gd name="T59" fmla="*/ 274 h 1138"/>
              <a:gd name="T60" fmla="*/ 896 w 1116"/>
              <a:gd name="T61" fmla="*/ 238 h 1138"/>
              <a:gd name="T62" fmla="*/ 808 w 1116"/>
              <a:gd name="T63" fmla="*/ 388 h 1138"/>
              <a:gd name="T64" fmla="*/ 754 w 1116"/>
              <a:gd name="T65" fmla="*/ 296 h 1138"/>
              <a:gd name="T66" fmla="*/ 590 w 1116"/>
              <a:gd name="T67" fmla="*/ 462 h 1138"/>
              <a:gd name="T68" fmla="*/ 630 w 1116"/>
              <a:gd name="T69" fmla="*/ 546 h 1138"/>
              <a:gd name="T70" fmla="*/ 590 w 1116"/>
              <a:gd name="T71" fmla="*/ 624 h 1138"/>
              <a:gd name="T72" fmla="*/ 592 w 1116"/>
              <a:gd name="T73" fmla="*/ 780 h 1138"/>
              <a:gd name="T74" fmla="*/ 664 w 1116"/>
              <a:gd name="T75" fmla="*/ 852 h 1138"/>
              <a:gd name="T76" fmla="*/ 592 w 1116"/>
              <a:gd name="T77" fmla="*/ 888 h 1138"/>
              <a:gd name="T78" fmla="*/ 590 w 1116"/>
              <a:gd name="T79" fmla="*/ 1032 h 1138"/>
              <a:gd name="T80" fmla="*/ 734 w 1116"/>
              <a:gd name="T81" fmla="*/ 932 h 1138"/>
              <a:gd name="T82" fmla="*/ 696 w 1116"/>
              <a:gd name="T83" fmla="*/ 1078 h 1138"/>
              <a:gd name="T84" fmla="*/ 928 w 1116"/>
              <a:gd name="T85" fmla="*/ 1006 h 1138"/>
              <a:gd name="T86" fmla="*/ 676 w 1116"/>
              <a:gd name="T87" fmla="*/ 1128 h 1138"/>
              <a:gd name="T88" fmla="*/ 460 w 1116"/>
              <a:gd name="T89" fmla="*/ 1128 h 1138"/>
              <a:gd name="T90" fmla="*/ 302 w 1116"/>
              <a:gd name="T91" fmla="*/ 1072 h 1138"/>
              <a:gd name="T92" fmla="*/ 156 w 1116"/>
              <a:gd name="T93" fmla="*/ 960 h 1138"/>
              <a:gd name="T94" fmla="*/ 66 w 1116"/>
              <a:gd name="T95" fmla="*/ 836 h 1138"/>
              <a:gd name="T96" fmla="*/ 418 w 1116"/>
              <a:gd name="T97" fmla="*/ 910 h 1138"/>
              <a:gd name="T98" fmla="*/ 488 w 1116"/>
              <a:gd name="T99" fmla="*/ 1006 h 1138"/>
              <a:gd name="T100" fmla="*/ 548 w 1116"/>
              <a:gd name="T101" fmla="*/ 950 h 1138"/>
              <a:gd name="T102" fmla="*/ 460 w 1116"/>
              <a:gd name="T103" fmla="*/ 872 h 1138"/>
              <a:gd name="T104" fmla="*/ 750 w 1116"/>
              <a:gd name="T105" fmla="*/ 190 h 1138"/>
              <a:gd name="T106" fmla="*/ 878 w 1116"/>
              <a:gd name="T107" fmla="*/ 200 h 1138"/>
              <a:gd name="T108" fmla="*/ 814 w 1116"/>
              <a:gd name="T109" fmla="*/ 104 h 1138"/>
              <a:gd name="T110" fmla="*/ 710 w 1116"/>
              <a:gd name="T111" fmla="*/ 62 h 1138"/>
              <a:gd name="T112" fmla="*/ 412 w 1116"/>
              <a:gd name="T113" fmla="*/ 980 h 1138"/>
              <a:gd name="T114" fmla="*/ 330 w 1116"/>
              <a:gd name="T115" fmla="*/ 906 h 1138"/>
              <a:gd name="T116" fmla="*/ 304 w 1116"/>
              <a:gd name="T117" fmla="*/ 1022 h 1138"/>
              <a:gd name="T118" fmla="*/ 402 w 1116"/>
              <a:gd name="T119" fmla="*/ 1068 h 1138"/>
              <a:gd name="T120" fmla="*/ 718 w 1116"/>
              <a:gd name="T121" fmla="*/ 226 h 1138"/>
              <a:gd name="T122" fmla="*/ 624 w 1116"/>
              <a:gd name="T123" fmla="*/ 102 h 1138"/>
              <a:gd name="T124" fmla="*/ 592 w 1116"/>
              <a:gd name="T125" fmla="*/ 274 h 1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16" h="1138">
                <a:moveTo>
                  <a:pt x="44" y="790"/>
                </a:moveTo>
                <a:lnTo>
                  <a:pt x="44" y="790"/>
                </a:lnTo>
                <a:lnTo>
                  <a:pt x="34" y="764"/>
                </a:lnTo>
                <a:lnTo>
                  <a:pt x="34" y="764"/>
                </a:lnTo>
                <a:lnTo>
                  <a:pt x="32" y="758"/>
                </a:lnTo>
                <a:lnTo>
                  <a:pt x="30" y="752"/>
                </a:lnTo>
                <a:lnTo>
                  <a:pt x="30" y="752"/>
                </a:lnTo>
                <a:lnTo>
                  <a:pt x="20" y="718"/>
                </a:lnTo>
                <a:lnTo>
                  <a:pt x="12" y="686"/>
                </a:lnTo>
                <a:lnTo>
                  <a:pt x="6" y="650"/>
                </a:lnTo>
                <a:lnTo>
                  <a:pt x="2" y="616"/>
                </a:lnTo>
                <a:lnTo>
                  <a:pt x="2" y="616"/>
                </a:lnTo>
                <a:lnTo>
                  <a:pt x="0" y="588"/>
                </a:lnTo>
                <a:lnTo>
                  <a:pt x="0" y="560"/>
                </a:lnTo>
                <a:lnTo>
                  <a:pt x="2" y="534"/>
                </a:lnTo>
                <a:lnTo>
                  <a:pt x="4" y="506"/>
                </a:lnTo>
                <a:lnTo>
                  <a:pt x="8" y="478"/>
                </a:lnTo>
                <a:lnTo>
                  <a:pt x="12" y="452"/>
                </a:lnTo>
                <a:lnTo>
                  <a:pt x="18" y="424"/>
                </a:lnTo>
                <a:lnTo>
                  <a:pt x="26" y="398"/>
                </a:lnTo>
                <a:lnTo>
                  <a:pt x="26" y="398"/>
                </a:lnTo>
                <a:lnTo>
                  <a:pt x="30" y="388"/>
                </a:lnTo>
                <a:lnTo>
                  <a:pt x="30" y="388"/>
                </a:lnTo>
                <a:lnTo>
                  <a:pt x="36" y="368"/>
                </a:lnTo>
                <a:lnTo>
                  <a:pt x="36" y="368"/>
                </a:lnTo>
                <a:lnTo>
                  <a:pt x="54" y="328"/>
                </a:lnTo>
                <a:lnTo>
                  <a:pt x="72" y="290"/>
                </a:lnTo>
                <a:lnTo>
                  <a:pt x="72" y="290"/>
                </a:lnTo>
                <a:lnTo>
                  <a:pt x="94" y="256"/>
                </a:lnTo>
                <a:lnTo>
                  <a:pt x="94" y="256"/>
                </a:lnTo>
                <a:lnTo>
                  <a:pt x="98" y="250"/>
                </a:lnTo>
                <a:lnTo>
                  <a:pt x="102" y="244"/>
                </a:lnTo>
                <a:lnTo>
                  <a:pt x="106" y="238"/>
                </a:lnTo>
                <a:lnTo>
                  <a:pt x="112" y="234"/>
                </a:lnTo>
                <a:lnTo>
                  <a:pt x="112" y="234"/>
                </a:lnTo>
                <a:lnTo>
                  <a:pt x="112" y="242"/>
                </a:lnTo>
                <a:lnTo>
                  <a:pt x="112" y="242"/>
                </a:lnTo>
                <a:lnTo>
                  <a:pt x="114" y="260"/>
                </a:lnTo>
                <a:lnTo>
                  <a:pt x="118" y="278"/>
                </a:lnTo>
                <a:lnTo>
                  <a:pt x="118" y="278"/>
                </a:lnTo>
                <a:lnTo>
                  <a:pt x="120" y="288"/>
                </a:lnTo>
                <a:lnTo>
                  <a:pt x="120" y="288"/>
                </a:lnTo>
                <a:lnTo>
                  <a:pt x="122" y="292"/>
                </a:lnTo>
                <a:lnTo>
                  <a:pt x="120" y="296"/>
                </a:lnTo>
                <a:lnTo>
                  <a:pt x="116" y="302"/>
                </a:lnTo>
                <a:lnTo>
                  <a:pt x="116" y="302"/>
                </a:lnTo>
                <a:lnTo>
                  <a:pt x="102" y="328"/>
                </a:lnTo>
                <a:lnTo>
                  <a:pt x="96" y="342"/>
                </a:lnTo>
                <a:lnTo>
                  <a:pt x="90" y="356"/>
                </a:lnTo>
                <a:lnTo>
                  <a:pt x="90" y="356"/>
                </a:lnTo>
                <a:lnTo>
                  <a:pt x="84" y="368"/>
                </a:lnTo>
                <a:lnTo>
                  <a:pt x="78" y="382"/>
                </a:lnTo>
                <a:lnTo>
                  <a:pt x="78" y="382"/>
                </a:lnTo>
                <a:lnTo>
                  <a:pt x="68" y="412"/>
                </a:lnTo>
                <a:lnTo>
                  <a:pt x="60" y="442"/>
                </a:lnTo>
                <a:lnTo>
                  <a:pt x="60" y="442"/>
                </a:lnTo>
                <a:lnTo>
                  <a:pt x="58" y="450"/>
                </a:lnTo>
                <a:lnTo>
                  <a:pt x="56" y="458"/>
                </a:lnTo>
                <a:lnTo>
                  <a:pt x="56" y="458"/>
                </a:lnTo>
                <a:lnTo>
                  <a:pt x="50" y="484"/>
                </a:lnTo>
                <a:lnTo>
                  <a:pt x="48" y="508"/>
                </a:lnTo>
                <a:lnTo>
                  <a:pt x="48" y="508"/>
                </a:lnTo>
                <a:lnTo>
                  <a:pt x="46" y="516"/>
                </a:lnTo>
                <a:lnTo>
                  <a:pt x="46" y="524"/>
                </a:lnTo>
                <a:lnTo>
                  <a:pt x="46" y="524"/>
                </a:lnTo>
                <a:lnTo>
                  <a:pt x="44" y="536"/>
                </a:lnTo>
                <a:lnTo>
                  <a:pt x="44" y="546"/>
                </a:lnTo>
                <a:lnTo>
                  <a:pt x="44" y="546"/>
                </a:lnTo>
                <a:lnTo>
                  <a:pt x="60" y="548"/>
                </a:lnTo>
                <a:lnTo>
                  <a:pt x="74" y="546"/>
                </a:lnTo>
                <a:lnTo>
                  <a:pt x="74" y="546"/>
                </a:lnTo>
                <a:lnTo>
                  <a:pt x="80" y="548"/>
                </a:lnTo>
                <a:lnTo>
                  <a:pt x="86" y="546"/>
                </a:lnTo>
                <a:lnTo>
                  <a:pt x="86" y="546"/>
                </a:lnTo>
                <a:lnTo>
                  <a:pt x="108" y="548"/>
                </a:lnTo>
                <a:lnTo>
                  <a:pt x="128" y="546"/>
                </a:lnTo>
                <a:lnTo>
                  <a:pt x="128" y="546"/>
                </a:lnTo>
                <a:lnTo>
                  <a:pt x="134" y="548"/>
                </a:lnTo>
                <a:lnTo>
                  <a:pt x="142" y="546"/>
                </a:lnTo>
                <a:lnTo>
                  <a:pt x="142" y="546"/>
                </a:lnTo>
                <a:lnTo>
                  <a:pt x="162" y="548"/>
                </a:lnTo>
                <a:lnTo>
                  <a:pt x="182" y="546"/>
                </a:lnTo>
                <a:lnTo>
                  <a:pt x="182" y="546"/>
                </a:lnTo>
                <a:lnTo>
                  <a:pt x="188" y="548"/>
                </a:lnTo>
                <a:lnTo>
                  <a:pt x="196" y="546"/>
                </a:lnTo>
                <a:lnTo>
                  <a:pt x="196" y="546"/>
                </a:lnTo>
                <a:lnTo>
                  <a:pt x="234" y="548"/>
                </a:lnTo>
                <a:lnTo>
                  <a:pt x="234" y="548"/>
                </a:lnTo>
                <a:lnTo>
                  <a:pt x="234" y="554"/>
                </a:lnTo>
                <a:lnTo>
                  <a:pt x="234" y="554"/>
                </a:lnTo>
                <a:lnTo>
                  <a:pt x="234" y="590"/>
                </a:lnTo>
                <a:lnTo>
                  <a:pt x="234" y="590"/>
                </a:lnTo>
                <a:lnTo>
                  <a:pt x="198" y="592"/>
                </a:lnTo>
                <a:lnTo>
                  <a:pt x="198" y="592"/>
                </a:lnTo>
                <a:lnTo>
                  <a:pt x="190" y="590"/>
                </a:lnTo>
                <a:lnTo>
                  <a:pt x="182" y="592"/>
                </a:lnTo>
                <a:lnTo>
                  <a:pt x="182" y="592"/>
                </a:lnTo>
                <a:lnTo>
                  <a:pt x="164" y="590"/>
                </a:lnTo>
                <a:lnTo>
                  <a:pt x="144" y="592"/>
                </a:lnTo>
                <a:lnTo>
                  <a:pt x="144" y="592"/>
                </a:lnTo>
                <a:lnTo>
                  <a:pt x="136" y="590"/>
                </a:lnTo>
                <a:lnTo>
                  <a:pt x="128" y="592"/>
                </a:lnTo>
                <a:lnTo>
                  <a:pt x="128" y="592"/>
                </a:lnTo>
                <a:lnTo>
                  <a:pt x="86" y="590"/>
                </a:lnTo>
                <a:lnTo>
                  <a:pt x="44" y="592"/>
                </a:lnTo>
                <a:lnTo>
                  <a:pt x="44" y="592"/>
                </a:lnTo>
                <a:lnTo>
                  <a:pt x="48" y="630"/>
                </a:lnTo>
                <a:lnTo>
                  <a:pt x="54" y="666"/>
                </a:lnTo>
                <a:lnTo>
                  <a:pt x="54" y="666"/>
                </a:lnTo>
                <a:lnTo>
                  <a:pt x="56" y="680"/>
                </a:lnTo>
                <a:lnTo>
                  <a:pt x="56" y="680"/>
                </a:lnTo>
                <a:lnTo>
                  <a:pt x="60" y="696"/>
                </a:lnTo>
                <a:lnTo>
                  <a:pt x="64" y="714"/>
                </a:lnTo>
                <a:lnTo>
                  <a:pt x="64" y="714"/>
                </a:lnTo>
                <a:lnTo>
                  <a:pt x="66" y="718"/>
                </a:lnTo>
                <a:lnTo>
                  <a:pt x="68" y="722"/>
                </a:lnTo>
                <a:lnTo>
                  <a:pt x="68" y="722"/>
                </a:lnTo>
                <a:lnTo>
                  <a:pt x="70" y="736"/>
                </a:lnTo>
                <a:lnTo>
                  <a:pt x="76" y="750"/>
                </a:lnTo>
                <a:lnTo>
                  <a:pt x="76" y="750"/>
                </a:lnTo>
                <a:lnTo>
                  <a:pt x="78" y="756"/>
                </a:lnTo>
                <a:lnTo>
                  <a:pt x="80" y="760"/>
                </a:lnTo>
                <a:lnTo>
                  <a:pt x="80" y="760"/>
                </a:lnTo>
                <a:lnTo>
                  <a:pt x="86" y="776"/>
                </a:lnTo>
                <a:lnTo>
                  <a:pt x="94" y="790"/>
                </a:lnTo>
                <a:lnTo>
                  <a:pt x="94" y="790"/>
                </a:lnTo>
                <a:lnTo>
                  <a:pt x="94" y="796"/>
                </a:lnTo>
                <a:lnTo>
                  <a:pt x="98" y="798"/>
                </a:lnTo>
                <a:lnTo>
                  <a:pt x="98" y="798"/>
                </a:lnTo>
                <a:lnTo>
                  <a:pt x="104" y="812"/>
                </a:lnTo>
                <a:lnTo>
                  <a:pt x="112" y="826"/>
                </a:lnTo>
                <a:lnTo>
                  <a:pt x="112" y="826"/>
                </a:lnTo>
                <a:lnTo>
                  <a:pt x="114" y="830"/>
                </a:lnTo>
                <a:lnTo>
                  <a:pt x="116" y="834"/>
                </a:lnTo>
                <a:lnTo>
                  <a:pt x="116" y="834"/>
                </a:lnTo>
                <a:lnTo>
                  <a:pt x="124" y="848"/>
                </a:lnTo>
                <a:lnTo>
                  <a:pt x="134" y="862"/>
                </a:lnTo>
                <a:lnTo>
                  <a:pt x="134" y="862"/>
                </a:lnTo>
                <a:lnTo>
                  <a:pt x="138" y="868"/>
                </a:lnTo>
                <a:lnTo>
                  <a:pt x="138" y="868"/>
                </a:lnTo>
                <a:lnTo>
                  <a:pt x="146" y="880"/>
                </a:lnTo>
                <a:lnTo>
                  <a:pt x="154" y="892"/>
                </a:lnTo>
                <a:lnTo>
                  <a:pt x="154" y="892"/>
                </a:lnTo>
                <a:lnTo>
                  <a:pt x="162" y="900"/>
                </a:lnTo>
                <a:lnTo>
                  <a:pt x="162" y="900"/>
                </a:lnTo>
                <a:lnTo>
                  <a:pt x="170" y="910"/>
                </a:lnTo>
                <a:lnTo>
                  <a:pt x="180" y="920"/>
                </a:lnTo>
                <a:lnTo>
                  <a:pt x="180" y="920"/>
                </a:lnTo>
                <a:lnTo>
                  <a:pt x="184" y="926"/>
                </a:lnTo>
                <a:lnTo>
                  <a:pt x="188" y="928"/>
                </a:lnTo>
                <a:lnTo>
                  <a:pt x="188" y="928"/>
                </a:lnTo>
                <a:lnTo>
                  <a:pt x="204" y="918"/>
                </a:lnTo>
                <a:lnTo>
                  <a:pt x="204" y="918"/>
                </a:lnTo>
                <a:lnTo>
                  <a:pt x="286" y="878"/>
                </a:lnTo>
                <a:lnTo>
                  <a:pt x="286" y="878"/>
                </a:lnTo>
                <a:lnTo>
                  <a:pt x="342" y="856"/>
                </a:lnTo>
                <a:lnTo>
                  <a:pt x="342" y="856"/>
                </a:lnTo>
                <a:lnTo>
                  <a:pt x="330" y="830"/>
                </a:lnTo>
                <a:lnTo>
                  <a:pt x="330" y="830"/>
                </a:lnTo>
                <a:lnTo>
                  <a:pt x="320" y="804"/>
                </a:lnTo>
                <a:lnTo>
                  <a:pt x="320" y="804"/>
                </a:lnTo>
                <a:lnTo>
                  <a:pt x="318" y="798"/>
                </a:lnTo>
                <a:lnTo>
                  <a:pt x="316" y="790"/>
                </a:lnTo>
                <a:lnTo>
                  <a:pt x="316" y="790"/>
                </a:lnTo>
                <a:lnTo>
                  <a:pt x="306" y="760"/>
                </a:lnTo>
                <a:lnTo>
                  <a:pt x="306" y="760"/>
                </a:lnTo>
                <a:lnTo>
                  <a:pt x="304" y="750"/>
                </a:lnTo>
                <a:lnTo>
                  <a:pt x="304" y="750"/>
                </a:lnTo>
                <a:lnTo>
                  <a:pt x="296" y="718"/>
                </a:lnTo>
                <a:lnTo>
                  <a:pt x="296" y="718"/>
                </a:lnTo>
                <a:lnTo>
                  <a:pt x="296" y="712"/>
                </a:lnTo>
                <a:lnTo>
                  <a:pt x="294" y="706"/>
                </a:lnTo>
                <a:lnTo>
                  <a:pt x="294" y="706"/>
                </a:lnTo>
                <a:lnTo>
                  <a:pt x="288" y="672"/>
                </a:lnTo>
                <a:lnTo>
                  <a:pt x="288" y="672"/>
                </a:lnTo>
                <a:lnTo>
                  <a:pt x="288" y="666"/>
                </a:lnTo>
                <a:lnTo>
                  <a:pt x="286" y="660"/>
                </a:lnTo>
                <a:lnTo>
                  <a:pt x="286" y="660"/>
                </a:lnTo>
                <a:lnTo>
                  <a:pt x="286" y="650"/>
                </a:lnTo>
                <a:lnTo>
                  <a:pt x="286" y="646"/>
                </a:lnTo>
                <a:lnTo>
                  <a:pt x="286" y="640"/>
                </a:lnTo>
                <a:lnTo>
                  <a:pt x="286" y="640"/>
                </a:lnTo>
                <a:lnTo>
                  <a:pt x="304" y="640"/>
                </a:lnTo>
                <a:lnTo>
                  <a:pt x="304" y="640"/>
                </a:lnTo>
                <a:lnTo>
                  <a:pt x="312" y="642"/>
                </a:lnTo>
                <a:lnTo>
                  <a:pt x="316" y="640"/>
                </a:lnTo>
                <a:lnTo>
                  <a:pt x="320" y="638"/>
                </a:lnTo>
                <a:lnTo>
                  <a:pt x="320" y="638"/>
                </a:lnTo>
                <a:lnTo>
                  <a:pt x="324" y="638"/>
                </a:lnTo>
                <a:lnTo>
                  <a:pt x="328" y="640"/>
                </a:lnTo>
                <a:lnTo>
                  <a:pt x="328" y="640"/>
                </a:lnTo>
                <a:lnTo>
                  <a:pt x="332" y="660"/>
                </a:lnTo>
                <a:lnTo>
                  <a:pt x="332" y="660"/>
                </a:lnTo>
                <a:lnTo>
                  <a:pt x="332" y="668"/>
                </a:lnTo>
                <a:lnTo>
                  <a:pt x="334" y="674"/>
                </a:lnTo>
                <a:lnTo>
                  <a:pt x="334" y="674"/>
                </a:lnTo>
                <a:lnTo>
                  <a:pt x="336" y="690"/>
                </a:lnTo>
                <a:lnTo>
                  <a:pt x="340" y="706"/>
                </a:lnTo>
                <a:lnTo>
                  <a:pt x="340" y="706"/>
                </a:lnTo>
                <a:lnTo>
                  <a:pt x="340" y="712"/>
                </a:lnTo>
                <a:lnTo>
                  <a:pt x="342" y="718"/>
                </a:lnTo>
                <a:lnTo>
                  <a:pt x="342" y="718"/>
                </a:lnTo>
                <a:lnTo>
                  <a:pt x="344" y="734"/>
                </a:lnTo>
                <a:lnTo>
                  <a:pt x="350" y="750"/>
                </a:lnTo>
                <a:lnTo>
                  <a:pt x="350" y="750"/>
                </a:lnTo>
                <a:lnTo>
                  <a:pt x="350" y="756"/>
                </a:lnTo>
                <a:lnTo>
                  <a:pt x="354" y="760"/>
                </a:lnTo>
                <a:lnTo>
                  <a:pt x="354" y="760"/>
                </a:lnTo>
                <a:lnTo>
                  <a:pt x="358" y="776"/>
                </a:lnTo>
                <a:lnTo>
                  <a:pt x="362" y="792"/>
                </a:lnTo>
                <a:lnTo>
                  <a:pt x="362" y="792"/>
                </a:lnTo>
                <a:lnTo>
                  <a:pt x="368" y="802"/>
                </a:lnTo>
                <a:lnTo>
                  <a:pt x="368" y="802"/>
                </a:lnTo>
                <a:lnTo>
                  <a:pt x="372" y="816"/>
                </a:lnTo>
                <a:lnTo>
                  <a:pt x="378" y="832"/>
                </a:lnTo>
                <a:lnTo>
                  <a:pt x="378" y="832"/>
                </a:lnTo>
                <a:lnTo>
                  <a:pt x="382" y="840"/>
                </a:lnTo>
                <a:lnTo>
                  <a:pt x="382" y="840"/>
                </a:lnTo>
                <a:lnTo>
                  <a:pt x="386" y="842"/>
                </a:lnTo>
                <a:lnTo>
                  <a:pt x="390" y="842"/>
                </a:lnTo>
                <a:lnTo>
                  <a:pt x="390" y="842"/>
                </a:lnTo>
                <a:lnTo>
                  <a:pt x="444" y="830"/>
                </a:lnTo>
                <a:lnTo>
                  <a:pt x="444" y="830"/>
                </a:lnTo>
                <a:lnTo>
                  <a:pt x="458" y="828"/>
                </a:lnTo>
                <a:lnTo>
                  <a:pt x="458" y="828"/>
                </a:lnTo>
                <a:lnTo>
                  <a:pt x="502" y="822"/>
                </a:lnTo>
                <a:lnTo>
                  <a:pt x="502" y="822"/>
                </a:lnTo>
                <a:lnTo>
                  <a:pt x="520" y="820"/>
                </a:lnTo>
                <a:lnTo>
                  <a:pt x="520" y="820"/>
                </a:lnTo>
                <a:lnTo>
                  <a:pt x="546" y="820"/>
                </a:lnTo>
                <a:lnTo>
                  <a:pt x="546" y="820"/>
                </a:lnTo>
                <a:lnTo>
                  <a:pt x="548" y="806"/>
                </a:lnTo>
                <a:lnTo>
                  <a:pt x="546" y="794"/>
                </a:lnTo>
                <a:lnTo>
                  <a:pt x="546" y="794"/>
                </a:lnTo>
                <a:lnTo>
                  <a:pt x="548" y="786"/>
                </a:lnTo>
                <a:lnTo>
                  <a:pt x="546" y="780"/>
                </a:lnTo>
                <a:lnTo>
                  <a:pt x="546" y="780"/>
                </a:lnTo>
                <a:lnTo>
                  <a:pt x="548" y="760"/>
                </a:lnTo>
                <a:lnTo>
                  <a:pt x="546" y="738"/>
                </a:lnTo>
                <a:lnTo>
                  <a:pt x="546" y="738"/>
                </a:lnTo>
                <a:lnTo>
                  <a:pt x="548" y="732"/>
                </a:lnTo>
                <a:lnTo>
                  <a:pt x="546" y="726"/>
                </a:lnTo>
                <a:lnTo>
                  <a:pt x="546" y="726"/>
                </a:lnTo>
                <a:lnTo>
                  <a:pt x="548" y="704"/>
                </a:lnTo>
                <a:lnTo>
                  <a:pt x="546" y="684"/>
                </a:lnTo>
                <a:lnTo>
                  <a:pt x="546" y="684"/>
                </a:lnTo>
                <a:lnTo>
                  <a:pt x="548" y="678"/>
                </a:lnTo>
                <a:lnTo>
                  <a:pt x="546" y="672"/>
                </a:lnTo>
                <a:lnTo>
                  <a:pt x="546" y="672"/>
                </a:lnTo>
                <a:lnTo>
                  <a:pt x="548" y="650"/>
                </a:lnTo>
                <a:lnTo>
                  <a:pt x="546" y="630"/>
                </a:lnTo>
                <a:lnTo>
                  <a:pt x="546" y="630"/>
                </a:lnTo>
                <a:lnTo>
                  <a:pt x="548" y="624"/>
                </a:lnTo>
                <a:lnTo>
                  <a:pt x="546" y="616"/>
                </a:lnTo>
                <a:lnTo>
                  <a:pt x="546" y="616"/>
                </a:lnTo>
                <a:lnTo>
                  <a:pt x="548" y="604"/>
                </a:lnTo>
                <a:lnTo>
                  <a:pt x="546" y="592"/>
                </a:lnTo>
                <a:lnTo>
                  <a:pt x="546" y="592"/>
                </a:lnTo>
                <a:lnTo>
                  <a:pt x="536" y="590"/>
                </a:lnTo>
                <a:lnTo>
                  <a:pt x="524" y="592"/>
                </a:lnTo>
                <a:lnTo>
                  <a:pt x="524" y="592"/>
                </a:lnTo>
                <a:lnTo>
                  <a:pt x="516" y="590"/>
                </a:lnTo>
                <a:lnTo>
                  <a:pt x="508" y="592"/>
                </a:lnTo>
                <a:lnTo>
                  <a:pt x="508" y="592"/>
                </a:lnTo>
                <a:lnTo>
                  <a:pt x="490" y="590"/>
                </a:lnTo>
                <a:lnTo>
                  <a:pt x="470" y="592"/>
                </a:lnTo>
                <a:lnTo>
                  <a:pt x="470" y="592"/>
                </a:lnTo>
                <a:lnTo>
                  <a:pt x="462" y="590"/>
                </a:lnTo>
                <a:lnTo>
                  <a:pt x="454" y="592"/>
                </a:lnTo>
                <a:lnTo>
                  <a:pt x="454" y="592"/>
                </a:lnTo>
                <a:lnTo>
                  <a:pt x="434" y="590"/>
                </a:lnTo>
                <a:lnTo>
                  <a:pt x="416" y="592"/>
                </a:lnTo>
                <a:lnTo>
                  <a:pt x="416" y="592"/>
                </a:lnTo>
                <a:lnTo>
                  <a:pt x="408" y="590"/>
                </a:lnTo>
                <a:lnTo>
                  <a:pt x="400" y="592"/>
                </a:lnTo>
                <a:lnTo>
                  <a:pt x="400" y="592"/>
                </a:lnTo>
                <a:lnTo>
                  <a:pt x="370" y="590"/>
                </a:lnTo>
                <a:lnTo>
                  <a:pt x="370" y="590"/>
                </a:lnTo>
                <a:lnTo>
                  <a:pt x="372" y="582"/>
                </a:lnTo>
                <a:lnTo>
                  <a:pt x="372" y="574"/>
                </a:lnTo>
                <a:lnTo>
                  <a:pt x="372" y="574"/>
                </a:lnTo>
                <a:lnTo>
                  <a:pt x="374" y="548"/>
                </a:lnTo>
                <a:lnTo>
                  <a:pt x="374" y="548"/>
                </a:lnTo>
                <a:lnTo>
                  <a:pt x="400" y="546"/>
                </a:lnTo>
                <a:lnTo>
                  <a:pt x="400" y="546"/>
                </a:lnTo>
                <a:lnTo>
                  <a:pt x="406" y="548"/>
                </a:lnTo>
                <a:lnTo>
                  <a:pt x="414" y="546"/>
                </a:lnTo>
                <a:lnTo>
                  <a:pt x="414" y="546"/>
                </a:lnTo>
                <a:lnTo>
                  <a:pt x="434" y="548"/>
                </a:lnTo>
                <a:lnTo>
                  <a:pt x="454" y="546"/>
                </a:lnTo>
                <a:lnTo>
                  <a:pt x="454" y="546"/>
                </a:lnTo>
                <a:lnTo>
                  <a:pt x="460" y="548"/>
                </a:lnTo>
                <a:lnTo>
                  <a:pt x="468" y="546"/>
                </a:lnTo>
                <a:lnTo>
                  <a:pt x="468" y="546"/>
                </a:lnTo>
                <a:lnTo>
                  <a:pt x="488" y="548"/>
                </a:lnTo>
                <a:lnTo>
                  <a:pt x="508" y="546"/>
                </a:lnTo>
                <a:lnTo>
                  <a:pt x="508" y="546"/>
                </a:lnTo>
                <a:lnTo>
                  <a:pt x="514" y="548"/>
                </a:lnTo>
                <a:lnTo>
                  <a:pt x="522" y="546"/>
                </a:lnTo>
                <a:lnTo>
                  <a:pt x="522" y="546"/>
                </a:lnTo>
                <a:lnTo>
                  <a:pt x="534" y="548"/>
                </a:lnTo>
                <a:lnTo>
                  <a:pt x="546" y="546"/>
                </a:lnTo>
                <a:lnTo>
                  <a:pt x="546" y="546"/>
                </a:lnTo>
                <a:lnTo>
                  <a:pt x="546" y="522"/>
                </a:lnTo>
                <a:lnTo>
                  <a:pt x="546" y="522"/>
                </a:lnTo>
                <a:lnTo>
                  <a:pt x="548" y="514"/>
                </a:lnTo>
                <a:lnTo>
                  <a:pt x="546" y="508"/>
                </a:lnTo>
                <a:lnTo>
                  <a:pt x="546" y="508"/>
                </a:lnTo>
                <a:lnTo>
                  <a:pt x="548" y="488"/>
                </a:lnTo>
                <a:lnTo>
                  <a:pt x="546" y="468"/>
                </a:lnTo>
                <a:lnTo>
                  <a:pt x="546" y="468"/>
                </a:lnTo>
                <a:lnTo>
                  <a:pt x="548" y="460"/>
                </a:lnTo>
                <a:lnTo>
                  <a:pt x="546" y="454"/>
                </a:lnTo>
                <a:lnTo>
                  <a:pt x="546" y="454"/>
                </a:lnTo>
                <a:lnTo>
                  <a:pt x="548" y="434"/>
                </a:lnTo>
                <a:lnTo>
                  <a:pt x="546" y="412"/>
                </a:lnTo>
                <a:lnTo>
                  <a:pt x="546" y="412"/>
                </a:lnTo>
                <a:lnTo>
                  <a:pt x="548" y="406"/>
                </a:lnTo>
                <a:lnTo>
                  <a:pt x="546" y="400"/>
                </a:lnTo>
                <a:lnTo>
                  <a:pt x="546" y="400"/>
                </a:lnTo>
                <a:lnTo>
                  <a:pt x="548" y="378"/>
                </a:lnTo>
                <a:lnTo>
                  <a:pt x="546" y="358"/>
                </a:lnTo>
                <a:lnTo>
                  <a:pt x="546" y="358"/>
                </a:lnTo>
                <a:lnTo>
                  <a:pt x="548" y="352"/>
                </a:lnTo>
                <a:lnTo>
                  <a:pt x="546" y="344"/>
                </a:lnTo>
                <a:lnTo>
                  <a:pt x="546" y="344"/>
                </a:lnTo>
                <a:lnTo>
                  <a:pt x="548" y="332"/>
                </a:lnTo>
                <a:lnTo>
                  <a:pt x="546" y="318"/>
                </a:lnTo>
                <a:lnTo>
                  <a:pt x="546" y="318"/>
                </a:lnTo>
                <a:lnTo>
                  <a:pt x="524" y="318"/>
                </a:lnTo>
                <a:lnTo>
                  <a:pt x="524" y="318"/>
                </a:lnTo>
                <a:lnTo>
                  <a:pt x="510" y="318"/>
                </a:lnTo>
                <a:lnTo>
                  <a:pt x="510" y="318"/>
                </a:lnTo>
                <a:lnTo>
                  <a:pt x="478" y="312"/>
                </a:lnTo>
                <a:lnTo>
                  <a:pt x="478" y="312"/>
                </a:lnTo>
                <a:lnTo>
                  <a:pt x="478" y="304"/>
                </a:lnTo>
                <a:lnTo>
                  <a:pt x="478" y="304"/>
                </a:lnTo>
                <a:lnTo>
                  <a:pt x="482" y="296"/>
                </a:lnTo>
                <a:lnTo>
                  <a:pt x="486" y="288"/>
                </a:lnTo>
                <a:lnTo>
                  <a:pt x="492" y="272"/>
                </a:lnTo>
                <a:lnTo>
                  <a:pt x="492" y="272"/>
                </a:lnTo>
                <a:lnTo>
                  <a:pt x="510" y="272"/>
                </a:lnTo>
                <a:lnTo>
                  <a:pt x="510" y="272"/>
                </a:lnTo>
                <a:lnTo>
                  <a:pt x="520" y="274"/>
                </a:lnTo>
                <a:lnTo>
                  <a:pt x="528" y="274"/>
                </a:lnTo>
                <a:lnTo>
                  <a:pt x="546" y="274"/>
                </a:lnTo>
                <a:lnTo>
                  <a:pt x="546" y="274"/>
                </a:lnTo>
                <a:lnTo>
                  <a:pt x="548" y="254"/>
                </a:lnTo>
                <a:lnTo>
                  <a:pt x="546" y="234"/>
                </a:lnTo>
                <a:lnTo>
                  <a:pt x="546" y="234"/>
                </a:lnTo>
                <a:lnTo>
                  <a:pt x="548" y="214"/>
                </a:lnTo>
                <a:lnTo>
                  <a:pt x="546" y="196"/>
                </a:lnTo>
                <a:lnTo>
                  <a:pt x="546" y="196"/>
                </a:lnTo>
                <a:lnTo>
                  <a:pt x="548" y="188"/>
                </a:lnTo>
                <a:lnTo>
                  <a:pt x="546" y="180"/>
                </a:lnTo>
                <a:lnTo>
                  <a:pt x="546" y="180"/>
                </a:lnTo>
                <a:lnTo>
                  <a:pt x="548" y="160"/>
                </a:lnTo>
                <a:lnTo>
                  <a:pt x="546" y="142"/>
                </a:lnTo>
                <a:lnTo>
                  <a:pt x="546" y="142"/>
                </a:lnTo>
                <a:lnTo>
                  <a:pt x="548" y="134"/>
                </a:lnTo>
                <a:lnTo>
                  <a:pt x="546" y="124"/>
                </a:lnTo>
                <a:lnTo>
                  <a:pt x="546" y="124"/>
                </a:lnTo>
                <a:lnTo>
                  <a:pt x="548" y="106"/>
                </a:lnTo>
                <a:lnTo>
                  <a:pt x="546" y="86"/>
                </a:lnTo>
                <a:lnTo>
                  <a:pt x="546" y="86"/>
                </a:lnTo>
                <a:lnTo>
                  <a:pt x="548" y="80"/>
                </a:lnTo>
                <a:lnTo>
                  <a:pt x="546" y="76"/>
                </a:lnTo>
                <a:lnTo>
                  <a:pt x="546" y="72"/>
                </a:lnTo>
                <a:lnTo>
                  <a:pt x="546" y="72"/>
                </a:lnTo>
                <a:lnTo>
                  <a:pt x="512" y="104"/>
                </a:lnTo>
                <a:lnTo>
                  <a:pt x="482" y="136"/>
                </a:lnTo>
                <a:lnTo>
                  <a:pt x="482" y="136"/>
                </a:lnTo>
                <a:lnTo>
                  <a:pt x="480" y="142"/>
                </a:lnTo>
                <a:lnTo>
                  <a:pt x="476" y="142"/>
                </a:lnTo>
                <a:lnTo>
                  <a:pt x="474" y="140"/>
                </a:lnTo>
                <a:lnTo>
                  <a:pt x="474" y="140"/>
                </a:lnTo>
                <a:lnTo>
                  <a:pt x="466" y="128"/>
                </a:lnTo>
                <a:lnTo>
                  <a:pt x="458" y="116"/>
                </a:lnTo>
                <a:lnTo>
                  <a:pt x="458" y="116"/>
                </a:lnTo>
                <a:lnTo>
                  <a:pt x="454" y="112"/>
                </a:lnTo>
                <a:lnTo>
                  <a:pt x="454" y="112"/>
                </a:lnTo>
                <a:lnTo>
                  <a:pt x="452" y="108"/>
                </a:lnTo>
                <a:lnTo>
                  <a:pt x="454" y="104"/>
                </a:lnTo>
                <a:lnTo>
                  <a:pt x="458" y="98"/>
                </a:lnTo>
                <a:lnTo>
                  <a:pt x="458" y="98"/>
                </a:lnTo>
                <a:lnTo>
                  <a:pt x="506" y="48"/>
                </a:lnTo>
                <a:lnTo>
                  <a:pt x="506" y="48"/>
                </a:lnTo>
                <a:lnTo>
                  <a:pt x="484" y="50"/>
                </a:lnTo>
                <a:lnTo>
                  <a:pt x="462" y="54"/>
                </a:lnTo>
                <a:lnTo>
                  <a:pt x="462" y="54"/>
                </a:lnTo>
                <a:lnTo>
                  <a:pt x="452" y="56"/>
                </a:lnTo>
                <a:lnTo>
                  <a:pt x="442" y="60"/>
                </a:lnTo>
                <a:lnTo>
                  <a:pt x="442" y="60"/>
                </a:lnTo>
                <a:lnTo>
                  <a:pt x="426" y="64"/>
                </a:lnTo>
                <a:lnTo>
                  <a:pt x="426" y="64"/>
                </a:lnTo>
                <a:lnTo>
                  <a:pt x="414" y="66"/>
                </a:lnTo>
                <a:lnTo>
                  <a:pt x="408" y="68"/>
                </a:lnTo>
                <a:lnTo>
                  <a:pt x="402" y="66"/>
                </a:lnTo>
                <a:lnTo>
                  <a:pt x="402" y="66"/>
                </a:lnTo>
                <a:lnTo>
                  <a:pt x="398" y="62"/>
                </a:lnTo>
                <a:lnTo>
                  <a:pt x="392" y="60"/>
                </a:lnTo>
                <a:lnTo>
                  <a:pt x="392" y="60"/>
                </a:lnTo>
                <a:lnTo>
                  <a:pt x="378" y="52"/>
                </a:lnTo>
                <a:lnTo>
                  <a:pt x="362" y="46"/>
                </a:lnTo>
                <a:lnTo>
                  <a:pt x="362" y="46"/>
                </a:lnTo>
                <a:lnTo>
                  <a:pt x="354" y="42"/>
                </a:lnTo>
                <a:lnTo>
                  <a:pt x="354" y="42"/>
                </a:lnTo>
                <a:lnTo>
                  <a:pt x="368" y="36"/>
                </a:lnTo>
                <a:lnTo>
                  <a:pt x="368" y="36"/>
                </a:lnTo>
                <a:lnTo>
                  <a:pt x="388" y="28"/>
                </a:lnTo>
                <a:lnTo>
                  <a:pt x="388" y="28"/>
                </a:lnTo>
                <a:lnTo>
                  <a:pt x="418" y="20"/>
                </a:lnTo>
                <a:lnTo>
                  <a:pt x="446" y="14"/>
                </a:lnTo>
                <a:lnTo>
                  <a:pt x="476" y="8"/>
                </a:lnTo>
                <a:lnTo>
                  <a:pt x="506" y="4"/>
                </a:lnTo>
                <a:lnTo>
                  <a:pt x="534" y="2"/>
                </a:lnTo>
                <a:lnTo>
                  <a:pt x="564" y="0"/>
                </a:lnTo>
                <a:lnTo>
                  <a:pt x="594" y="0"/>
                </a:lnTo>
                <a:lnTo>
                  <a:pt x="624" y="2"/>
                </a:lnTo>
                <a:lnTo>
                  <a:pt x="624" y="2"/>
                </a:lnTo>
                <a:lnTo>
                  <a:pt x="656" y="6"/>
                </a:lnTo>
                <a:lnTo>
                  <a:pt x="690" y="12"/>
                </a:lnTo>
                <a:lnTo>
                  <a:pt x="722" y="20"/>
                </a:lnTo>
                <a:lnTo>
                  <a:pt x="752" y="30"/>
                </a:lnTo>
                <a:lnTo>
                  <a:pt x="752" y="30"/>
                </a:lnTo>
                <a:lnTo>
                  <a:pt x="758" y="32"/>
                </a:lnTo>
                <a:lnTo>
                  <a:pt x="764" y="34"/>
                </a:lnTo>
                <a:lnTo>
                  <a:pt x="764" y="34"/>
                </a:lnTo>
                <a:lnTo>
                  <a:pt x="790" y="44"/>
                </a:lnTo>
                <a:lnTo>
                  <a:pt x="790" y="44"/>
                </a:lnTo>
                <a:lnTo>
                  <a:pt x="796" y="48"/>
                </a:lnTo>
                <a:lnTo>
                  <a:pt x="802" y="48"/>
                </a:lnTo>
                <a:lnTo>
                  <a:pt x="802" y="48"/>
                </a:lnTo>
                <a:lnTo>
                  <a:pt x="826" y="60"/>
                </a:lnTo>
                <a:lnTo>
                  <a:pt x="826" y="60"/>
                </a:lnTo>
                <a:lnTo>
                  <a:pt x="830" y="64"/>
                </a:lnTo>
                <a:lnTo>
                  <a:pt x="836" y="66"/>
                </a:lnTo>
                <a:lnTo>
                  <a:pt x="836" y="66"/>
                </a:lnTo>
                <a:lnTo>
                  <a:pt x="860" y="80"/>
                </a:lnTo>
                <a:lnTo>
                  <a:pt x="860" y="80"/>
                </a:lnTo>
                <a:lnTo>
                  <a:pt x="872" y="86"/>
                </a:lnTo>
                <a:lnTo>
                  <a:pt x="872" y="86"/>
                </a:lnTo>
                <a:lnTo>
                  <a:pt x="894" y="100"/>
                </a:lnTo>
                <a:lnTo>
                  <a:pt x="894" y="100"/>
                </a:lnTo>
                <a:lnTo>
                  <a:pt x="904" y="108"/>
                </a:lnTo>
                <a:lnTo>
                  <a:pt x="904" y="108"/>
                </a:lnTo>
                <a:lnTo>
                  <a:pt x="924" y="122"/>
                </a:lnTo>
                <a:lnTo>
                  <a:pt x="924" y="122"/>
                </a:lnTo>
                <a:lnTo>
                  <a:pt x="934" y="132"/>
                </a:lnTo>
                <a:lnTo>
                  <a:pt x="934" y="132"/>
                </a:lnTo>
                <a:lnTo>
                  <a:pt x="956" y="150"/>
                </a:lnTo>
                <a:lnTo>
                  <a:pt x="956" y="150"/>
                </a:lnTo>
                <a:lnTo>
                  <a:pt x="960" y="156"/>
                </a:lnTo>
                <a:lnTo>
                  <a:pt x="960" y="156"/>
                </a:lnTo>
                <a:lnTo>
                  <a:pt x="984" y="178"/>
                </a:lnTo>
                <a:lnTo>
                  <a:pt x="984" y="178"/>
                </a:lnTo>
                <a:lnTo>
                  <a:pt x="988" y="182"/>
                </a:lnTo>
                <a:lnTo>
                  <a:pt x="988" y="182"/>
                </a:lnTo>
                <a:lnTo>
                  <a:pt x="1006" y="204"/>
                </a:lnTo>
                <a:lnTo>
                  <a:pt x="1006" y="204"/>
                </a:lnTo>
                <a:lnTo>
                  <a:pt x="1016" y="216"/>
                </a:lnTo>
                <a:lnTo>
                  <a:pt x="1016" y="216"/>
                </a:lnTo>
                <a:lnTo>
                  <a:pt x="1030" y="234"/>
                </a:lnTo>
                <a:lnTo>
                  <a:pt x="1030" y="234"/>
                </a:lnTo>
                <a:lnTo>
                  <a:pt x="1038" y="244"/>
                </a:lnTo>
                <a:lnTo>
                  <a:pt x="1038" y="244"/>
                </a:lnTo>
                <a:lnTo>
                  <a:pt x="1052" y="266"/>
                </a:lnTo>
                <a:lnTo>
                  <a:pt x="1052" y="266"/>
                </a:lnTo>
                <a:lnTo>
                  <a:pt x="1060" y="278"/>
                </a:lnTo>
                <a:lnTo>
                  <a:pt x="1060" y="278"/>
                </a:lnTo>
                <a:lnTo>
                  <a:pt x="1072" y="302"/>
                </a:lnTo>
                <a:lnTo>
                  <a:pt x="1072" y="302"/>
                </a:lnTo>
                <a:lnTo>
                  <a:pt x="1078" y="314"/>
                </a:lnTo>
                <a:lnTo>
                  <a:pt x="1078" y="314"/>
                </a:lnTo>
                <a:lnTo>
                  <a:pt x="1092" y="342"/>
                </a:lnTo>
                <a:lnTo>
                  <a:pt x="1092" y="342"/>
                </a:lnTo>
                <a:lnTo>
                  <a:pt x="1092" y="344"/>
                </a:lnTo>
                <a:lnTo>
                  <a:pt x="1094" y="348"/>
                </a:lnTo>
                <a:lnTo>
                  <a:pt x="1094" y="348"/>
                </a:lnTo>
                <a:lnTo>
                  <a:pt x="1104" y="376"/>
                </a:lnTo>
                <a:lnTo>
                  <a:pt x="1104" y="376"/>
                </a:lnTo>
                <a:lnTo>
                  <a:pt x="1108" y="386"/>
                </a:lnTo>
                <a:lnTo>
                  <a:pt x="1108" y="386"/>
                </a:lnTo>
                <a:lnTo>
                  <a:pt x="1116" y="410"/>
                </a:lnTo>
                <a:lnTo>
                  <a:pt x="1116" y="410"/>
                </a:lnTo>
                <a:lnTo>
                  <a:pt x="1116" y="412"/>
                </a:lnTo>
                <a:lnTo>
                  <a:pt x="1116" y="412"/>
                </a:lnTo>
                <a:lnTo>
                  <a:pt x="1092" y="402"/>
                </a:lnTo>
                <a:lnTo>
                  <a:pt x="1092" y="402"/>
                </a:lnTo>
                <a:lnTo>
                  <a:pt x="1088" y="398"/>
                </a:lnTo>
                <a:lnTo>
                  <a:pt x="1084" y="396"/>
                </a:lnTo>
                <a:lnTo>
                  <a:pt x="1084" y="396"/>
                </a:lnTo>
                <a:lnTo>
                  <a:pt x="1062" y="386"/>
                </a:lnTo>
                <a:lnTo>
                  <a:pt x="1062" y="386"/>
                </a:lnTo>
                <a:lnTo>
                  <a:pt x="1058" y="378"/>
                </a:lnTo>
                <a:lnTo>
                  <a:pt x="1058" y="378"/>
                </a:lnTo>
                <a:lnTo>
                  <a:pt x="1052" y="362"/>
                </a:lnTo>
                <a:lnTo>
                  <a:pt x="1046" y="348"/>
                </a:lnTo>
                <a:lnTo>
                  <a:pt x="1046" y="348"/>
                </a:lnTo>
                <a:lnTo>
                  <a:pt x="1044" y="344"/>
                </a:lnTo>
                <a:lnTo>
                  <a:pt x="1040" y="340"/>
                </a:lnTo>
                <a:lnTo>
                  <a:pt x="1040" y="340"/>
                </a:lnTo>
                <a:lnTo>
                  <a:pt x="1036" y="326"/>
                </a:lnTo>
                <a:lnTo>
                  <a:pt x="1026" y="312"/>
                </a:lnTo>
                <a:lnTo>
                  <a:pt x="1026" y="312"/>
                </a:lnTo>
                <a:lnTo>
                  <a:pt x="1026" y="308"/>
                </a:lnTo>
                <a:lnTo>
                  <a:pt x="1022" y="304"/>
                </a:lnTo>
                <a:lnTo>
                  <a:pt x="1022" y="304"/>
                </a:lnTo>
                <a:lnTo>
                  <a:pt x="1014" y="288"/>
                </a:lnTo>
                <a:lnTo>
                  <a:pt x="1004" y="274"/>
                </a:lnTo>
                <a:lnTo>
                  <a:pt x="1004" y="274"/>
                </a:lnTo>
                <a:lnTo>
                  <a:pt x="1002" y="272"/>
                </a:lnTo>
                <a:lnTo>
                  <a:pt x="1002" y="272"/>
                </a:lnTo>
                <a:lnTo>
                  <a:pt x="994" y="258"/>
                </a:lnTo>
                <a:lnTo>
                  <a:pt x="984" y="248"/>
                </a:lnTo>
                <a:lnTo>
                  <a:pt x="984" y="248"/>
                </a:lnTo>
                <a:lnTo>
                  <a:pt x="976" y="236"/>
                </a:lnTo>
                <a:lnTo>
                  <a:pt x="976" y="236"/>
                </a:lnTo>
                <a:lnTo>
                  <a:pt x="968" y="226"/>
                </a:lnTo>
                <a:lnTo>
                  <a:pt x="958" y="218"/>
                </a:lnTo>
                <a:lnTo>
                  <a:pt x="958" y="218"/>
                </a:lnTo>
                <a:lnTo>
                  <a:pt x="954" y="212"/>
                </a:lnTo>
                <a:lnTo>
                  <a:pt x="948" y="208"/>
                </a:lnTo>
                <a:lnTo>
                  <a:pt x="948" y="208"/>
                </a:lnTo>
                <a:lnTo>
                  <a:pt x="938" y="216"/>
                </a:lnTo>
                <a:lnTo>
                  <a:pt x="938" y="216"/>
                </a:lnTo>
                <a:lnTo>
                  <a:pt x="896" y="238"/>
                </a:lnTo>
                <a:lnTo>
                  <a:pt x="852" y="260"/>
                </a:lnTo>
                <a:lnTo>
                  <a:pt x="852" y="260"/>
                </a:lnTo>
                <a:lnTo>
                  <a:pt x="796" y="282"/>
                </a:lnTo>
                <a:lnTo>
                  <a:pt x="796" y="282"/>
                </a:lnTo>
                <a:lnTo>
                  <a:pt x="810" y="310"/>
                </a:lnTo>
                <a:lnTo>
                  <a:pt x="810" y="310"/>
                </a:lnTo>
                <a:lnTo>
                  <a:pt x="818" y="334"/>
                </a:lnTo>
                <a:lnTo>
                  <a:pt x="818" y="334"/>
                </a:lnTo>
                <a:lnTo>
                  <a:pt x="820" y="342"/>
                </a:lnTo>
                <a:lnTo>
                  <a:pt x="822" y="348"/>
                </a:lnTo>
                <a:lnTo>
                  <a:pt x="822" y="348"/>
                </a:lnTo>
                <a:lnTo>
                  <a:pt x="832" y="378"/>
                </a:lnTo>
                <a:lnTo>
                  <a:pt x="832" y="378"/>
                </a:lnTo>
                <a:lnTo>
                  <a:pt x="826" y="382"/>
                </a:lnTo>
                <a:lnTo>
                  <a:pt x="826" y="382"/>
                </a:lnTo>
                <a:lnTo>
                  <a:pt x="818" y="386"/>
                </a:lnTo>
                <a:lnTo>
                  <a:pt x="808" y="388"/>
                </a:lnTo>
                <a:lnTo>
                  <a:pt x="792" y="396"/>
                </a:lnTo>
                <a:lnTo>
                  <a:pt x="792" y="396"/>
                </a:lnTo>
                <a:lnTo>
                  <a:pt x="786" y="382"/>
                </a:lnTo>
                <a:lnTo>
                  <a:pt x="786" y="382"/>
                </a:lnTo>
                <a:lnTo>
                  <a:pt x="784" y="378"/>
                </a:lnTo>
                <a:lnTo>
                  <a:pt x="784" y="378"/>
                </a:lnTo>
                <a:lnTo>
                  <a:pt x="782" y="362"/>
                </a:lnTo>
                <a:lnTo>
                  <a:pt x="776" y="348"/>
                </a:lnTo>
                <a:lnTo>
                  <a:pt x="776" y="348"/>
                </a:lnTo>
                <a:lnTo>
                  <a:pt x="770" y="332"/>
                </a:lnTo>
                <a:lnTo>
                  <a:pt x="770" y="332"/>
                </a:lnTo>
                <a:lnTo>
                  <a:pt x="766" y="320"/>
                </a:lnTo>
                <a:lnTo>
                  <a:pt x="760" y="310"/>
                </a:lnTo>
                <a:lnTo>
                  <a:pt x="760" y="310"/>
                </a:lnTo>
                <a:lnTo>
                  <a:pt x="758" y="302"/>
                </a:lnTo>
                <a:lnTo>
                  <a:pt x="756" y="298"/>
                </a:lnTo>
                <a:lnTo>
                  <a:pt x="754" y="296"/>
                </a:lnTo>
                <a:lnTo>
                  <a:pt x="754" y="296"/>
                </a:lnTo>
                <a:lnTo>
                  <a:pt x="698" y="308"/>
                </a:lnTo>
                <a:lnTo>
                  <a:pt x="698" y="308"/>
                </a:lnTo>
                <a:lnTo>
                  <a:pt x="682" y="310"/>
                </a:lnTo>
                <a:lnTo>
                  <a:pt x="682" y="310"/>
                </a:lnTo>
                <a:lnTo>
                  <a:pt x="638" y="316"/>
                </a:lnTo>
                <a:lnTo>
                  <a:pt x="592" y="318"/>
                </a:lnTo>
                <a:lnTo>
                  <a:pt x="592" y="318"/>
                </a:lnTo>
                <a:lnTo>
                  <a:pt x="592" y="400"/>
                </a:lnTo>
                <a:lnTo>
                  <a:pt x="592" y="400"/>
                </a:lnTo>
                <a:lnTo>
                  <a:pt x="590" y="408"/>
                </a:lnTo>
                <a:lnTo>
                  <a:pt x="592" y="416"/>
                </a:lnTo>
                <a:lnTo>
                  <a:pt x="592" y="416"/>
                </a:lnTo>
                <a:lnTo>
                  <a:pt x="590" y="434"/>
                </a:lnTo>
                <a:lnTo>
                  <a:pt x="592" y="454"/>
                </a:lnTo>
                <a:lnTo>
                  <a:pt x="592" y="454"/>
                </a:lnTo>
                <a:lnTo>
                  <a:pt x="590" y="462"/>
                </a:lnTo>
                <a:lnTo>
                  <a:pt x="592" y="470"/>
                </a:lnTo>
                <a:lnTo>
                  <a:pt x="592" y="470"/>
                </a:lnTo>
                <a:lnTo>
                  <a:pt x="590" y="488"/>
                </a:lnTo>
                <a:lnTo>
                  <a:pt x="592" y="508"/>
                </a:lnTo>
                <a:lnTo>
                  <a:pt x="592" y="508"/>
                </a:lnTo>
                <a:lnTo>
                  <a:pt x="590" y="516"/>
                </a:lnTo>
                <a:lnTo>
                  <a:pt x="592" y="524"/>
                </a:lnTo>
                <a:lnTo>
                  <a:pt x="592" y="524"/>
                </a:lnTo>
                <a:lnTo>
                  <a:pt x="590" y="536"/>
                </a:lnTo>
                <a:lnTo>
                  <a:pt x="592" y="546"/>
                </a:lnTo>
                <a:lnTo>
                  <a:pt x="592" y="546"/>
                </a:lnTo>
                <a:lnTo>
                  <a:pt x="604" y="548"/>
                </a:lnTo>
                <a:lnTo>
                  <a:pt x="614" y="546"/>
                </a:lnTo>
                <a:lnTo>
                  <a:pt x="614" y="546"/>
                </a:lnTo>
                <a:lnTo>
                  <a:pt x="622" y="548"/>
                </a:lnTo>
                <a:lnTo>
                  <a:pt x="630" y="546"/>
                </a:lnTo>
                <a:lnTo>
                  <a:pt x="630" y="546"/>
                </a:lnTo>
                <a:lnTo>
                  <a:pt x="638" y="548"/>
                </a:lnTo>
                <a:lnTo>
                  <a:pt x="642" y="548"/>
                </a:lnTo>
                <a:lnTo>
                  <a:pt x="644" y="550"/>
                </a:lnTo>
                <a:lnTo>
                  <a:pt x="644" y="550"/>
                </a:lnTo>
                <a:lnTo>
                  <a:pt x="636" y="570"/>
                </a:lnTo>
                <a:lnTo>
                  <a:pt x="636" y="570"/>
                </a:lnTo>
                <a:lnTo>
                  <a:pt x="630" y="590"/>
                </a:lnTo>
                <a:lnTo>
                  <a:pt x="630" y="590"/>
                </a:lnTo>
                <a:lnTo>
                  <a:pt x="616" y="592"/>
                </a:lnTo>
                <a:lnTo>
                  <a:pt x="616" y="592"/>
                </a:lnTo>
                <a:lnTo>
                  <a:pt x="604" y="590"/>
                </a:lnTo>
                <a:lnTo>
                  <a:pt x="592" y="592"/>
                </a:lnTo>
                <a:lnTo>
                  <a:pt x="592" y="592"/>
                </a:lnTo>
                <a:lnTo>
                  <a:pt x="590" y="604"/>
                </a:lnTo>
                <a:lnTo>
                  <a:pt x="592" y="616"/>
                </a:lnTo>
                <a:lnTo>
                  <a:pt x="592" y="616"/>
                </a:lnTo>
                <a:lnTo>
                  <a:pt x="590" y="624"/>
                </a:lnTo>
                <a:lnTo>
                  <a:pt x="592" y="634"/>
                </a:lnTo>
                <a:lnTo>
                  <a:pt x="592" y="634"/>
                </a:lnTo>
                <a:lnTo>
                  <a:pt x="590" y="652"/>
                </a:lnTo>
                <a:lnTo>
                  <a:pt x="592" y="670"/>
                </a:lnTo>
                <a:lnTo>
                  <a:pt x="592" y="670"/>
                </a:lnTo>
                <a:lnTo>
                  <a:pt x="590" y="680"/>
                </a:lnTo>
                <a:lnTo>
                  <a:pt x="592" y="688"/>
                </a:lnTo>
                <a:lnTo>
                  <a:pt x="592" y="688"/>
                </a:lnTo>
                <a:lnTo>
                  <a:pt x="590" y="706"/>
                </a:lnTo>
                <a:lnTo>
                  <a:pt x="592" y="726"/>
                </a:lnTo>
                <a:lnTo>
                  <a:pt x="592" y="726"/>
                </a:lnTo>
                <a:lnTo>
                  <a:pt x="590" y="734"/>
                </a:lnTo>
                <a:lnTo>
                  <a:pt x="592" y="742"/>
                </a:lnTo>
                <a:lnTo>
                  <a:pt x="592" y="742"/>
                </a:lnTo>
                <a:lnTo>
                  <a:pt x="590" y="760"/>
                </a:lnTo>
                <a:lnTo>
                  <a:pt x="592" y="780"/>
                </a:lnTo>
                <a:lnTo>
                  <a:pt x="592" y="780"/>
                </a:lnTo>
                <a:lnTo>
                  <a:pt x="590" y="788"/>
                </a:lnTo>
                <a:lnTo>
                  <a:pt x="592" y="796"/>
                </a:lnTo>
                <a:lnTo>
                  <a:pt x="592" y="796"/>
                </a:lnTo>
                <a:lnTo>
                  <a:pt x="590" y="808"/>
                </a:lnTo>
                <a:lnTo>
                  <a:pt x="592" y="820"/>
                </a:lnTo>
                <a:lnTo>
                  <a:pt x="592" y="820"/>
                </a:lnTo>
                <a:lnTo>
                  <a:pt x="614" y="820"/>
                </a:lnTo>
                <a:lnTo>
                  <a:pt x="614" y="820"/>
                </a:lnTo>
                <a:lnTo>
                  <a:pt x="628" y="820"/>
                </a:lnTo>
                <a:lnTo>
                  <a:pt x="628" y="820"/>
                </a:lnTo>
                <a:lnTo>
                  <a:pt x="648" y="824"/>
                </a:lnTo>
                <a:lnTo>
                  <a:pt x="648" y="824"/>
                </a:lnTo>
                <a:lnTo>
                  <a:pt x="654" y="834"/>
                </a:lnTo>
                <a:lnTo>
                  <a:pt x="654" y="834"/>
                </a:lnTo>
                <a:lnTo>
                  <a:pt x="658" y="840"/>
                </a:lnTo>
                <a:lnTo>
                  <a:pt x="658" y="840"/>
                </a:lnTo>
                <a:lnTo>
                  <a:pt x="664" y="852"/>
                </a:lnTo>
                <a:lnTo>
                  <a:pt x="672" y="864"/>
                </a:lnTo>
                <a:lnTo>
                  <a:pt x="672" y="864"/>
                </a:lnTo>
                <a:lnTo>
                  <a:pt x="674" y="870"/>
                </a:lnTo>
                <a:lnTo>
                  <a:pt x="674" y="870"/>
                </a:lnTo>
                <a:lnTo>
                  <a:pt x="662" y="870"/>
                </a:lnTo>
                <a:lnTo>
                  <a:pt x="662" y="870"/>
                </a:lnTo>
                <a:lnTo>
                  <a:pt x="646" y="868"/>
                </a:lnTo>
                <a:lnTo>
                  <a:pt x="630" y="866"/>
                </a:lnTo>
                <a:lnTo>
                  <a:pt x="630" y="866"/>
                </a:lnTo>
                <a:lnTo>
                  <a:pt x="624" y="864"/>
                </a:lnTo>
                <a:lnTo>
                  <a:pt x="616" y="864"/>
                </a:lnTo>
                <a:lnTo>
                  <a:pt x="616" y="864"/>
                </a:lnTo>
                <a:lnTo>
                  <a:pt x="604" y="864"/>
                </a:lnTo>
                <a:lnTo>
                  <a:pt x="592" y="864"/>
                </a:lnTo>
                <a:lnTo>
                  <a:pt x="592" y="864"/>
                </a:lnTo>
                <a:lnTo>
                  <a:pt x="590" y="876"/>
                </a:lnTo>
                <a:lnTo>
                  <a:pt x="592" y="888"/>
                </a:lnTo>
                <a:lnTo>
                  <a:pt x="592" y="888"/>
                </a:lnTo>
                <a:lnTo>
                  <a:pt x="590" y="896"/>
                </a:lnTo>
                <a:lnTo>
                  <a:pt x="592" y="904"/>
                </a:lnTo>
                <a:lnTo>
                  <a:pt x="592" y="904"/>
                </a:lnTo>
                <a:lnTo>
                  <a:pt x="590" y="924"/>
                </a:lnTo>
                <a:lnTo>
                  <a:pt x="592" y="942"/>
                </a:lnTo>
                <a:lnTo>
                  <a:pt x="592" y="942"/>
                </a:lnTo>
                <a:lnTo>
                  <a:pt x="590" y="950"/>
                </a:lnTo>
                <a:lnTo>
                  <a:pt x="592" y="960"/>
                </a:lnTo>
                <a:lnTo>
                  <a:pt x="592" y="960"/>
                </a:lnTo>
                <a:lnTo>
                  <a:pt x="590" y="978"/>
                </a:lnTo>
                <a:lnTo>
                  <a:pt x="592" y="996"/>
                </a:lnTo>
                <a:lnTo>
                  <a:pt x="592" y="996"/>
                </a:lnTo>
                <a:lnTo>
                  <a:pt x="590" y="1006"/>
                </a:lnTo>
                <a:lnTo>
                  <a:pt x="592" y="1014"/>
                </a:lnTo>
                <a:lnTo>
                  <a:pt x="592" y="1014"/>
                </a:lnTo>
                <a:lnTo>
                  <a:pt x="590" y="1032"/>
                </a:lnTo>
                <a:lnTo>
                  <a:pt x="592" y="1052"/>
                </a:lnTo>
                <a:lnTo>
                  <a:pt x="592" y="1052"/>
                </a:lnTo>
                <a:lnTo>
                  <a:pt x="590" y="1058"/>
                </a:lnTo>
                <a:lnTo>
                  <a:pt x="592" y="1066"/>
                </a:lnTo>
                <a:lnTo>
                  <a:pt x="592" y="1066"/>
                </a:lnTo>
                <a:lnTo>
                  <a:pt x="632" y="1028"/>
                </a:lnTo>
                <a:lnTo>
                  <a:pt x="650" y="1008"/>
                </a:lnTo>
                <a:lnTo>
                  <a:pt x="666" y="986"/>
                </a:lnTo>
                <a:lnTo>
                  <a:pt x="666" y="986"/>
                </a:lnTo>
                <a:lnTo>
                  <a:pt x="680" y="970"/>
                </a:lnTo>
                <a:lnTo>
                  <a:pt x="692" y="954"/>
                </a:lnTo>
                <a:lnTo>
                  <a:pt x="716" y="918"/>
                </a:lnTo>
                <a:lnTo>
                  <a:pt x="716" y="918"/>
                </a:lnTo>
                <a:lnTo>
                  <a:pt x="726" y="924"/>
                </a:lnTo>
                <a:lnTo>
                  <a:pt x="726" y="924"/>
                </a:lnTo>
                <a:lnTo>
                  <a:pt x="734" y="932"/>
                </a:lnTo>
                <a:lnTo>
                  <a:pt x="734" y="932"/>
                </a:lnTo>
                <a:lnTo>
                  <a:pt x="738" y="936"/>
                </a:lnTo>
                <a:lnTo>
                  <a:pt x="742" y="940"/>
                </a:lnTo>
                <a:lnTo>
                  <a:pt x="746" y="942"/>
                </a:lnTo>
                <a:lnTo>
                  <a:pt x="748" y="948"/>
                </a:lnTo>
                <a:lnTo>
                  <a:pt x="748" y="948"/>
                </a:lnTo>
                <a:lnTo>
                  <a:pt x="720" y="992"/>
                </a:lnTo>
                <a:lnTo>
                  <a:pt x="720" y="992"/>
                </a:lnTo>
                <a:lnTo>
                  <a:pt x="678" y="1042"/>
                </a:lnTo>
                <a:lnTo>
                  <a:pt x="654" y="1066"/>
                </a:lnTo>
                <a:lnTo>
                  <a:pt x="630" y="1090"/>
                </a:lnTo>
                <a:lnTo>
                  <a:pt x="630" y="1090"/>
                </a:lnTo>
                <a:lnTo>
                  <a:pt x="656" y="1088"/>
                </a:lnTo>
                <a:lnTo>
                  <a:pt x="680" y="1082"/>
                </a:lnTo>
                <a:lnTo>
                  <a:pt x="680" y="1082"/>
                </a:lnTo>
                <a:lnTo>
                  <a:pt x="688" y="1082"/>
                </a:lnTo>
                <a:lnTo>
                  <a:pt x="696" y="1078"/>
                </a:lnTo>
                <a:lnTo>
                  <a:pt x="696" y="1078"/>
                </a:lnTo>
                <a:lnTo>
                  <a:pt x="726" y="1070"/>
                </a:lnTo>
                <a:lnTo>
                  <a:pt x="756" y="1060"/>
                </a:lnTo>
                <a:lnTo>
                  <a:pt x="756" y="1060"/>
                </a:lnTo>
                <a:lnTo>
                  <a:pt x="768" y="1056"/>
                </a:lnTo>
                <a:lnTo>
                  <a:pt x="780" y="1050"/>
                </a:lnTo>
                <a:lnTo>
                  <a:pt x="780" y="1050"/>
                </a:lnTo>
                <a:lnTo>
                  <a:pt x="804" y="1040"/>
                </a:lnTo>
                <a:lnTo>
                  <a:pt x="826" y="1028"/>
                </a:lnTo>
                <a:lnTo>
                  <a:pt x="848" y="1014"/>
                </a:lnTo>
                <a:lnTo>
                  <a:pt x="870" y="1000"/>
                </a:lnTo>
                <a:lnTo>
                  <a:pt x="870" y="1000"/>
                </a:lnTo>
                <a:lnTo>
                  <a:pt x="880" y="1000"/>
                </a:lnTo>
                <a:lnTo>
                  <a:pt x="880" y="1000"/>
                </a:lnTo>
                <a:lnTo>
                  <a:pt x="900" y="1004"/>
                </a:lnTo>
                <a:lnTo>
                  <a:pt x="918" y="1004"/>
                </a:lnTo>
                <a:lnTo>
                  <a:pt x="918" y="1004"/>
                </a:lnTo>
                <a:lnTo>
                  <a:pt x="928" y="1006"/>
                </a:lnTo>
                <a:lnTo>
                  <a:pt x="928" y="1006"/>
                </a:lnTo>
                <a:lnTo>
                  <a:pt x="930" y="1010"/>
                </a:lnTo>
                <a:lnTo>
                  <a:pt x="928" y="1012"/>
                </a:lnTo>
                <a:lnTo>
                  <a:pt x="922" y="1016"/>
                </a:lnTo>
                <a:lnTo>
                  <a:pt x="922" y="1016"/>
                </a:lnTo>
                <a:lnTo>
                  <a:pt x="882" y="1044"/>
                </a:lnTo>
                <a:lnTo>
                  <a:pt x="882" y="1044"/>
                </a:lnTo>
                <a:lnTo>
                  <a:pt x="848" y="1066"/>
                </a:lnTo>
                <a:lnTo>
                  <a:pt x="848" y="1066"/>
                </a:lnTo>
                <a:lnTo>
                  <a:pt x="810" y="1084"/>
                </a:lnTo>
                <a:lnTo>
                  <a:pt x="772" y="1102"/>
                </a:lnTo>
                <a:lnTo>
                  <a:pt x="772" y="1102"/>
                </a:lnTo>
                <a:lnTo>
                  <a:pt x="752" y="1108"/>
                </a:lnTo>
                <a:lnTo>
                  <a:pt x="752" y="1108"/>
                </a:lnTo>
                <a:lnTo>
                  <a:pt x="696" y="1124"/>
                </a:lnTo>
                <a:lnTo>
                  <a:pt x="696" y="1124"/>
                </a:lnTo>
                <a:lnTo>
                  <a:pt x="676" y="1128"/>
                </a:lnTo>
                <a:lnTo>
                  <a:pt x="676" y="1128"/>
                </a:lnTo>
                <a:lnTo>
                  <a:pt x="630" y="1136"/>
                </a:lnTo>
                <a:lnTo>
                  <a:pt x="630" y="1136"/>
                </a:lnTo>
                <a:lnTo>
                  <a:pt x="616" y="1136"/>
                </a:lnTo>
                <a:lnTo>
                  <a:pt x="616" y="1136"/>
                </a:lnTo>
                <a:lnTo>
                  <a:pt x="574" y="1138"/>
                </a:lnTo>
                <a:lnTo>
                  <a:pt x="574" y="1138"/>
                </a:lnTo>
                <a:lnTo>
                  <a:pt x="560" y="1138"/>
                </a:lnTo>
                <a:lnTo>
                  <a:pt x="560" y="1138"/>
                </a:lnTo>
                <a:lnTo>
                  <a:pt x="522" y="1136"/>
                </a:lnTo>
                <a:lnTo>
                  <a:pt x="522" y="1136"/>
                </a:lnTo>
                <a:lnTo>
                  <a:pt x="508" y="1136"/>
                </a:lnTo>
                <a:lnTo>
                  <a:pt x="508" y="1136"/>
                </a:lnTo>
                <a:lnTo>
                  <a:pt x="472" y="1130"/>
                </a:lnTo>
                <a:lnTo>
                  <a:pt x="472" y="1130"/>
                </a:lnTo>
                <a:lnTo>
                  <a:pt x="460" y="1128"/>
                </a:lnTo>
                <a:lnTo>
                  <a:pt x="460" y="1128"/>
                </a:lnTo>
                <a:lnTo>
                  <a:pt x="426" y="1120"/>
                </a:lnTo>
                <a:lnTo>
                  <a:pt x="426" y="1120"/>
                </a:lnTo>
                <a:lnTo>
                  <a:pt x="418" y="1118"/>
                </a:lnTo>
                <a:lnTo>
                  <a:pt x="418" y="1118"/>
                </a:lnTo>
                <a:lnTo>
                  <a:pt x="386" y="1108"/>
                </a:lnTo>
                <a:lnTo>
                  <a:pt x="386" y="1108"/>
                </a:lnTo>
                <a:lnTo>
                  <a:pt x="376" y="1104"/>
                </a:lnTo>
                <a:lnTo>
                  <a:pt x="376" y="1104"/>
                </a:lnTo>
                <a:lnTo>
                  <a:pt x="348" y="1094"/>
                </a:lnTo>
                <a:lnTo>
                  <a:pt x="348" y="1094"/>
                </a:lnTo>
                <a:lnTo>
                  <a:pt x="342" y="1092"/>
                </a:lnTo>
                <a:lnTo>
                  <a:pt x="336" y="1090"/>
                </a:lnTo>
                <a:lnTo>
                  <a:pt x="336" y="1090"/>
                </a:lnTo>
                <a:lnTo>
                  <a:pt x="314" y="1078"/>
                </a:lnTo>
                <a:lnTo>
                  <a:pt x="314" y="1078"/>
                </a:lnTo>
                <a:lnTo>
                  <a:pt x="302" y="1072"/>
                </a:lnTo>
                <a:lnTo>
                  <a:pt x="302" y="1072"/>
                </a:lnTo>
                <a:lnTo>
                  <a:pt x="278" y="1058"/>
                </a:lnTo>
                <a:lnTo>
                  <a:pt x="278" y="1058"/>
                </a:lnTo>
                <a:lnTo>
                  <a:pt x="266" y="1052"/>
                </a:lnTo>
                <a:lnTo>
                  <a:pt x="266" y="1052"/>
                </a:lnTo>
                <a:lnTo>
                  <a:pt x="246" y="1038"/>
                </a:lnTo>
                <a:lnTo>
                  <a:pt x="246" y="1038"/>
                </a:lnTo>
                <a:lnTo>
                  <a:pt x="234" y="1030"/>
                </a:lnTo>
                <a:lnTo>
                  <a:pt x="234" y="1030"/>
                </a:lnTo>
                <a:lnTo>
                  <a:pt x="216" y="1016"/>
                </a:lnTo>
                <a:lnTo>
                  <a:pt x="216" y="1016"/>
                </a:lnTo>
                <a:lnTo>
                  <a:pt x="204" y="1006"/>
                </a:lnTo>
                <a:lnTo>
                  <a:pt x="204" y="1006"/>
                </a:lnTo>
                <a:lnTo>
                  <a:pt x="182" y="988"/>
                </a:lnTo>
                <a:lnTo>
                  <a:pt x="182" y="988"/>
                </a:lnTo>
                <a:lnTo>
                  <a:pt x="178" y="984"/>
                </a:lnTo>
                <a:lnTo>
                  <a:pt x="178" y="984"/>
                </a:lnTo>
                <a:lnTo>
                  <a:pt x="156" y="960"/>
                </a:lnTo>
                <a:lnTo>
                  <a:pt x="156" y="960"/>
                </a:lnTo>
                <a:lnTo>
                  <a:pt x="150" y="956"/>
                </a:lnTo>
                <a:lnTo>
                  <a:pt x="150" y="956"/>
                </a:lnTo>
                <a:lnTo>
                  <a:pt x="132" y="934"/>
                </a:lnTo>
                <a:lnTo>
                  <a:pt x="132" y="934"/>
                </a:lnTo>
                <a:lnTo>
                  <a:pt x="122" y="922"/>
                </a:lnTo>
                <a:lnTo>
                  <a:pt x="122" y="922"/>
                </a:lnTo>
                <a:lnTo>
                  <a:pt x="108" y="904"/>
                </a:lnTo>
                <a:lnTo>
                  <a:pt x="108" y="904"/>
                </a:lnTo>
                <a:lnTo>
                  <a:pt x="100" y="894"/>
                </a:lnTo>
                <a:lnTo>
                  <a:pt x="100" y="894"/>
                </a:lnTo>
                <a:lnTo>
                  <a:pt x="86" y="872"/>
                </a:lnTo>
                <a:lnTo>
                  <a:pt x="86" y="872"/>
                </a:lnTo>
                <a:lnTo>
                  <a:pt x="80" y="860"/>
                </a:lnTo>
                <a:lnTo>
                  <a:pt x="80" y="860"/>
                </a:lnTo>
                <a:lnTo>
                  <a:pt x="66" y="836"/>
                </a:lnTo>
                <a:lnTo>
                  <a:pt x="66" y="836"/>
                </a:lnTo>
                <a:lnTo>
                  <a:pt x="64" y="830"/>
                </a:lnTo>
                <a:lnTo>
                  <a:pt x="60" y="826"/>
                </a:lnTo>
                <a:lnTo>
                  <a:pt x="60" y="826"/>
                </a:lnTo>
                <a:lnTo>
                  <a:pt x="48" y="802"/>
                </a:lnTo>
                <a:lnTo>
                  <a:pt x="48" y="802"/>
                </a:lnTo>
                <a:lnTo>
                  <a:pt x="48" y="796"/>
                </a:lnTo>
                <a:lnTo>
                  <a:pt x="44" y="790"/>
                </a:lnTo>
                <a:lnTo>
                  <a:pt x="44" y="790"/>
                </a:lnTo>
                <a:close/>
                <a:moveTo>
                  <a:pt x="442" y="876"/>
                </a:moveTo>
                <a:lnTo>
                  <a:pt x="442" y="876"/>
                </a:lnTo>
                <a:lnTo>
                  <a:pt x="422" y="878"/>
                </a:lnTo>
                <a:lnTo>
                  <a:pt x="404" y="884"/>
                </a:lnTo>
                <a:lnTo>
                  <a:pt x="404" y="884"/>
                </a:lnTo>
                <a:lnTo>
                  <a:pt x="410" y="896"/>
                </a:lnTo>
                <a:lnTo>
                  <a:pt x="416" y="904"/>
                </a:lnTo>
                <a:lnTo>
                  <a:pt x="416" y="904"/>
                </a:lnTo>
                <a:lnTo>
                  <a:pt x="418" y="910"/>
                </a:lnTo>
                <a:lnTo>
                  <a:pt x="420" y="912"/>
                </a:lnTo>
                <a:lnTo>
                  <a:pt x="420" y="912"/>
                </a:lnTo>
                <a:lnTo>
                  <a:pt x="428" y="926"/>
                </a:lnTo>
                <a:lnTo>
                  <a:pt x="436" y="938"/>
                </a:lnTo>
                <a:lnTo>
                  <a:pt x="436" y="938"/>
                </a:lnTo>
                <a:lnTo>
                  <a:pt x="444" y="948"/>
                </a:lnTo>
                <a:lnTo>
                  <a:pt x="444" y="948"/>
                </a:lnTo>
                <a:lnTo>
                  <a:pt x="450" y="960"/>
                </a:lnTo>
                <a:lnTo>
                  <a:pt x="458" y="970"/>
                </a:lnTo>
                <a:lnTo>
                  <a:pt x="458" y="970"/>
                </a:lnTo>
                <a:lnTo>
                  <a:pt x="464" y="976"/>
                </a:lnTo>
                <a:lnTo>
                  <a:pt x="464" y="976"/>
                </a:lnTo>
                <a:lnTo>
                  <a:pt x="472" y="988"/>
                </a:lnTo>
                <a:lnTo>
                  <a:pt x="482" y="1000"/>
                </a:lnTo>
                <a:lnTo>
                  <a:pt x="482" y="1000"/>
                </a:lnTo>
                <a:lnTo>
                  <a:pt x="488" y="1006"/>
                </a:lnTo>
                <a:lnTo>
                  <a:pt x="488" y="1006"/>
                </a:lnTo>
                <a:lnTo>
                  <a:pt x="498" y="1018"/>
                </a:lnTo>
                <a:lnTo>
                  <a:pt x="510" y="1030"/>
                </a:lnTo>
                <a:lnTo>
                  <a:pt x="510" y="1030"/>
                </a:lnTo>
                <a:lnTo>
                  <a:pt x="516" y="1036"/>
                </a:lnTo>
                <a:lnTo>
                  <a:pt x="516" y="1036"/>
                </a:lnTo>
                <a:lnTo>
                  <a:pt x="530" y="1052"/>
                </a:lnTo>
                <a:lnTo>
                  <a:pt x="546" y="1066"/>
                </a:lnTo>
                <a:lnTo>
                  <a:pt x="546" y="1066"/>
                </a:lnTo>
                <a:lnTo>
                  <a:pt x="546" y="1010"/>
                </a:lnTo>
                <a:lnTo>
                  <a:pt x="546" y="1010"/>
                </a:lnTo>
                <a:lnTo>
                  <a:pt x="548" y="1004"/>
                </a:lnTo>
                <a:lnTo>
                  <a:pt x="546" y="998"/>
                </a:lnTo>
                <a:lnTo>
                  <a:pt x="546" y="998"/>
                </a:lnTo>
                <a:lnTo>
                  <a:pt x="548" y="976"/>
                </a:lnTo>
                <a:lnTo>
                  <a:pt x="546" y="956"/>
                </a:lnTo>
                <a:lnTo>
                  <a:pt x="546" y="956"/>
                </a:lnTo>
                <a:lnTo>
                  <a:pt x="548" y="950"/>
                </a:lnTo>
                <a:lnTo>
                  <a:pt x="546" y="942"/>
                </a:lnTo>
                <a:lnTo>
                  <a:pt x="546" y="942"/>
                </a:lnTo>
                <a:lnTo>
                  <a:pt x="548" y="922"/>
                </a:lnTo>
                <a:lnTo>
                  <a:pt x="546" y="902"/>
                </a:lnTo>
                <a:lnTo>
                  <a:pt x="546" y="902"/>
                </a:lnTo>
                <a:lnTo>
                  <a:pt x="548" y="896"/>
                </a:lnTo>
                <a:lnTo>
                  <a:pt x="546" y="888"/>
                </a:lnTo>
                <a:lnTo>
                  <a:pt x="546" y="888"/>
                </a:lnTo>
                <a:lnTo>
                  <a:pt x="546" y="864"/>
                </a:lnTo>
                <a:lnTo>
                  <a:pt x="546" y="864"/>
                </a:lnTo>
                <a:lnTo>
                  <a:pt x="522" y="864"/>
                </a:lnTo>
                <a:lnTo>
                  <a:pt x="522" y="864"/>
                </a:lnTo>
                <a:lnTo>
                  <a:pt x="514" y="864"/>
                </a:lnTo>
                <a:lnTo>
                  <a:pt x="506" y="866"/>
                </a:lnTo>
                <a:lnTo>
                  <a:pt x="506" y="866"/>
                </a:lnTo>
                <a:lnTo>
                  <a:pt x="482" y="868"/>
                </a:lnTo>
                <a:lnTo>
                  <a:pt x="460" y="872"/>
                </a:lnTo>
                <a:lnTo>
                  <a:pt x="460" y="872"/>
                </a:lnTo>
                <a:lnTo>
                  <a:pt x="450" y="874"/>
                </a:lnTo>
                <a:lnTo>
                  <a:pt x="442" y="876"/>
                </a:lnTo>
                <a:lnTo>
                  <a:pt x="442" y="876"/>
                </a:lnTo>
                <a:close/>
                <a:moveTo>
                  <a:pt x="688" y="106"/>
                </a:moveTo>
                <a:lnTo>
                  <a:pt x="688" y="106"/>
                </a:lnTo>
                <a:lnTo>
                  <a:pt x="706" y="128"/>
                </a:lnTo>
                <a:lnTo>
                  <a:pt x="706" y="128"/>
                </a:lnTo>
                <a:lnTo>
                  <a:pt x="708" y="134"/>
                </a:lnTo>
                <a:lnTo>
                  <a:pt x="712" y="136"/>
                </a:lnTo>
                <a:lnTo>
                  <a:pt x="712" y="136"/>
                </a:lnTo>
                <a:lnTo>
                  <a:pt x="728" y="158"/>
                </a:lnTo>
                <a:lnTo>
                  <a:pt x="728" y="158"/>
                </a:lnTo>
                <a:lnTo>
                  <a:pt x="730" y="162"/>
                </a:lnTo>
                <a:lnTo>
                  <a:pt x="734" y="166"/>
                </a:lnTo>
                <a:lnTo>
                  <a:pt x="734" y="166"/>
                </a:lnTo>
                <a:lnTo>
                  <a:pt x="750" y="190"/>
                </a:lnTo>
                <a:lnTo>
                  <a:pt x="750" y="190"/>
                </a:lnTo>
                <a:lnTo>
                  <a:pt x="754" y="198"/>
                </a:lnTo>
                <a:lnTo>
                  <a:pt x="754" y="198"/>
                </a:lnTo>
                <a:lnTo>
                  <a:pt x="770" y="228"/>
                </a:lnTo>
                <a:lnTo>
                  <a:pt x="770" y="228"/>
                </a:lnTo>
                <a:lnTo>
                  <a:pt x="772" y="230"/>
                </a:lnTo>
                <a:lnTo>
                  <a:pt x="774" y="234"/>
                </a:lnTo>
                <a:lnTo>
                  <a:pt x="774" y="234"/>
                </a:lnTo>
                <a:lnTo>
                  <a:pt x="776" y="238"/>
                </a:lnTo>
                <a:lnTo>
                  <a:pt x="780" y="242"/>
                </a:lnTo>
                <a:lnTo>
                  <a:pt x="780" y="242"/>
                </a:lnTo>
                <a:lnTo>
                  <a:pt x="808" y="230"/>
                </a:lnTo>
                <a:lnTo>
                  <a:pt x="824" y="224"/>
                </a:lnTo>
                <a:lnTo>
                  <a:pt x="838" y="218"/>
                </a:lnTo>
                <a:lnTo>
                  <a:pt x="838" y="218"/>
                </a:lnTo>
                <a:lnTo>
                  <a:pt x="858" y="210"/>
                </a:lnTo>
                <a:lnTo>
                  <a:pt x="878" y="200"/>
                </a:lnTo>
                <a:lnTo>
                  <a:pt x="918" y="176"/>
                </a:lnTo>
                <a:lnTo>
                  <a:pt x="918" y="176"/>
                </a:lnTo>
                <a:lnTo>
                  <a:pt x="904" y="164"/>
                </a:lnTo>
                <a:lnTo>
                  <a:pt x="892" y="154"/>
                </a:lnTo>
                <a:lnTo>
                  <a:pt x="892" y="154"/>
                </a:lnTo>
                <a:lnTo>
                  <a:pt x="880" y="146"/>
                </a:lnTo>
                <a:lnTo>
                  <a:pt x="868" y="136"/>
                </a:lnTo>
                <a:lnTo>
                  <a:pt x="868" y="136"/>
                </a:lnTo>
                <a:lnTo>
                  <a:pt x="862" y="134"/>
                </a:lnTo>
                <a:lnTo>
                  <a:pt x="862" y="134"/>
                </a:lnTo>
                <a:lnTo>
                  <a:pt x="848" y="124"/>
                </a:lnTo>
                <a:lnTo>
                  <a:pt x="834" y="116"/>
                </a:lnTo>
                <a:lnTo>
                  <a:pt x="834" y="116"/>
                </a:lnTo>
                <a:lnTo>
                  <a:pt x="830" y="114"/>
                </a:lnTo>
                <a:lnTo>
                  <a:pt x="826" y="112"/>
                </a:lnTo>
                <a:lnTo>
                  <a:pt x="826" y="112"/>
                </a:lnTo>
                <a:lnTo>
                  <a:pt x="814" y="104"/>
                </a:lnTo>
                <a:lnTo>
                  <a:pt x="798" y="98"/>
                </a:lnTo>
                <a:lnTo>
                  <a:pt x="798" y="98"/>
                </a:lnTo>
                <a:lnTo>
                  <a:pt x="796" y="94"/>
                </a:lnTo>
                <a:lnTo>
                  <a:pt x="790" y="92"/>
                </a:lnTo>
                <a:lnTo>
                  <a:pt x="790" y="92"/>
                </a:lnTo>
                <a:lnTo>
                  <a:pt x="776" y="86"/>
                </a:lnTo>
                <a:lnTo>
                  <a:pt x="762" y="80"/>
                </a:lnTo>
                <a:lnTo>
                  <a:pt x="762" y="80"/>
                </a:lnTo>
                <a:lnTo>
                  <a:pt x="756" y="78"/>
                </a:lnTo>
                <a:lnTo>
                  <a:pt x="750" y="76"/>
                </a:lnTo>
                <a:lnTo>
                  <a:pt x="750" y="76"/>
                </a:lnTo>
                <a:lnTo>
                  <a:pt x="736" y="70"/>
                </a:lnTo>
                <a:lnTo>
                  <a:pt x="722" y="68"/>
                </a:lnTo>
                <a:lnTo>
                  <a:pt x="722" y="68"/>
                </a:lnTo>
                <a:lnTo>
                  <a:pt x="716" y="64"/>
                </a:lnTo>
                <a:lnTo>
                  <a:pt x="710" y="62"/>
                </a:lnTo>
                <a:lnTo>
                  <a:pt x="710" y="62"/>
                </a:lnTo>
                <a:lnTo>
                  <a:pt x="672" y="54"/>
                </a:lnTo>
                <a:lnTo>
                  <a:pt x="654" y="50"/>
                </a:lnTo>
                <a:lnTo>
                  <a:pt x="634" y="48"/>
                </a:lnTo>
                <a:lnTo>
                  <a:pt x="634" y="48"/>
                </a:lnTo>
                <a:lnTo>
                  <a:pt x="632" y="52"/>
                </a:lnTo>
                <a:lnTo>
                  <a:pt x="632" y="52"/>
                </a:lnTo>
                <a:lnTo>
                  <a:pt x="680" y="98"/>
                </a:lnTo>
                <a:lnTo>
                  <a:pt x="680" y="98"/>
                </a:lnTo>
                <a:lnTo>
                  <a:pt x="688" y="106"/>
                </a:lnTo>
                <a:lnTo>
                  <a:pt x="688" y="106"/>
                </a:lnTo>
                <a:close/>
                <a:moveTo>
                  <a:pt x="432" y="1010"/>
                </a:moveTo>
                <a:lnTo>
                  <a:pt x="432" y="1010"/>
                </a:lnTo>
                <a:lnTo>
                  <a:pt x="430" y="1006"/>
                </a:lnTo>
                <a:lnTo>
                  <a:pt x="426" y="1002"/>
                </a:lnTo>
                <a:lnTo>
                  <a:pt x="426" y="1002"/>
                </a:lnTo>
                <a:lnTo>
                  <a:pt x="412" y="980"/>
                </a:lnTo>
                <a:lnTo>
                  <a:pt x="412" y="980"/>
                </a:lnTo>
                <a:lnTo>
                  <a:pt x="408" y="976"/>
                </a:lnTo>
                <a:lnTo>
                  <a:pt x="406" y="972"/>
                </a:lnTo>
                <a:lnTo>
                  <a:pt x="406" y="972"/>
                </a:lnTo>
                <a:lnTo>
                  <a:pt x="390" y="948"/>
                </a:lnTo>
                <a:lnTo>
                  <a:pt x="390" y="948"/>
                </a:lnTo>
                <a:lnTo>
                  <a:pt x="384" y="940"/>
                </a:lnTo>
                <a:lnTo>
                  <a:pt x="384" y="940"/>
                </a:lnTo>
                <a:lnTo>
                  <a:pt x="368" y="910"/>
                </a:lnTo>
                <a:lnTo>
                  <a:pt x="368" y="910"/>
                </a:lnTo>
                <a:lnTo>
                  <a:pt x="366" y="908"/>
                </a:lnTo>
                <a:lnTo>
                  <a:pt x="364" y="904"/>
                </a:lnTo>
                <a:lnTo>
                  <a:pt x="364" y="904"/>
                </a:lnTo>
                <a:lnTo>
                  <a:pt x="362" y="900"/>
                </a:lnTo>
                <a:lnTo>
                  <a:pt x="360" y="898"/>
                </a:lnTo>
                <a:lnTo>
                  <a:pt x="358" y="896"/>
                </a:lnTo>
                <a:lnTo>
                  <a:pt x="358" y="896"/>
                </a:lnTo>
                <a:lnTo>
                  <a:pt x="330" y="906"/>
                </a:lnTo>
                <a:lnTo>
                  <a:pt x="318" y="912"/>
                </a:lnTo>
                <a:lnTo>
                  <a:pt x="304" y="918"/>
                </a:lnTo>
                <a:lnTo>
                  <a:pt x="304" y="918"/>
                </a:lnTo>
                <a:lnTo>
                  <a:pt x="282" y="926"/>
                </a:lnTo>
                <a:lnTo>
                  <a:pt x="262" y="938"/>
                </a:lnTo>
                <a:lnTo>
                  <a:pt x="220" y="960"/>
                </a:lnTo>
                <a:lnTo>
                  <a:pt x="220" y="960"/>
                </a:lnTo>
                <a:lnTo>
                  <a:pt x="234" y="974"/>
                </a:lnTo>
                <a:lnTo>
                  <a:pt x="248" y="984"/>
                </a:lnTo>
                <a:lnTo>
                  <a:pt x="248" y="984"/>
                </a:lnTo>
                <a:lnTo>
                  <a:pt x="258" y="994"/>
                </a:lnTo>
                <a:lnTo>
                  <a:pt x="272" y="1002"/>
                </a:lnTo>
                <a:lnTo>
                  <a:pt x="272" y="1002"/>
                </a:lnTo>
                <a:lnTo>
                  <a:pt x="274" y="1004"/>
                </a:lnTo>
                <a:lnTo>
                  <a:pt x="274" y="1004"/>
                </a:lnTo>
                <a:lnTo>
                  <a:pt x="288" y="1014"/>
                </a:lnTo>
                <a:lnTo>
                  <a:pt x="304" y="1022"/>
                </a:lnTo>
                <a:lnTo>
                  <a:pt x="304" y="1022"/>
                </a:lnTo>
                <a:lnTo>
                  <a:pt x="308" y="1026"/>
                </a:lnTo>
                <a:lnTo>
                  <a:pt x="312" y="1026"/>
                </a:lnTo>
                <a:lnTo>
                  <a:pt x="312" y="1026"/>
                </a:lnTo>
                <a:lnTo>
                  <a:pt x="326" y="1034"/>
                </a:lnTo>
                <a:lnTo>
                  <a:pt x="340" y="1040"/>
                </a:lnTo>
                <a:lnTo>
                  <a:pt x="340" y="1040"/>
                </a:lnTo>
                <a:lnTo>
                  <a:pt x="344" y="1044"/>
                </a:lnTo>
                <a:lnTo>
                  <a:pt x="348" y="1046"/>
                </a:lnTo>
                <a:lnTo>
                  <a:pt x="348" y="1046"/>
                </a:lnTo>
                <a:lnTo>
                  <a:pt x="362" y="1052"/>
                </a:lnTo>
                <a:lnTo>
                  <a:pt x="378" y="1058"/>
                </a:lnTo>
                <a:lnTo>
                  <a:pt x="378" y="1058"/>
                </a:lnTo>
                <a:lnTo>
                  <a:pt x="382" y="1060"/>
                </a:lnTo>
                <a:lnTo>
                  <a:pt x="388" y="1062"/>
                </a:lnTo>
                <a:lnTo>
                  <a:pt x="388" y="1062"/>
                </a:lnTo>
                <a:lnTo>
                  <a:pt x="402" y="1068"/>
                </a:lnTo>
                <a:lnTo>
                  <a:pt x="416" y="1070"/>
                </a:lnTo>
                <a:lnTo>
                  <a:pt x="416" y="1070"/>
                </a:lnTo>
                <a:lnTo>
                  <a:pt x="438" y="1078"/>
                </a:lnTo>
                <a:lnTo>
                  <a:pt x="460" y="1084"/>
                </a:lnTo>
                <a:lnTo>
                  <a:pt x="508" y="1090"/>
                </a:lnTo>
                <a:lnTo>
                  <a:pt x="508" y="1090"/>
                </a:lnTo>
                <a:lnTo>
                  <a:pt x="452" y="1032"/>
                </a:lnTo>
                <a:lnTo>
                  <a:pt x="452" y="1032"/>
                </a:lnTo>
                <a:lnTo>
                  <a:pt x="432" y="1010"/>
                </a:lnTo>
                <a:lnTo>
                  <a:pt x="432" y="1010"/>
                </a:lnTo>
                <a:close/>
                <a:moveTo>
                  <a:pt x="680" y="266"/>
                </a:moveTo>
                <a:lnTo>
                  <a:pt x="680" y="266"/>
                </a:lnTo>
                <a:lnTo>
                  <a:pt x="706" y="260"/>
                </a:lnTo>
                <a:lnTo>
                  <a:pt x="734" y="254"/>
                </a:lnTo>
                <a:lnTo>
                  <a:pt x="734" y="254"/>
                </a:lnTo>
                <a:lnTo>
                  <a:pt x="726" y="238"/>
                </a:lnTo>
                <a:lnTo>
                  <a:pt x="718" y="226"/>
                </a:lnTo>
                <a:lnTo>
                  <a:pt x="718" y="226"/>
                </a:lnTo>
                <a:lnTo>
                  <a:pt x="712" y="212"/>
                </a:lnTo>
                <a:lnTo>
                  <a:pt x="702" y="202"/>
                </a:lnTo>
                <a:lnTo>
                  <a:pt x="702" y="202"/>
                </a:lnTo>
                <a:lnTo>
                  <a:pt x="696" y="190"/>
                </a:lnTo>
                <a:lnTo>
                  <a:pt x="696" y="190"/>
                </a:lnTo>
                <a:lnTo>
                  <a:pt x="688" y="178"/>
                </a:lnTo>
                <a:lnTo>
                  <a:pt x="680" y="168"/>
                </a:lnTo>
                <a:lnTo>
                  <a:pt x="680" y="168"/>
                </a:lnTo>
                <a:lnTo>
                  <a:pt x="676" y="162"/>
                </a:lnTo>
                <a:lnTo>
                  <a:pt x="676" y="162"/>
                </a:lnTo>
                <a:lnTo>
                  <a:pt x="666" y="150"/>
                </a:lnTo>
                <a:lnTo>
                  <a:pt x="656" y="138"/>
                </a:lnTo>
                <a:lnTo>
                  <a:pt x="656" y="138"/>
                </a:lnTo>
                <a:lnTo>
                  <a:pt x="652" y="132"/>
                </a:lnTo>
                <a:lnTo>
                  <a:pt x="652" y="132"/>
                </a:lnTo>
                <a:lnTo>
                  <a:pt x="624" y="102"/>
                </a:lnTo>
                <a:lnTo>
                  <a:pt x="592" y="72"/>
                </a:lnTo>
                <a:lnTo>
                  <a:pt x="592" y="72"/>
                </a:lnTo>
                <a:lnTo>
                  <a:pt x="590" y="128"/>
                </a:lnTo>
                <a:lnTo>
                  <a:pt x="592" y="182"/>
                </a:lnTo>
                <a:lnTo>
                  <a:pt x="592" y="182"/>
                </a:lnTo>
                <a:lnTo>
                  <a:pt x="590" y="190"/>
                </a:lnTo>
                <a:lnTo>
                  <a:pt x="592" y="198"/>
                </a:lnTo>
                <a:lnTo>
                  <a:pt x="592" y="198"/>
                </a:lnTo>
                <a:lnTo>
                  <a:pt x="590" y="218"/>
                </a:lnTo>
                <a:lnTo>
                  <a:pt x="592" y="236"/>
                </a:lnTo>
                <a:lnTo>
                  <a:pt x="592" y="236"/>
                </a:lnTo>
                <a:lnTo>
                  <a:pt x="590" y="244"/>
                </a:lnTo>
                <a:lnTo>
                  <a:pt x="592" y="252"/>
                </a:lnTo>
                <a:lnTo>
                  <a:pt x="592" y="252"/>
                </a:lnTo>
                <a:lnTo>
                  <a:pt x="590" y="264"/>
                </a:lnTo>
                <a:lnTo>
                  <a:pt x="592" y="274"/>
                </a:lnTo>
                <a:lnTo>
                  <a:pt x="592" y="274"/>
                </a:lnTo>
                <a:lnTo>
                  <a:pt x="604" y="274"/>
                </a:lnTo>
                <a:lnTo>
                  <a:pt x="616" y="272"/>
                </a:lnTo>
                <a:lnTo>
                  <a:pt x="616" y="272"/>
                </a:lnTo>
                <a:lnTo>
                  <a:pt x="634" y="272"/>
                </a:lnTo>
                <a:lnTo>
                  <a:pt x="634" y="272"/>
                </a:lnTo>
                <a:lnTo>
                  <a:pt x="656" y="270"/>
                </a:lnTo>
                <a:lnTo>
                  <a:pt x="680" y="266"/>
                </a:lnTo>
                <a:lnTo>
                  <a:pt x="680" y="26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solidFill>
                <a:schemeClr val="accent1"/>
              </a:solidFill>
              <a:latin typeface="Montserrat" panose="00000500000000000000"/>
              <a:cs typeface="Arial" panose="020B0604020202020204" pitchFamily="34" charset="0"/>
            </a:endParaRPr>
          </a:p>
        </p:txBody>
      </p:sp>
      <p:sp>
        <p:nvSpPr>
          <p:cNvPr id="50" name="Freeform 17"/>
          <p:cNvSpPr>
            <a:spLocks noEditPoints="1"/>
          </p:cNvSpPr>
          <p:nvPr/>
        </p:nvSpPr>
        <p:spPr bwMode="auto">
          <a:xfrm>
            <a:off x="6169683" y="4001920"/>
            <a:ext cx="159434" cy="160055"/>
          </a:xfrm>
          <a:custGeom>
            <a:avLst/>
            <a:gdLst>
              <a:gd name="T0" fmla="*/ 488 w 514"/>
              <a:gd name="T1" fmla="*/ 372 h 516"/>
              <a:gd name="T2" fmla="*/ 422 w 514"/>
              <a:gd name="T3" fmla="*/ 456 h 516"/>
              <a:gd name="T4" fmla="*/ 342 w 514"/>
              <a:gd name="T5" fmla="*/ 500 h 516"/>
              <a:gd name="T6" fmla="*/ 252 w 514"/>
              <a:gd name="T7" fmla="*/ 516 h 516"/>
              <a:gd name="T8" fmla="*/ 204 w 514"/>
              <a:gd name="T9" fmla="*/ 510 h 516"/>
              <a:gd name="T10" fmla="*/ 160 w 514"/>
              <a:gd name="T11" fmla="*/ 498 h 516"/>
              <a:gd name="T12" fmla="*/ 126 w 514"/>
              <a:gd name="T13" fmla="*/ 480 h 516"/>
              <a:gd name="T14" fmla="*/ 96 w 514"/>
              <a:gd name="T15" fmla="*/ 460 h 516"/>
              <a:gd name="T16" fmla="*/ 60 w 514"/>
              <a:gd name="T17" fmla="*/ 424 h 516"/>
              <a:gd name="T18" fmla="*/ 36 w 514"/>
              <a:gd name="T19" fmla="*/ 392 h 516"/>
              <a:gd name="T20" fmla="*/ 20 w 514"/>
              <a:gd name="T21" fmla="*/ 360 h 516"/>
              <a:gd name="T22" fmla="*/ 6 w 514"/>
              <a:gd name="T23" fmla="*/ 320 h 516"/>
              <a:gd name="T24" fmla="*/ 0 w 514"/>
              <a:gd name="T25" fmla="*/ 228 h 516"/>
              <a:gd name="T26" fmla="*/ 18 w 514"/>
              <a:gd name="T27" fmla="*/ 160 h 516"/>
              <a:gd name="T28" fmla="*/ 76 w 514"/>
              <a:gd name="T29" fmla="*/ 76 h 516"/>
              <a:gd name="T30" fmla="*/ 134 w 514"/>
              <a:gd name="T31" fmla="*/ 32 h 516"/>
              <a:gd name="T32" fmla="*/ 222 w 514"/>
              <a:gd name="T33" fmla="*/ 4 h 516"/>
              <a:gd name="T34" fmla="*/ 282 w 514"/>
              <a:gd name="T35" fmla="*/ 2 h 516"/>
              <a:gd name="T36" fmla="*/ 328 w 514"/>
              <a:gd name="T37" fmla="*/ 10 h 516"/>
              <a:gd name="T38" fmla="*/ 394 w 514"/>
              <a:gd name="T39" fmla="*/ 40 h 516"/>
              <a:gd name="T40" fmla="*/ 424 w 514"/>
              <a:gd name="T41" fmla="*/ 60 h 516"/>
              <a:gd name="T42" fmla="*/ 450 w 514"/>
              <a:gd name="T43" fmla="*/ 88 h 516"/>
              <a:gd name="T44" fmla="*/ 480 w 514"/>
              <a:gd name="T45" fmla="*/ 130 h 516"/>
              <a:gd name="T46" fmla="*/ 496 w 514"/>
              <a:gd name="T47" fmla="*/ 164 h 516"/>
              <a:gd name="T48" fmla="*/ 514 w 514"/>
              <a:gd name="T49" fmla="*/ 240 h 516"/>
              <a:gd name="T50" fmla="*/ 512 w 514"/>
              <a:gd name="T51" fmla="*/ 294 h 516"/>
              <a:gd name="T52" fmla="*/ 164 w 514"/>
              <a:gd name="T53" fmla="*/ 90 h 516"/>
              <a:gd name="T54" fmla="*/ 98 w 514"/>
              <a:gd name="T55" fmla="*/ 150 h 516"/>
              <a:gd name="T56" fmla="*/ 74 w 514"/>
              <a:gd name="T57" fmla="*/ 204 h 516"/>
              <a:gd name="T58" fmla="*/ 66 w 514"/>
              <a:gd name="T59" fmla="*/ 256 h 516"/>
              <a:gd name="T60" fmla="*/ 70 w 514"/>
              <a:gd name="T61" fmla="*/ 302 h 516"/>
              <a:gd name="T62" fmla="*/ 78 w 514"/>
              <a:gd name="T63" fmla="*/ 328 h 516"/>
              <a:gd name="T64" fmla="*/ 90 w 514"/>
              <a:gd name="T65" fmla="*/ 352 h 516"/>
              <a:gd name="T66" fmla="*/ 114 w 514"/>
              <a:gd name="T67" fmla="*/ 386 h 516"/>
              <a:gd name="T68" fmla="*/ 144 w 514"/>
              <a:gd name="T69" fmla="*/ 414 h 516"/>
              <a:gd name="T70" fmla="*/ 174 w 514"/>
              <a:gd name="T71" fmla="*/ 430 h 516"/>
              <a:gd name="T72" fmla="*/ 214 w 514"/>
              <a:gd name="T73" fmla="*/ 446 h 516"/>
              <a:gd name="T74" fmla="*/ 258 w 514"/>
              <a:gd name="T75" fmla="*/ 450 h 516"/>
              <a:gd name="T76" fmla="*/ 310 w 514"/>
              <a:gd name="T77" fmla="*/ 442 h 516"/>
              <a:gd name="T78" fmla="*/ 378 w 514"/>
              <a:gd name="T79" fmla="*/ 408 h 516"/>
              <a:gd name="T80" fmla="*/ 434 w 514"/>
              <a:gd name="T81" fmla="*/ 326 h 516"/>
              <a:gd name="T82" fmla="*/ 448 w 514"/>
              <a:gd name="T83" fmla="*/ 274 h 516"/>
              <a:gd name="T84" fmla="*/ 446 w 514"/>
              <a:gd name="T85" fmla="*/ 224 h 516"/>
              <a:gd name="T86" fmla="*/ 432 w 514"/>
              <a:gd name="T87" fmla="*/ 180 h 516"/>
              <a:gd name="T88" fmla="*/ 410 w 514"/>
              <a:gd name="T89" fmla="*/ 144 h 516"/>
              <a:gd name="T90" fmla="*/ 386 w 514"/>
              <a:gd name="T91" fmla="*/ 118 h 516"/>
              <a:gd name="T92" fmla="*/ 354 w 514"/>
              <a:gd name="T93" fmla="*/ 92 h 516"/>
              <a:gd name="T94" fmla="*/ 328 w 514"/>
              <a:gd name="T95" fmla="*/ 80 h 516"/>
              <a:gd name="T96" fmla="*/ 284 w 514"/>
              <a:gd name="T97" fmla="*/ 68 h 516"/>
              <a:gd name="T98" fmla="*/ 228 w 514"/>
              <a:gd name="T99" fmla="*/ 68 h 516"/>
              <a:gd name="T100" fmla="*/ 182 w 514"/>
              <a:gd name="T101" fmla="*/ 82 h 5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14" h="516">
                <a:moveTo>
                  <a:pt x="508" y="312"/>
                </a:moveTo>
                <a:lnTo>
                  <a:pt x="508" y="312"/>
                </a:lnTo>
                <a:lnTo>
                  <a:pt x="500" y="344"/>
                </a:lnTo>
                <a:lnTo>
                  <a:pt x="488" y="372"/>
                </a:lnTo>
                <a:lnTo>
                  <a:pt x="488" y="372"/>
                </a:lnTo>
                <a:lnTo>
                  <a:pt x="466" y="408"/>
                </a:lnTo>
                <a:lnTo>
                  <a:pt x="466" y="408"/>
                </a:lnTo>
                <a:lnTo>
                  <a:pt x="452" y="424"/>
                </a:lnTo>
                <a:lnTo>
                  <a:pt x="438" y="440"/>
                </a:lnTo>
                <a:lnTo>
                  <a:pt x="422" y="456"/>
                </a:lnTo>
                <a:lnTo>
                  <a:pt x="404" y="470"/>
                </a:lnTo>
                <a:lnTo>
                  <a:pt x="404" y="470"/>
                </a:lnTo>
                <a:lnTo>
                  <a:pt x="372" y="488"/>
                </a:lnTo>
                <a:lnTo>
                  <a:pt x="372" y="488"/>
                </a:lnTo>
                <a:lnTo>
                  <a:pt x="342" y="500"/>
                </a:lnTo>
                <a:lnTo>
                  <a:pt x="310" y="510"/>
                </a:lnTo>
                <a:lnTo>
                  <a:pt x="310" y="510"/>
                </a:lnTo>
                <a:lnTo>
                  <a:pt x="296" y="512"/>
                </a:lnTo>
                <a:lnTo>
                  <a:pt x="296" y="512"/>
                </a:lnTo>
                <a:lnTo>
                  <a:pt x="252" y="516"/>
                </a:lnTo>
                <a:lnTo>
                  <a:pt x="252" y="516"/>
                </a:lnTo>
                <a:lnTo>
                  <a:pt x="246" y="514"/>
                </a:lnTo>
                <a:lnTo>
                  <a:pt x="240" y="516"/>
                </a:lnTo>
                <a:lnTo>
                  <a:pt x="240" y="516"/>
                </a:lnTo>
                <a:lnTo>
                  <a:pt x="204" y="510"/>
                </a:lnTo>
                <a:lnTo>
                  <a:pt x="204" y="510"/>
                </a:lnTo>
                <a:lnTo>
                  <a:pt x="198" y="508"/>
                </a:lnTo>
                <a:lnTo>
                  <a:pt x="194" y="508"/>
                </a:lnTo>
                <a:lnTo>
                  <a:pt x="194" y="508"/>
                </a:lnTo>
                <a:lnTo>
                  <a:pt x="160" y="498"/>
                </a:lnTo>
                <a:lnTo>
                  <a:pt x="160" y="498"/>
                </a:lnTo>
                <a:lnTo>
                  <a:pt x="156" y="496"/>
                </a:lnTo>
                <a:lnTo>
                  <a:pt x="152" y="494"/>
                </a:lnTo>
                <a:lnTo>
                  <a:pt x="152" y="494"/>
                </a:lnTo>
                <a:lnTo>
                  <a:pt x="126" y="480"/>
                </a:lnTo>
                <a:lnTo>
                  <a:pt x="126" y="480"/>
                </a:lnTo>
                <a:lnTo>
                  <a:pt x="118" y="476"/>
                </a:lnTo>
                <a:lnTo>
                  <a:pt x="118" y="476"/>
                </a:lnTo>
                <a:lnTo>
                  <a:pt x="96" y="460"/>
                </a:lnTo>
                <a:lnTo>
                  <a:pt x="96" y="460"/>
                </a:lnTo>
                <a:lnTo>
                  <a:pt x="88" y="454"/>
                </a:lnTo>
                <a:lnTo>
                  <a:pt x="88" y="454"/>
                </a:lnTo>
                <a:lnTo>
                  <a:pt x="66" y="432"/>
                </a:lnTo>
                <a:lnTo>
                  <a:pt x="66" y="432"/>
                </a:lnTo>
                <a:lnTo>
                  <a:pt x="60" y="424"/>
                </a:lnTo>
                <a:lnTo>
                  <a:pt x="60" y="424"/>
                </a:lnTo>
                <a:lnTo>
                  <a:pt x="42" y="400"/>
                </a:lnTo>
                <a:lnTo>
                  <a:pt x="42" y="400"/>
                </a:lnTo>
                <a:lnTo>
                  <a:pt x="40" y="396"/>
                </a:lnTo>
                <a:lnTo>
                  <a:pt x="36" y="392"/>
                </a:lnTo>
                <a:lnTo>
                  <a:pt x="36" y="392"/>
                </a:lnTo>
                <a:lnTo>
                  <a:pt x="24" y="370"/>
                </a:lnTo>
                <a:lnTo>
                  <a:pt x="24" y="370"/>
                </a:lnTo>
                <a:lnTo>
                  <a:pt x="20" y="360"/>
                </a:lnTo>
                <a:lnTo>
                  <a:pt x="20" y="360"/>
                </a:lnTo>
                <a:lnTo>
                  <a:pt x="8" y="330"/>
                </a:lnTo>
                <a:lnTo>
                  <a:pt x="8" y="330"/>
                </a:lnTo>
                <a:lnTo>
                  <a:pt x="8" y="324"/>
                </a:lnTo>
                <a:lnTo>
                  <a:pt x="6" y="320"/>
                </a:lnTo>
                <a:lnTo>
                  <a:pt x="6" y="320"/>
                </a:lnTo>
                <a:lnTo>
                  <a:pt x="0" y="286"/>
                </a:lnTo>
                <a:lnTo>
                  <a:pt x="0" y="286"/>
                </a:lnTo>
                <a:lnTo>
                  <a:pt x="0" y="272"/>
                </a:lnTo>
                <a:lnTo>
                  <a:pt x="0" y="272"/>
                </a:lnTo>
                <a:lnTo>
                  <a:pt x="0" y="228"/>
                </a:lnTo>
                <a:lnTo>
                  <a:pt x="0" y="228"/>
                </a:lnTo>
                <a:lnTo>
                  <a:pt x="2" y="216"/>
                </a:lnTo>
                <a:lnTo>
                  <a:pt x="2" y="216"/>
                </a:lnTo>
                <a:lnTo>
                  <a:pt x="10" y="188"/>
                </a:lnTo>
                <a:lnTo>
                  <a:pt x="18" y="160"/>
                </a:lnTo>
                <a:lnTo>
                  <a:pt x="18" y="160"/>
                </a:lnTo>
                <a:lnTo>
                  <a:pt x="30" y="134"/>
                </a:lnTo>
                <a:lnTo>
                  <a:pt x="30" y="134"/>
                </a:lnTo>
                <a:lnTo>
                  <a:pt x="50" y="104"/>
                </a:lnTo>
                <a:lnTo>
                  <a:pt x="76" y="76"/>
                </a:lnTo>
                <a:lnTo>
                  <a:pt x="88" y="64"/>
                </a:lnTo>
                <a:lnTo>
                  <a:pt x="102" y="52"/>
                </a:lnTo>
                <a:lnTo>
                  <a:pt x="118" y="40"/>
                </a:lnTo>
                <a:lnTo>
                  <a:pt x="134" y="32"/>
                </a:lnTo>
                <a:lnTo>
                  <a:pt x="134" y="32"/>
                </a:lnTo>
                <a:lnTo>
                  <a:pt x="158" y="20"/>
                </a:lnTo>
                <a:lnTo>
                  <a:pt x="158" y="20"/>
                </a:lnTo>
                <a:lnTo>
                  <a:pt x="214" y="4"/>
                </a:lnTo>
                <a:lnTo>
                  <a:pt x="214" y="4"/>
                </a:lnTo>
                <a:lnTo>
                  <a:pt x="222" y="4"/>
                </a:lnTo>
                <a:lnTo>
                  <a:pt x="228" y="2"/>
                </a:lnTo>
                <a:lnTo>
                  <a:pt x="228" y="2"/>
                </a:lnTo>
                <a:lnTo>
                  <a:pt x="272" y="0"/>
                </a:lnTo>
                <a:lnTo>
                  <a:pt x="272" y="0"/>
                </a:lnTo>
                <a:lnTo>
                  <a:pt x="282" y="2"/>
                </a:lnTo>
                <a:lnTo>
                  <a:pt x="282" y="2"/>
                </a:lnTo>
                <a:lnTo>
                  <a:pt x="318" y="8"/>
                </a:lnTo>
                <a:lnTo>
                  <a:pt x="318" y="8"/>
                </a:lnTo>
                <a:lnTo>
                  <a:pt x="328" y="10"/>
                </a:lnTo>
                <a:lnTo>
                  <a:pt x="328" y="10"/>
                </a:lnTo>
                <a:lnTo>
                  <a:pt x="358" y="22"/>
                </a:lnTo>
                <a:lnTo>
                  <a:pt x="358" y="22"/>
                </a:lnTo>
                <a:lnTo>
                  <a:pt x="364" y="24"/>
                </a:lnTo>
                <a:lnTo>
                  <a:pt x="364" y="24"/>
                </a:lnTo>
                <a:lnTo>
                  <a:pt x="394" y="40"/>
                </a:lnTo>
                <a:lnTo>
                  <a:pt x="394" y="40"/>
                </a:lnTo>
                <a:lnTo>
                  <a:pt x="398" y="42"/>
                </a:lnTo>
                <a:lnTo>
                  <a:pt x="402" y="44"/>
                </a:lnTo>
                <a:lnTo>
                  <a:pt x="402" y="44"/>
                </a:lnTo>
                <a:lnTo>
                  <a:pt x="424" y="60"/>
                </a:lnTo>
                <a:lnTo>
                  <a:pt x="424" y="60"/>
                </a:lnTo>
                <a:lnTo>
                  <a:pt x="432" y="68"/>
                </a:lnTo>
                <a:lnTo>
                  <a:pt x="432" y="68"/>
                </a:lnTo>
                <a:lnTo>
                  <a:pt x="450" y="88"/>
                </a:lnTo>
                <a:lnTo>
                  <a:pt x="450" y="88"/>
                </a:lnTo>
                <a:lnTo>
                  <a:pt x="456" y="94"/>
                </a:lnTo>
                <a:lnTo>
                  <a:pt x="456" y="94"/>
                </a:lnTo>
                <a:lnTo>
                  <a:pt x="472" y="118"/>
                </a:lnTo>
                <a:lnTo>
                  <a:pt x="472" y="118"/>
                </a:lnTo>
                <a:lnTo>
                  <a:pt x="480" y="130"/>
                </a:lnTo>
                <a:lnTo>
                  <a:pt x="480" y="130"/>
                </a:lnTo>
                <a:lnTo>
                  <a:pt x="492" y="152"/>
                </a:lnTo>
                <a:lnTo>
                  <a:pt x="492" y="152"/>
                </a:lnTo>
                <a:lnTo>
                  <a:pt x="496" y="164"/>
                </a:lnTo>
                <a:lnTo>
                  <a:pt x="496" y="164"/>
                </a:lnTo>
                <a:lnTo>
                  <a:pt x="506" y="194"/>
                </a:lnTo>
                <a:lnTo>
                  <a:pt x="506" y="194"/>
                </a:lnTo>
                <a:lnTo>
                  <a:pt x="508" y="204"/>
                </a:lnTo>
                <a:lnTo>
                  <a:pt x="508" y="204"/>
                </a:lnTo>
                <a:lnTo>
                  <a:pt x="514" y="240"/>
                </a:lnTo>
                <a:lnTo>
                  <a:pt x="514" y="240"/>
                </a:lnTo>
                <a:lnTo>
                  <a:pt x="514" y="254"/>
                </a:lnTo>
                <a:lnTo>
                  <a:pt x="514" y="254"/>
                </a:lnTo>
                <a:lnTo>
                  <a:pt x="512" y="294"/>
                </a:lnTo>
                <a:lnTo>
                  <a:pt x="512" y="294"/>
                </a:lnTo>
                <a:lnTo>
                  <a:pt x="508" y="312"/>
                </a:lnTo>
                <a:lnTo>
                  <a:pt x="508" y="312"/>
                </a:lnTo>
                <a:close/>
                <a:moveTo>
                  <a:pt x="182" y="82"/>
                </a:moveTo>
                <a:lnTo>
                  <a:pt x="182" y="82"/>
                </a:lnTo>
                <a:lnTo>
                  <a:pt x="164" y="90"/>
                </a:lnTo>
                <a:lnTo>
                  <a:pt x="148" y="98"/>
                </a:lnTo>
                <a:lnTo>
                  <a:pt x="134" y="110"/>
                </a:lnTo>
                <a:lnTo>
                  <a:pt x="120" y="122"/>
                </a:lnTo>
                <a:lnTo>
                  <a:pt x="108" y="134"/>
                </a:lnTo>
                <a:lnTo>
                  <a:pt x="98" y="150"/>
                </a:lnTo>
                <a:lnTo>
                  <a:pt x="88" y="166"/>
                </a:lnTo>
                <a:lnTo>
                  <a:pt x="80" y="182"/>
                </a:lnTo>
                <a:lnTo>
                  <a:pt x="80" y="182"/>
                </a:lnTo>
                <a:lnTo>
                  <a:pt x="76" y="192"/>
                </a:lnTo>
                <a:lnTo>
                  <a:pt x="74" y="204"/>
                </a:lnTo>
                <a:lnTo>
                  <a:pt x="74" y="204"/>
                </a:lnTo>
                <a:lnTo>
                  <a:pt x="68" y="216"/>
                </a:lnTo>
                <a:lnTo>
                  <a:pt x="66" y="230"/>
                </a:lnTo>
                <a:lnTo>
                  <a:pt x="66" y="242"/>
                </a:lnTo>
                <a:lnTo>
                  <a:pt x="66" y="256"/>
                </a:lnTo>
                <a:lnTo>
                  <a:pt x="66" y="256"/>
                </a:lnTo>
                <a:lnTo>
                  <a:pt x="66" y="266"/>
                </a:lnTo>
                <a:lnTo>
                  <a:pt x="66" y="266"/>
                </a:lnTo>
                <a:lnTo>
                  <a:pt x="66" y="284"/>
                </a:lnTo>
                <a:lnTo>
                  <a:pt x="70" y="302"/>
                </a:lnTo>
                <a:lnTo>
                  <a:pt x="70" y="302"/>
                </a:lnTo>
                <a:lnTo>
                  <a:pt x="70" y="308"/>
                </a:lnTo>
                <a:lnTo>
                  <a:pt x="74" y="312"/>
                </a:lnTo>
                <a:lnTo>
                  <a:pt x="74" y="312"/>
                </a:lnTo>
                <a:lnTo>
                  <a:pt x="78" y="328"/>
                </a:lnTo>
                <a:lnTo>
                  <a:pt x="84" y="342"/>
                </a:lnTo>
                <a:lnTo>
                  <a:pt x="84" y="342"/>
                </a:lnTo>
                <a:lnTo>
                  <a:pt x="86" y="348"/>
                </a:lnTo>
                <a:lnTo>
                  <a:pt x="90" y="352"/>
                </a:lnTo>
                <a:lnTo>
                  <a:pt x="90" y="352"/>
                </a:lnTo>
                <a:lnTo>
                  <a:pt x="98" y="366"/>
                </a:lnTo>
                <a:lnTo>
                  <a:pt x="108" y="380"/>
                </a:lnTo>
                <a:lnTo>
                  <a:pt x="108" y="380"/>
                </a:lnTo>
                <a:lnTo>
                  <a:pt x="110" y="384"/>
                </a:lnTo>
                <a:lnTo>
                  <a:pt x="114" y="386"/>
                </a:lnTo>
                <a:lnTo>
                  <a:pt x="114" y="386"/>
                </a:lnTo>
                <a:lnTo>
                  <a:pt x="124" y="398"/>
                </a:lnTo>
                <a:lnTo>
                  <a:pt x="136" y="406"/>
                </a:lnTo>
                <a:lnTo>
                  <a:pt x="136" y="406"/>
                </a:lnTo>
                <a:lnTo>
                  <a:pt x="144" y="414"/>
                </a:lnTo>
                <a:lnTo>
                  <a:pt x="144" y="414"/>
                </a:lnTo>
                <a:lnTo>
                  <a:pt x="156" y="422"/>
                </a:lnTo>
                <a:lnTo>
                  <a:pt x="168" y="428"/>
                </a:lnTo>
                <a:lnTo>
                  <a:pt x="168" y="428"/>
                </a:lnTo>
                <a:lnTo>
                  <a:pt x="174" y="430"/>
                </a:lnTo>
                <a:lnTo>
                  <a:pt x="174" y="430"/>
                </a:lnTo>
                <a:lnTo>
                  <a:pt x="192" y="438"/>
                </a:lnTo>
                <a:lnTo>
                  <a:pt x="210" y="444"/>
                </a:lnTo>
                <a:lnTo>
                  <a:pt x="210" y="444"/>
                </a:lnTo>
                <a:lnTo>
                  <a:pt x="214" y="446"/>
                </a:lnTo>
                <a:lnTo>
                  <a:pt x="218" y="446"/>
                </a:lnTo>
                <a:lnTo>
                  <a:pt x="218" y="446"/>
                </a:lnTo>
                <a:lnTo>
                  <a:pt x="238" y="450"/>
                </a:lnTo>
                <a:lnTo>
                  <a:pt x="258" y="450"/>
                </a:lnTo>
                <a:lnTo>
                  <a:pt x="258" y="450"/>
                </a:lnTo>
                <a:lnTo>
                  <a:pt x="268" y="448"/>
                </a:lnTo>
                <a:lnTo>
                  <a:pt x="268" y="448"/>
                </a:lnTo>
                <a:lnTo>
                  <a:pt x="284" y="448"/>
                </a:lnTo>
                <a:lnTo>
                  <a:pt x="296" y="446"/>
                </a:lnTo>
                <a:lnTo>
                  <a:pt x="310" y="442"/>
                </a:lnTo>
                <a:lnTo>
                  <a:pt x="324" y="438"/>
                </a:lnTo>
                <a:lnTo>
                  <a:pt x="324" y="438"/>
                </a:lnTo>
                <a:lnTo>
                  <a:pt x="342" y="430"/>
                </a:lnTo>
                <a:lnTo>
                  <a:pt x="360" y="420"/>
                </a:lnTo>
                <a:lnTo>
                  <a:pt x="378" y="408"/>
                </a:lnTo>
                <a:lnTo>
                  <a:pt x="392" y="396"/>
                </a:lnTo>
                <a:lnTo>
                  <a:pt x="406" y="380"/>
                </a:lnTo>
                <a:lnTo>
                  <a:pt x="416" y="364"/>
                </a:lnTo>
                <a:lnTo>
                  <a:pt x="426" y="346"/>
                </a:lnTo>
                <a:lnTo>
                  <a:pt x="434" y="326"/>
                </a:lnTo>
                <a:lnTo>
                  <a:pt x="434" y="326"/>
                </a:lnTo>
                <a:lnTo>
                  <a:pt x="440" y="314"/>
                </a:lnTo>
                <a:lnTo>
                  <a:pt x="444" y="302"/>
                </a:lnTo>
                <a:lnTo>
                  <a:pt x="448" y="274"/>
                </a:lnTo>
                <a:lnTo>
                  <a:pt x="448" y="274"/>
                </a:lnTo>
                <a:lnTo>
                  <a:pt x="448" y="258"/>
                </a:lnTo>
                <a:lnTo>
                  <a:pt x="448" y="258"/>
                </a:lnTo>
                <a:lnTo>
                  <a:pt x="448" y="240"/>
                </a:lnTo>
                <a:lnTo>
                  <a:pt x="446" y="224"/>
                </a:lnTo>
                <a:lnTo>
                  <a:pt x="446" y="224"/>
                </a:lnTo>
                <a:lnTo>
                  <a:pt x="442" y="210"/>
                </a:lnTo>
                <a:lnTo>
                  <a:pt x="442" y="210"/>
                </a:lnTo>
                <a:lnTo>
                  <a:pt x="438" y="194"/>
                </a:lnTo>
                <a:lnTo>
                  <a:pt x="432" y="180"/>
                </a:lnTo>
                <a:lnTo>
                  <a:pt x="432" y="180"/>
                </a:lnTo>
                <a:lnTo>
                  <a:pt x="428" y="172"/>
                </a:lnTo>
                <a:lnTo>
                  <a:pt x="428" y="172"/>
                </a:lnTo>
                <a:lnTo>
                  <a:pt x="420" y="158"/>
                </a:lnTo>
                <a:lnTo>
                  <a:pt x="410" y="144"/>
                </a:lnTo>
                <a:lnTo>
                  <a:pt x="410" y="144"/>
                </a:lnTo>
                <a:lnTo>
                  <a:pt x="406" y="138"/>
                </a:lnTo>
                <a:lnTo>
                  <a:pt x="406" y="138"/>
                </a:lnTo>
                <a:lnTo>
                  <a:pt x="398" y="126"/>
                </a:lnTo>
                <a:lnTo>
                  <a:pt x="386" y="118"/>
                </a:lnTo>
                <a:lnTo>
                  <a:pt x="386" y="118"/>
                </a:lnTo>
                <a:lnTo>
                  <a:pt x="382" y="112"/>
                </a:lnTo>
                <a:lnTo>
                  <a:pt x="374" y="108"/>
                </a:lnTo>
                <a:lnTo>
                  <a:pt x="374" y="108"/>
                </a:lnTo>
                <a:lnTo>
                  <a:pt x="364" y="100"/>
                </a:lnTo>
                <a:lnTo>
                  <a:pt x="354" y="92"/>
                </a:lnTo>
                <a:lnTo>
                  <a:pt x="354" y="92"/>
                </a:lnTo>
                <a:lnTo>
                  <a:pt x="348" y="90"/>
                </a:lnTo>
                <a:lnTo>
                  <a:pt x="342" y="88"/>
                </a:lnTo>
                <a:lnTo>
                  <a:pt x="342" y="88"/>
                </a:lnTo>
                <a:lnTo>
                  <a:pt x="328" y="80"/>
                </a:lnTo>
                <a:lnTo>
                  <a:pt x="312" y="74"/>
                </a:lnTo>
                <a:lnTo>
                  <a:pt x="312" y="74"/>
                </a:lnTo>
                <a:lnTo>
                  <a:pt x="302" y="72"/>
                </a:lnTo>
                <a:lnTo>
                  <a:pt x="302" y="72"/>
                </a:lnTo>
                <a:lnTo>
                  <a:pt x="284" y="68"/>
                </a:lnTo>
                <a:lnTo>
                  <a:pt x="266" y="66"/>
                </a:lnTo>
                <a:lnTo>
                  <a:pt x="266" y="66"/>
                </a:lnTo>
                <a:lnTo>
                  <a:pt x="252" y="66"/>
                </a:lnTo>
                <a:lnTo>
                  <a:pt x="252" y="66"/>
                </a:lnTo>
                <a:lnTo>
                  <a:pt x="228" y="68"/>
                </a:lnTo>
                <a:lnTo>
                  <a:pt x="216" y="70"/>
                </a:lnTo>
                <a:lnTo>
                  <a:pt x="204" y="74"/>
                </a:lnTo>
                <a:lnTo>
                  <a:pt x="204" y="74"/>
                </a:lnTo>
                <a:lnTo>
                  <a:pt x="192" y="76"/>
                </a:lnTo>
                <a:lnTo>
                  <a:pt x="182" y="82"/>
                </a:lnTo>
                <a:lnTo>
                  <a:pt x="182" y="8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solidFill>
                <a:schemeClr val="accent1"/>
              </a:solidFill>
              <a:latin typeface="Montserrat" panose="00000500000000000000"/>
              <a:cs typeface="Arial" panose="020B0604020202020204" pitchFamily="34" charset="0"/>
            </a:endParaRPr>
          </a:p>
        </p:txBody>
      </p:sp>
      <p:sp>
        <p:nvSpPr>
          <p:cNvPr id="51" name="Freeform 18"/>
          <p:cNvSpPr>
            <a:spLocks noEditPoints="1"/>
          </p:cNvSpPr>
          <p:nvPr/>
        </p:nvSpPr>
        <p:spPr bwMode="auto">
          <a:xfrm>
            <a:off x="6007147" y="3895837"/>
            <a:ext cx="90574" cy="158814"/>
          </a:xfrm>
          <a:custGeom>
            <a:avLst/>
            <a:gdLst>
              <a:gd name="T0" fmla="*/ 140 w 292"/>
              <a:gd name="T1" fmla="*/ 0 h 512"/>
              <a:gd name="T2" fmla="*/ 174 w 292"/>
              <a:gd name="T3" fmla="*/ 2 h 512"/>
              <a:gd name="T4" fmla="*/ 204 w 292"/>
              <a:gd name="T5" fmla="*/ 12 h 512"/>
              <a:gd name="T6" fmla="*/ 236 w 292"/>
              <a:gd name="T7" fmla="*/ 30 h 512"/>
              <a:gd name="T8" fmla="*/ 244 w 292"/>
              <a:gd name="T9" fmla="*/ 38 h 512"/>
              <a:gd name="T10" fmla="*/ 268 w 292"/>
              <a:gd name="T11" fmla="*/ 66 h 512"/>
              <a:gd name="T12" fmla="*/ 280 w 292"/>
              <a:gd name="T13" fmla="*/ 90 h 512"/>
              <a:gd name="T14" fmla="*/ 284 w 292"/>
              <a:gd name="T15" fmla="*/ 100 h 512"/>
              <a:gd name="T16" fmla="*/ 292 w 292"/>
              <a:gd name="T17" fmla="*/ 146 h 512"/>
              <a:gd name="T18" fmla="*/ 282 w 292"/>
              <a:gd name="T19" fmla="*/ 196 h 512"/>
              <a:gd name="T20" fmla="*/ 270 w 292"/>
              <a:gd name="T21" fmla="*/ 220 h 512"/>
              <a:gd name="T22" fmla="*/ 236 w 292"/>
              <a:gd name="T23" fmla="*/ 260 h 512"/>
              <a:gd name="T24" fmla="*/ 190 w 292"/>
              <a:gd name="T25" fmla="*/ 326 h 512"/>
              <a:gd name="T26" fmla="*/ 178 w 292"/>
              <a:gd name="T27" fmla="*/ 360 h 512"/>
              <a:gd name="T28" fmla="*/ 172 w 292"/>
              <a:gd name="T29" fmla="*/ 382 h 512"/>
              <a:gd name="T30" fmla="*/ 168 w 292"/>
              <a:gd name="T31" fmla="*/ 418 h 512"/>
              <a:gd name="T32" fmla="*/ 168 w 292"/>
              <a:gd name="T33" fmla="*/ 472 h 512"/>
              <a:gd name="T34" fmla="*/ 168 w 292"/>
              <a:gd name="T35" fmla="*/ 486 h 512"/>
              <a:gd name="T36" fmla="*/ 154 w 292"/>
              <a:gd name="T37" fmla="*/ 510 h 512"/>
              <a:gd name="T38" fmla="*/ 132 w 292"/>
              <a:gd name="T39" fmla="*/ 508 h 512"/>
              <a:gd name="T40" fmla="*/ 124 w 292"/>
              <a:gd name="T41" fmla="*/ 498 h 512"/>
              <a:gd name="T42" fmla="*/ 122 w 292"/>
              <a:gd name="T43" fmla="*/ 484 h 512"/>
              <a:gd name="T44" fmla="*/ 122 w 292"/>
              <a:gd name="T45" fmla="*/ 430 h 512"/>
              <a:gd name="T46" fmla="*/ 122 w 292"/>
              <a:gd name="T47" fmla="*/ 418 h 512"/>
              <a:gd name="T48" fmla="*/ 116 w 292"/>
              <a:gd name="T49" fmla="*/ 380 h 512"/>
              <a:gd name="T50" fmla="*/ 114 w 292"/>
              <a:gd name="T51" fmla="*/ 370 h 512"/>
              <a:gd name="T52" fmla="*/ 106 w 292"/>
              <a:gd name="T53" fmla="*/ 340 h 512"/>
              <a:gd name="T54" fmla="*/ 100 w 292"/>
              <a:gd name="T55" fmla="*/ 328 h 512"/>
              <a:gd name="T56" fmla="*/ 84 w 292"/>
              <a:gd name="T57" fmla="*/ 300 h 512"/>
              <a:gd name="T58" fmla="*/ 74 w 292"/>
              <a:gd name="T59" fmla="*/ 284 h 512"/>
              <a:gd name="T60" fmla="*/ 60 w 292"/>
              <a:gd name="T61" fmla="*/ 266 h 512"/>
              <a:gd name="T62" fmla="*/ 38 w 292"/>
              <a:gd name="T63" fmla="*/ 244 h 512"/>
              <a:gd name="T64" fmla="*/ 30 w 292"/>
              <a:gd name="T65" fmla="*/ 234 h 512"/>
              <a:gd name="T66" fmla="*/ 10 w 292"/>
              <a:gd name="T67" fmla="*/ 202 h 512"/>
              <a:gd name="T68" fmla="*/ 2 w 292"/>
              <a:gd name="T69" fmla="*/ 172 h 512"/>
              <a:gd name="T70" fmla="*/ 2 w 292"/>
              <a:gd name="T71" fmla="*/ 114 h 512"/>
              <a:gd name="T72" fmla="*/ 6 w 292"/>
              <a:gd name="T73" fmla="*/ 100 h 512"/>
              <a:gd name="T74" fmla="*/ 22 w 292"/>
              <a:gd name="T75" fmla="*/ 70 h 512"/>
              <a:gd name="T76" fmla="*/ 54 w 292"/>
              <a:gd name="T77" fmla="*/ 32 h 512"/>
              <a:gd name="T78" fmla="*/ 100 w 292"/>
              <a:gd name="T79" fmla="*/ 6 h 512"/>
              <a:gd name="T80" fmla="*/ 118 w 292"/>
              <a:gd name="T81" fmla="*/ 2 h 512"/>
              <a:gd name="T82" fmla="*/ 192 w 292"/>
              <a:gd name="T83" fmla="*/ 136 h 512"/>
              <a:gd name="T84" fmla="*/ 188 w 292"/>
              <a:gd name="T85" fmla="*/ 122 h 512"/>
              <a:gd name="T86" fmla="*/ 174 w 292"/>
              <a:gd name="T87" fmla="*/ 106 h 512"/>
              <a:gd name="T88" fmla="*/ 162 w 292"/>
              <a:gd name="T89" fmla="*/ 100 h 512"/>
              <a:gd name="T90" fmla="*/ 134 w 292"/>
              <a:gd name="T91" fmla="*/ 96 h 512"/>
              <a:gd name="T92" fmla="*/ 110 w 292"/>
              <a:gd name="T93" fmla="*/ 110 h 512"/>
              <a:gd name="T94" fmla="*/ 96 w 292"/>
              <a:gd name="T95" fmla="*/ 148 h 512"/>
              <a:gd name="T96" fmla="*/ 102 w 292"/>
              <a:gd name="T97" fmla="*/ 168 h 512"/>
              <a:gd name="T98" fmla="*/ 110 w 292"/>
              <a:gd name="T99" fmla="*/ 178 h 512"/>
              <a:gd name="T100" fmla="*/ 130 w 292"/>
              <a:gd name="T101" fmla="*/ 190 h 512"/>
              <a:gd name="T102" fmla="*/ 140 w 292"/>
              <a:gd name="T103" fmla="*/ 194 h 512"/>
              <a:gd name="T104" fmla="*/ 164 w 292"/>
              <a:gd name="T105" fmla="*/ 190 h 512"/>
              <a:gd name="T106" fmla="*/ 186 w 292"/>
              <a:gd name="T107" fmla="*/ 172 h 512"/>
              <a:gd name="T108" fmla="*/ 194 w 292"/>
              <a:gd name="T109" fmla="*/ 14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92" h="512">
                <a:moveTo>
                  <a:pt x="118" y="2"/>
                </a:moveTo>
                <a:lnTo>
                  <a:pt x="118" y="2"/>
                </a:lnTo>
                <a:lnTo>
                  <a:pt x="140" y="0"/>
                </a:lnTo>
                <a:lnTo>
                  <a:pt x="160" y="0"/>
                </a:lnTo>
                <a:lnTo>
                  <a:pt x="160" y="0"/>
                </a:lnTo>
                <a:lnTo>
                  <a:pt x="174" y="2"/>
                </a:lnTo>
                <a:lnTo>
                  <a:pt x="174" y="2"/>
                </a:lnTo>
                <a:lnTo>
                  <a:pt x="204" y="12"/>
                </a:lnTo>
                <a:lnTo>
                  <a:pt x="204" y="12"/>
                </a:lnTo>
                <a:lnTo>
                  <a:pt x="212" y="16"/>
                </a:lnTo>
                <a:lnTo>
                  <a:pt x="212" y="16"/>
                </a:lnTo>
                <a:lnTo>
                  <a:pt x="236" y="30"/>
                </a:lnTo>
                <a:lnTo>
                  <a:pt x="236" y="30"/>
                </a:lnTo>
                <a:lnTo>
                  <a:pt x="244" y="38"/>
                </a:lnTo>
                <a:lnTo>
                  <a:pt x="244" y="38"/>
                </a:lnTo>
                <a:lnTo>
                  <a:pt x="262" y="58"/>
                </a:lnTo>
                <a:lnTo>
                  <a:pt x="262" y="58"/>
                </a:lnTo>
                <a:lnTo>
                  <a:pt x="268" y="66"/>
                </a:lnTo>
                <a:lnTo>
                  <a:pt x="268" y="66"/>
                </a:lnTo>
                <a:lnTo>
                  <a:pt x="280" y="90"/>
                </a:lnTo>
                <a:lnTo>
                  <a:pt x="280" y="90"/>
                </a:lnTo>
                <a:lnTo>
                  <a:pt x="282" y="96"/>
                </a:lnTo>
                <a:lnTo>
                  <a:pt x="284" y="100"/>
                </a:lnTo>
                <a:lnTo>
                  <a:pt x="284" y="100"/>
                </a:lnTo>
                <a:lnTo>
                  <a:pt x="290" y="134"/>
                </a:lnTo>
                <a:lnTo>
                  <a:pt x="290" y="134"/>
                </a:lnTo>
                <a:lnTo>
                  <a:pt x="292" y="146"/>
                </a:lnTo>
                <a:lnTo>
                  <a:pt x="292" y="146"/>
                </a:lnTo>
                <a:lnTo>
                  <a:pt x="288" y="172"/>
                </a:lnTo>
                <a:lnTo>
                  <a:pt x="282" y="196"/>
                </a:lnTo>
                <a:lnTo>
                  <a:pt x="282" y="196"/>
                </a:lnTo>
                <a:lnTo>
                  <a:pt x="270" y="220"/>
                </a:lnTo>
                <a:lnTo>
                  <a:pt x="270" y="220"/>
                </a:lnTo>
                <a:lnTo>
                  <a:pt x="254" y="240"/>
                </a:lnTo>
                <a:lnTo>
                  <a:pt x="236" y="260"/>
                </a:lnTo>
                <a:lnTo>
                  <a:pt x="236" y="260"/>
                </a:lnTo>
                <a:lnTo>
                  <a:pt x="218" y="280"/>
                </a:lnTo>
                <a:lnTo>
                  <a:pt x="204" y="302"/>
                </a:lnTo>
                <a:lnTo>
                  <a:pt x="190" y="326"/>
                </a:lnTo>
                <a:lnTo>
                  <a:pt x="182" y="350"/>
                </a:lnTo>
                <a:lnTo>
                  <a:pt x="182" y="350"/>
                </a:lnTo>
                <a:lnTo>
                  <a:pt x="178" y="360"/>
                </a:lnTo>
                <a:lnTo>
                  <a:pt x="176" y="370"/>
                </a:lnTo>
                <a:lnTo>
                  <a:pt x="176" y="370"/>
                </a:lnTo>
                <a:lnTo>
                  <a:pt x="172" y="382"/>
                </a:lnTo>
                <a:lnTo>
                  <a:pt x="170" y="394"/>
                </a:lnTo>
                <a:lnTo>
                  <a:pt x="168" y="418"/>
                </a:lnTo>
                <a:lnTo>
                  <a:pt x="168" y="418"/>
                </a:lnTo>
                <a:lnTo>
                  <a:pt x="168" y="432"/>
                </a:lnTo>
                <a:lnTo>
                  <a:pt x="168" y="432"/>
                </a:lnTo>
                <a:lnTo>
                  <a:pt x="168" y="472"/>
                </a:lnTo>
                <a:lnTo>
                  <a:pt x="168" y="472"/>
                </a:lnTo>
                <a:lnTo>
                  <a:pt x="168" y="486"/>
                </a:lnTo>
                <a:lnTo>
                  <a:pt x="168" y="486"/>
                </a:lnTo>
                <a:lnTo>
                  <a:pt x="166" y="496"/>
                </a:lnTo>
                <a:lnTo>
                  <a:pt x="162" y="504"/>
                </a:lnTo>
                <a:lnTo>
                  <a:pt x="154" y="510"/>
                </a:lnTo>
                <a:lnTo>
                  <a:pt x="144" y="512"/>
                </a:lnTo>
                <a:lnTo>
                  <a:pt x="144" y="512"/>
                </a:lnTo>
                <a:lnTo>
                  <a:pt x="132" y="508"/>
                </a:lnTo>
                <a:lnTo>
                  <a:pt x="132" y="508"/>
                </a:lnTo>
                <a:lnTo>
                  <a:pt x="128" y="504"/>
                </a:lnTo>
                <a:lnTo>
                  <a:pt x="124" y="498"/>
                </a:lnTo>
                <a:lnTo>
                  <a:pt x="122" y="490"/>
                </a:lnTo>
                <a:lnTo>
                  <a:pt x="122" y="484"/>
                </a:lnTo>
                <a:lnTo>
                  <a:pt x="122" y="484"/>
                </a:lnTo>
                <a:lnTo>
                  <a:pt x="122" y="472"/>
                </a:lnTo>
                <a:lnTo>
                  <a:pt x="122" y="472"/>
                </a:lnTo>
                <a:lnTo>
                  <a:pt x="122" y="430"/>
                </a:lnTo>
                <a:lnTo>
                  <a:pt x="122" y="430"/>
                </a:lnTo>
                <a:lnTo>
                  <a:pt x="122" y="418"/>
                </a:lnTo>
                <a:lnTo>
                  <a:pt x="122" y="418"/>
                </a:lnTo>
                <a:lnTo>
                  <a:pt x="120" y="400"/>
                </a:lnTo>
                <a:lnTo>
                  <a:pt x="116" y="380"/>
                </a:lnTo>
                <a:lnTo>
                  <a:pt x="116" y="380"/>
                </a:lnTo>
                <a:lnTo>
                  <a:pt x="116" y="374"/>
                </a:lnTo>
                <a:lnTo>
                  <a:pt x="114" y="370"/>
                </a:lnTo>
                <a:lnTo>
                  <a:pt x="114" y="370"/>
                </a:lnTo>
                <a:lnTo>
                  <a:pt x="112" y="354"/>
                </a:lnTo>
                <a:lnTo>
                  <a:pt x="106" y="340"/>
                </a:lnTo>
                <a:lnTo>
                  <a:pt x="106" y="340"/>
                </a:lnTo>
                <a:lnTo>
                  <a:pt x="104" y="334"/>
                </a:lnTo>
                <a:lnTo>
                  <a:pt x="100" y="328"/>
                </a:lnTo>
                <a:lnTo>
                  <a:pt x="100" y="328"/>
                </a:lnTo>
                <a:lnTo>
                  <a:pt x="94" y="314"/>
                </a:lnTo>
                <a:lnTo>
                  <a:pt x="84" y="300"/>
                </a:lnTo>
                <a:lnTo>
                  <a:pt x="84" y="300"/>
                </a:lnTo>
                <a:lnTo>
                  <a:pt x="82" y="296"/>
                </a:lnTo>
                <a:lnTo>
                  <a:pt x="82" y="296"/>
                </a:lnTo>
                <a:lnTo>
                  <a:pt x="74" y="284"/>
                </a:lnTo>
                <a:lnTo>
                  <a:pt x="64" y="272"/>
                </a:lnTo>
                <a:lnTo>
                  <a:pt x="64" y="272"/>
                </a:lnTo>
                <a:lnTo>
                  <a:pt x="60" y="266"/>
                </a:lnTo>
                <a:lnTo>
                  <a:pt x="54" y="260"/>
                </a:lnTo>
                <a:lnTo>
                  <a:pt x="54" y="260"/>
                </a:lnTo>
                <a:lnTo>
                  <a:pt x="38" y="244"/>
                </a:lnTo>
                <a:lnTo>
                  <a:pt x="38" y="244"/>
                </a:lnTo>
                <a:lnTo>
                  <a:pt x="30" y="234"/>
                </a:lnTo>
                <a:lnTo>
                  <a:pt x="30" y="234"/>
                </a:lnTo>
                <a:lnTo>
                  <a:pt x="16" y="212"/>
                </a:lnTo>
                <a:lnTo>
                  <a:pt x="16" y="212"/>
                </a:lnTo>
                <a:lnTo>
                  <a:pt x="10" y="202"/>
                </a:lnTo>
                <a:lnTo>
                  <a:pt x="10" y="202"/>
                </a:lnTo>
                <a:lnTo>
                  <a:pt x="2" y="172"/>
                </a:lnTo>
                <a:lnTo>
                  <a:pt x="2" y="172"/>
                </a:lnTo>
                <a:lnTo>
                  <a:pt x="0" y="160"/>
                </a:lnTo>
                <a:lnTo>
                  <a:pt x="0" y="160"/>
                </a:lnTo>
                <a:lnTo>
                  <a:pt x="2" y="114"/>
                </a:lnTo>
                <a:lnTo>
                  <a:pt x="2" y="114"/>
                </a:lnTo>
                <a:lnTo>
                  <a:pt x="4" y="108"/>
                </a:lnTo>
                <a:lnTo>
                  <a:pt x="6" y="100"/>
                </a:lnTo>
                <a:lnTo>
                  <a:pt x="6" y="100"/>
                </a:lnTo>
                <a:lnTo>
                  <a:pt x="12" y="84"/>
                </a:lnTo>
                <a:lnTo>
                  <a:pt x="22" y="70"/>
                </a:lnTo>
                <a:lnTo>
                  <a:pt x="32" y="56"/>
                </a:lnTo>
                <a:lnTo>
                  <a:pt x="42" y="42"/>
                </a:lnTo>
                <a:lnTo>
                  <a:pt x="54" y="32"/>
                </a:lnTo>
                <a:lnTo>
                  <a:pt x="68" y="22"/>
                </a:lnTo>
                <a:lnTo>
                  <a:pt x="84" y="14"/>
                </a:lnTo>
                <a:lnTo>
                  <a:pt x="100" y="6"/>
                </a:lnTo>
                <a:lnTo>
                  <a:pt x="100" y="6"/>
                </a:lnTo>
                <a:lnTo>
                  <a:pt x="118" y="2"/>
                </a:lnTo>
                <a:lnTo>
                  <a:pt x="118" y="2"/>
                </a:lnTo>
                <a:close/>
                <a:moveTo>
                  <a:pt x="194" y="142"/>
                </a:moveTo>
                <a:lnTo>
                  <a:pt x="194" y="142"/>
                </a:lnTo>
                <a:lnTo>
                  <a:pt x="192" y="136"/>
                </a:lnTo>
                <a:lnTo>
                  <a:pt x="192" y="130"/>
                </a:lnTo>
                <a:lnTo>
                  <a:pt x="192" y="130"/>
                </a:lnTo>
                <a:lnTo>
                  <a:pt x="188" y="122"/>
                </a:lnTo>
                <a:lnTo>
                  <a:pt x="184" y="116"/>
                </a:lnTo>
                <a:lnTo>
                  <a:pt x="180" y="110"/>
                </a:lnTo>
                <a:lnTo>
                  <a:pt x="174" y="106"/>
                </a:lnTo>
                <a:lnTo>
                  <a:pt x="174" y="106"/>
                </a:lnTo>
                <a:lnTo>
                  <a:pt x="168" y="102"/>
                </a:lnTo>
                <a:lnTo>
                  <a:pt x="162" y="100"/>
                </a:lnTo>
                <a:lnTo>
                  <a:pt x="162" y="100"/>
                </a:lnTo>
                <a:lnTo>
                  <a:pt x="148" y="96"/>
                </a:lnTo>
                <a:lnTo>
                  <a:pt x="134" y="96"/>
                </a:lnTo>
                <a:lnTo>
                  <a:pt x="122" y="102"/>
                </a:lnTo>
                <a:lnTo>
                  <a:pt x="110" y="110"/>
                </a:lnTo>
                <a:lnTo>
                  <a:pt x="110" y="110"/>
                </a:lnTo>
                <a:lnTo>
                  <a:pt x="102" y="122"/>
                </a:lnTo>
                <a:lnTo>
                  <a:pt x="96" y="136"/>
                </a:lnTo>
                <a:lnTo>
                  <a:pt x="96" y="148"/>
                </a:lnTo>
                <a:lnTo>
                  <a:pt x="100" y="164"/>
                </a:lnTo>
                <a:lnTo>
                  <a:pt x="100" y="164"/>
                </a:lnTo>
                <a:lnTo>
                  <a:pt x="102" y="168"/>
                </a:lnTo>
                <a:lnTo>
                  <a:pt x="104" y="172"/>
                </a:lnTo>
                <a:lnTo>
                  <a:pt x="104" y="172"/>
                </a:lnTo>
                <a:lnTo>
                  <a:pt x="110" y="178"/>
                </a:lnTo>
                <a:lnTo>
                  <a:pt x="116" y="184"/>
                </a:lnTo>
                <a:lnTo>
                  <a:pt x="122" y="188"/>
                </a:lnTo>
                <a:lnTo>
                  <a:pt x="130" y="190"/>
                </a:lnTo>
                <a:lnTo>
                  <a:pt x="130" y="190"/>
                </a:lnTo>
                <a:lnTo>
                  <a:pt x="136" y="194"/>
                </a:lnTo>
                <a:lnTo>
                  <a:pt x="140" y="194"/>
                </a:lnTo>
                <a:lnTo>
                  <a:pt x="140" y="194"/>
                </a:lnTo>
                <a:lnTo>
                  <a:pt x="152" y="192"/>
                </a:lnTo>
                <a:lnTo>
                  <a:pt x="164" y="190"/>
                </a:lnTo>
                <a:lnTo>
                  <a:pt x="172" y="186"/>
                </a:lnTo>
                <a:lnTo>
                  <a:pt x="180" y="180"/>
                </a:lnTo>
                <a:lnTo>
                  <a:pt x="186" y="172"/>
                </a:lnTo>
                <a:lnTo>
                  <a:pt x="190" y="162"/>
                </a:lnTo>
                <a:lnTo>
                  <a:pt x="194" y="152"/>
                </a:lnTo>
                <a:lnTo>
                  <a:pt x="194" y="142"/>
                </a:lnTo>
                <a:lnTo>
                  <a:pt x="194" y="14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solidFill>
                <a:schemeClr val="accent1"/>
              </a:solidFill>
              <a:latin typeface="Montserrat" panose="00000500000000000000"/>
              <a:cs typeface="Arial" panose="020B0604020202020204" pitchFamily="34" charset="0"/>
            </a:endParaRPr>
          </a:p>
        </p:txBody>
      </p:sp>
      <p:sp>
        <p:nvSpPr>
          <p:cNvPr id="52" name="Freeform 19"/>
          <p:cNvSpPr>
            <a:spLocks/>
          </p:cNvSpPr>
          <p:nvPr/>
        </p:nvSpPr>
        <p:spPr bwMode="auto">
          <a:xfrm>
            <a:off x="6291895" y="4170660"/>
            <a:ext cx="87472" cy="122212"/>
          </a:xfrm>
          <a:custGeom>
            <a:avLst/>
            <a:gdLst>
              <a:gd name="T0" fmla="*/ 98 w 282"/>
              <a:gd name="T1" fmla="*/ 8 h 394"/>
              <a:gd name="T2" fmla="*/ 116 w 282"/>
              <a:gd name="T3" fmla="*/ 24 h 394"/>
              <a:gd name="T4" fmla="*/ 124 w 282"/>
              <a:gd name="T5" fmla="*/ 36 h 394"/>
              <a:gd name="T6" fmla="*/ 138 w 282"/>
              <a:gd name="T7" fmla="*/ 60 h 394"/>
              <a:gd name="T8" fmla="*/ 142 w 282"/>
              <a:gd name="T9" fmla="*/ 68 h 394"/>
              <a:gd name="T10" fmla="*/ 160 w 282"/>
              <a:gd name="T11" fmla="*/ 96 h 394"/>
              <a:gd name="T12" fmla="*/ 162 w 282"/>
              <a:gd name="T13" fmla="*/ 102 h 394"/>
              <a:gd name="T14" fmla="*/ 166 w 282"/>
              <a:gd name="T15" fmla="*/ 106 h 394"/>
              <a:gd name="T16" fmla="*/ 176 w 282"/>
              <a:gd name="T17" fmla="*/ 128 h 394"/>
              <a:gd name="T18" fmla="*/ 178 w 282"/>
              <a:gd name="T19" fmla="*/ 132 h 394"/>
              <a:gd name="T20" fmla="*/ 182 w 282"/>
              <a:gd name="T21" fmla="*/ 136 h 394"/>
              <a:gd name="T22" fmla="*/ 198 w 282"/>
              <a:gd name="T23" fmla="*/ 164 h 394"/>
              <a:gd name="T24" fmla="*/ 200 w 282"/>
              <a:gd name="T25" fmla="*/ 168 h 394"/>
              <a:gd name="T26" fmla="*/ 204 w 282"/>
              <a:gd name="T27" fmla="*/ 174 h 394"/>
              <a:gd name="T28" fmla="*/ 220 w 282"/>
              <a:gd name="T29" fmla="*/ 200 h 394"/>
              <a:gd name="T30" fmla="*/ 222 w 282"/>
              <a:gd name="T31" fmla="*/ 206 h 394"/>
              <a:gd name="T32" fmla="*/ 228 w 282"/>
              <a:gd name="T33" fmla="*/ 220 h 394"/>
              <a:gd name="T34" fmla="*/ 236 w 282"/>
              <a:gd name="T35" fmla="*/ 230 h 394"/>
              <a:gd name="T36" fmla="*/ 242 w 282"/>
              <a:gd name="T37" fmla="*/ 238 h 394"/>
              <a:gd name="T38" fmla="*/ 248 w 282"/>
              <a:gd name="T39" fmla="*/ 254 h 394"/>
              <a:gd name="T40" fmla="*/ 258 w 282"/>
              <a:gd name="T41" fmla="*/ 266 h 394"/>
              <a:gd name="T42" fmla="*/ 264 w 282"/>
              <a:gd name="T43" fmla="*/ 278 h 394"/>
              <a:gd name="T44" fmla="*/ 276 w 282"/>
              <a:gd name="T45" fmla="*/ 302 h 394"/>
              <a:gd name="T46" fmla="*/ 282 w 282"/>
              <a:gd name="T47" fmla="*/ 328 h 394"/>
              <a:gd name="T48" fmla="*/ 278 w 282"/>
              <a:gd name="T49" fmla="*/ 352 h 394"/>
              <a:gd name="T50" fmla="*/ 272 w 282"/>
              <a:gd name="T51" fmla="*/ 366 h 394"/>
              <a:gd name="T52" fmla="*/ 252 w 282"/>
              <a:gd name="T53" fmla="*/ 384 h 394"/>
              <a:gd name="T54" fmla="*/ 238 w 282"/>
              <a:gd name="T55" fmla="*/ 390 h 394"/>
              <a:gd name="T56" fmla="*/ 220 w 282"/>
              <a:gd name="T57" fmla="*/ 394 h 394"/>
              <a:gd name="T58" fmla="*/ 200 w 282"/>
              <a:gd name="T59" fmla="*/ 392 h 394"/>
              <a:gd name="T60" fmla="*/ 184 w 282"/>
              <a:gd name="T61" fmla="*/ 384 h 394"/>
              <a:gd name="T62" fmla="*/ 168 w 282"/>
              <a:gd name="T63" fmla="*/ 372 h 394"/>
              <a:gd name="T64" fmla="*/ 164 w 282"/>
              <a:gd name="T65" fmla="*/ 366 h 394"/>
              <a:gd name="T66" fmla="*/ 148 w 282"/>
              <a:gd name="T67" fmla="*/ 338 h 394"/>
              <a:gd name="T68" fmla="*/ 142 w 282"/>
              <a:gd name="T69" fmla="*/ 328 h 394"/>
              <a:gd name="T70" fmla="*/ 126 w 282"/>
              <a:gd name="T71" fmla="*/ 302 h 394"/>
              <a:gd name="T72" fmla="*/ 122 w 282"/>
              <a:gd name="T73" fmla="*/ 296 h 394"/>
              <a:gd name="T74" fmla="*/ 116 w 282"/>
              <a:gd name="T75" fmla="*/ 284 h 394"/>
              <a:gd name="T76" fmla="*/ 108 w 282"/>
              <a:gd name="T77" fmla="*/ 272 h 394"/>
              <a:gd name="T78" fmla="*/ 104 w 282"/>
              <a:gd name="T79" fmla="*/ 264 h 394"/>
              <a:gd name="T80" fmla="*/ 96 w 282"/>
              <a:gd name="T81" fmla="*/ 250 h 394"/>
              <a:gd name="T82" fmla="*/ 88 w 282"/>
              <a:gd name="T83" fmla="*/ 236 h 394"/>
              <a:gd name="T84" fmla="*/ 82 w 282"/>
              <a:gd name="T85" fmla="*/ 224 h 394"/>
              <a:gd name="T86" fmla="*/ 68 w 282"/>
              <a:gd name="T87" fmla="*/ 200 h 394"/>
              <a:gd name="T88" fmla="*/ 66 w 282"/>
              <a:gd name="T89" fmla="*/ 196 h 394"/>
              <a:gd name="T90" fmla="*/ 62 w 282"/>
              <a:gd name="T91" fmla="*/ 192 h 394"/>
              <a:gd name="T92" fmla="*/ 48 w 282"/>
              <a:gd name="T93" fmla="*/ 168 h 394"/>
              <a:gd name="T94" fmla="*/ 48 w 282"/>
              <a:gd name="T95" fmla="*/ 164 h 394"/>
              <a:gd name="T96" fmla="*/ 44 w 282"/>
              <a:gd name="T97" fmla="*/ 160 h 394"/>
              <a:gd name="T98" fmla="*/ 30 w 282"/>
              <a:gd name="T99" fmla="*/ 134 h 394"/>
              <a:gd name="T100" fmla="*/ 22 w 282"/>
              <a:gd name="T101" fmla="*/ 122 h 394"/>
              <a:gd name="T102" fmla="*/ 8 w 282"/>
              <a:gd name="T103" fmla="*/ 98 h 394"/>
              <a:gd name="T104" fmla="*/ 4 w 282"/>
              <a:gd name="T105" fmla="*/ 90 h 394"/>
              <a:gd name="T106" fmla="*/ 0 w 282"/>
              <a:gd name="T107" fmla="*/ 72 h 394"/>
              <a:gd name="T108" fmla="*/ 0 w 282"/>
              <a:gd name="T109" fmla="*/ 54 h 394"/>
              <a:gd name="T110" fmla="*/ 8 w 282"/>
              <a:gd name="T111" fmla="*/ 32 h 394"/>
              <a:gd name="T112" fmla="*/ 32 w 282"/>
              <a:gd name="T113" fmla="*/ 8 h 394"/>
              <a:gd name="T114" fmla="*/ 54 w 282"/>
              <a:gd name="T115" fmla="*/ 0 h 394"/>
              <a:gd name="T116" fmla="*/ 72 w 282"/>
              <a:gd name="T117" fmla="*/ 0 h 394"/>
              <a:gd name="T118" fmla="*/ 90 w 282"/>
              <a:gd name="T119" fmla="*/ 4 h 394"/>
              <a:gd name="T120" fmla="*/ 98 w 282"/>
              <a:gd name="T121" fmla="*/ 8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82" h="394">
                <a:moveTo>
                  <a:pt x="98" y="8"/>
                </a:moveTo>
                <a:lnTo>
                  <a:pt x="98" y="8"/>
                </a:lnTo>
                <a:lnTo>
                  <a:pt x="116" y="24"/>
                </a:lnTo>
                <a:lnTo>
                  <a:pt x="116" y="24"/>
                </a:lnTo>
                <a:lnTo>
                  <a:pt x="124" y="36"/>
                </a:lnTo>
                <a:lnTo>
                  <a:pt x="124" y="36"/>
                </a:lnTo>
                <a:lnTo>
                  <a:pt x="130" y="48"/>
                </a:lnTo>
                <a:lnTo>
                  <a:pt x="138" y="60"/>
                </a:lnTo>
                <a:lnTo>
                  <a:pt x="138" y="60"/>
                </a:lnTo>
                <a:lnTo>
                  <a:pt x="142" y="68"/>
                </a:lnTo>
                <a:lnTo>
                  <a:pt x="142" y="68"/>
                </a:lnTo>
                <a:lnTo>
                  <a:pt x="160" y="96"/>
                </a:lnTo>
                <a:lnTo>
                  <a:pt x="160" y="96"/>
                </a:lnTo>
                <a:lnTo>
                  <a:pt x="162" y="102"/>
                </a:lnTo>
                <a:lnTo>
                  <a:pt x="166" y="106"/>
                </a:lnTo>
                <a:lnTo>
                  <a:pt x="166" y="106"/>
                </a:lnTo>
                <a:lnTo>
                  <a:pt x="170" y="118"/>
                </a:lnTo>
                <a:lnTo>
                  <a:pt x="176" y="128"/>
                </a:lnTo>
                <a:lnTo>
                  <a:pt x="176" y="128"/>
                </a:lnTo>
                <a:lnTo>
                  <a:pt x="178" y="132"/>
                </a:lnTo>
                <a:lnTo>
                  <a:pt x="182" y="136"/>
                </a:lnTo>
                <a:lnTo>
                  <a:pt x="182" y="136"/>
                </a:lnTo>
                <a:lnTo>
                  <a:pt x="188" y="150"/>
                </a:lnTo>
                <a:lnTo>
                  <a:pt x="198" y="164"/>
                </a:lnTo>
                <a:lnTo>
                  <a:pt x="198" y="164"/>
                </a:lnTo>
                <a:lnTo>
                  <a:pt x="200" y="168"/>
                </a:lnTo>
                <a:lnTo>
                  <a:pt x="204" y="174"/>
                </a:lnTo>
                <a:lnTo>
                  <a:pt x="204" y="174"/>
                </a:lnTo>
                <a:lnTo>
                  <a:pt x="210" y="188"/>
                </a:lnTo>
                <a:lnTo>
                  <a:pt x="220" y="200"/>
                </a:lnTo>
                <a:lnTo>
                  <a:pt x="220" y="200"/>
                </a:lnTo>
                <a:lnTo>
                  <a:pt x="222" y="206"/>
                </a:lnTo>
                <a:lnTo>
                  <a:pt x="222" y="206"/>
                </a:lnTo>
                <a:lnTo>
                  <a:pt x="228" y="220"/>
                </a:lnTo>
                <a:lnTo>
                  <a:pt x="236" y="230"/>
                </a:lnTo>
                <a:lnTo>
                  <a:pt x="236" y="230"/>
                </a:lnTo>
                <a:lnTo>
                  <a:pt x="238" y="236"/>
                </a:lnTo>
                <a:lnTo>
                  <a:pt x="242" y="238"/>
                </a:lnTo>
                <a:lnTo>
                  <a:pt x="242" y="238"/>
                </a:lnTo>
                <a:lnTo>
                  <a:pt x="248" y="254"/>
                </a:lnTo>
                <a:lnTo>
                  <a:pt x="258" y="266"/>
                </a:lnTo>
                <a:lnTo>
                  <a:pt x="258" y="266"/>
                </a:lnTo>
                <a:lnTo>
                  <a:pt x="264" y="278"/>
                </a:lnTo>
                <a:lnTo>
                  <a:pt x="264" y="278"/>
                </a:lnTo>
                <a:lnTo>
                  <a:pt x="276" y="302"/>
                </a:lnTo>
                <a:lnTo>
                  <a:pt x="276" y="302"/>
                </a:lnTo>
                <a:lnTo>
                  <a:pt x="280" y="314"/>
                </a:lnTo>
                <a:lnTo>
                  <a:pt x="282" y="328"/>
                </a:lnTo>
                <a:lnTo>
                  <a:pt x="282" y="340"/>
                </a:lnTo>
                <a:lnTo>
                  <a:pt x="278" y="352"/>
                </a:lnTo>
                <a:lnTo>
                  <a:pt x="278" y="352"/>
                </a:lnTo>
                <a:lnTo>
                  <a:pt x="272" y="366"/>
                </a:lnTo>
                <a:lnTo>
                  <a:pt x="262" y="376"/>
                </a:lnTo>
                <a:lnTo>
                  <a:pt x="252" y="384"/>
                </a:lnTo>
                <a:lnTo>
                  <a:pt x="238" y="390"/>
                </a:lnTo>
                <a:lnTo>
                  <a:pt x="238" y="390"/>
                </a:lnTo>
                <a:lnTo>
                  <a:pt x="228" y="392"/>
                </a:lnTo>
                <a:lnTo>
                  <a:pt x="220" y="394"/>
                </a:lnTo>
                <a:lnTo>
                  <a:pt x="210" y="394"/>
                </a:lnTo>
                <a:lnTo>
                  <a:pt x="200" y="392"/>
                </a:lnTo>
                <a:lnTo>
                  <a:pt x="192" y="388"/>
                </a:lnTo>
                <a:lnTo>
                  <a:pt x="184" y="384"/>
                </a:lnTo>
                <a:lnTo>
                  <a:pt x="168" y="372"/>
                </a:lnTo>
                <a:lnTo>
                  <a:pt x="168" y="372"/>
                </a:lnTo>
                <a:lnTo>
                  <a:pt x="164" y="366"/>
                </a:lnTo>
                <a:lnTo>
                  <a:pt x="164" y="366"/>
                </a:lnTo>
                <a:lnTo>
                  <a:pt x="148" y="338"/>
                </a:lnTo>
                <a:lnTo>
                  <a:pt x="148" y="338"/>
                </a:lnTo>
                <a:lnTo>
                  <a:pt x="142" y="328"/>
                </a:lnTo>
                <a:lnTo>
                  <a:pt x="142" y="328"/>
                </a:lnTo>
                <a:lnTo>
                  <a:pt x="134" y="314"/>
                </a:lnTo>
                <a:lnTo>
                  <a:pt x="126" y="302"/>
                </a:lnTo>
                <a:lnTo>
                  <a:pt x="126" y="302"/>
                </a:lnTo>
                <a:lnTo>
                  <a:pt x="122" y="296"/>
                </a:lnTo>
                <a:lnTo>
                  <a:pt x="122" y="296"/>
                </a:lnTo>
                <a:lnTo>
                  <a:pt x="116" y="284"/>
                </a:lnTo>
                <a:lnTo>
                  <a:pt x="108" y="272"/>
                </a:lnTo>
                <a:lnTo>
                  <a:pt x="108" y="272"/>
                </a:lnTo>
                <a:lnTo>
                  <a:pt x="106" y="266"/>
                </a:lnTo>
                <a:lnTo>
                  <a:pt x="104" y="264"/>
                </a:lnTo>
                <a:lnTo>
                  <a:pt x="104" y="264"/>
                </a:lnTo>
                <a:lnTo>
                  <a:pt x="96" y="250"/>
                </a:lnTo>
                <a:lnTo>
                  <a:pt x="88" y="236"/>
                </a:lnTo>
                <a:lnTo>
                  <a:pt x="88" y="236"/>
                </a:lnTo>
                <a:lnTo>
                  <a:pt x="82" y="224"/>
                </a:lnTo>
                <a:lnTo>
                  <a:pt x="82" y="224"/>
                </a:lnTo>
                <a:lnTo>
                  <a:pt x="76" y="212"/>
                </a:lnTo>
                <a:lnTo>
                  <a:pt x="68" y="200"/>
                </a:lnTo>
                <a:lnTo>
                  <a:pt x="68" y="200"/>
                </a:lnTo>
                <a:lnTo>
                  <a:pt x="66" y="196"/>
                </a:lnTo>
                <a:lnTo>
                  <a:pt x="62" y="192"/>
                </a:lnTo>
                <a:lnTo>
                  <a:pt x="62" y="192"/>
                </a:lnTo>
                <a:lnTo>
                  <a:pt x="56" y="180"/>
                </a:lnTo>
                <a:lnTo>
                  <a:pt x="48" y="168"/>
                </a:lnTo>
                <a:lnTo>
                  <a:pt x="48" y="168"/>
                </a:lnTo>
                <a:lnTo>
                  <a:pt x="48" y="164"/>
                </a:lnTo>
                <a:lnTo>
                  <a:pt x="44" y="160"/>
                </a:lnTo>
                <a:lnTo>
                  <a:pt x="44" y="160"/>
                </a:lnTo>
                <a:lnTo>
                  <a:pt x="30" y="134"/>
                </a:lnTo>
                <a:lnTo>
                  <a:pt x="30" y="134"/>
                </a:lnTo>
                <a:lnTo>
                  <a:pt x="22" y="122"/>
                </a:lnTo>
                <a:lnTo>
                  <a:pt x="22" y="122"/>
                </a:lnTo>
                <a:lnTo>
                  <a:pt x="16" y="110"/>
                </a:lnTo>
                <a:lnTo>
                  <a:pt x="8" y="98"/>
                </a:lnTo>
                <a:lnTo>
                  <a:pt x="8" y="98"/>
                </a:lnTo>
                <a:lnTo>
                  <a:pt x="4" y="90"/>
                </a:lnTo>
                <a:lnTo>
                  <a:pt x="4" y="90"/>
                </a:lnTo>
                <a:lnTo>
                  <a:pt x="0" y="72"/>
                </a:lnTo>
                <a:lnTo>
                  <a:pt x="0" y="54"/>
                </a:lnTo>
                <a:lnTo>
                  <a:pt x="0" y="54"/>
                </a:lnTo>
                <a:lnTo>
                  <a:pt x="8" y="32"/>
                </a:lnTo>
                <a:lnTo>
                  <a:pt x="8" y="32"/>
                </a:lnTo>
                <a:lnTo>
                  <a:pt x="20" y="20"/>
                </a:lnTo>
                <a:lnTo>
                  <a:pt x="32" y="8"/>
                </a:lnTo>
                <a:lnTo>
                  <a:pt x="32" y="8"/>
                </a:lnTo>
                <a:lnTo>
                  <a:pt x="54" y="0"/>
                </a:lnTo>
                <a:lnTo>
                  <a:pt x="54" y="0"/>
                </a:lnTo>
                <a:lnTo>
                  <a:pt x="72" y="0"/>
                </a:lnTo>
                <a:lnTo>
                  <a:pt x="90" y="4"/>
                </a:lnTo>
                <a:lnTo>
                  <a:pt x="90" y="4"/>
                </a:lnTo>
                <a:lnTo>
                  <a:pt x="98" y="8"/>
                </a:lnTo>
                <a:lnTo>
                  <a:pt x="98" y="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solidFill>
                <a:schemeClr val="accent1"/>
              </a:solidFill>
              <a:latin typeface="Montserrat" panose="00000500000000000000"/>
              <a:cs typeface="Arial" panose="020B0604020202020204" pitchFamily="34" charset="0"/>
            </a:endParaRPr>
          </a:p>
        </p:txBody>
      </p:sp>
      <p:sp>
        <p:nvSpPr>
          <p:cNvPr id="53" name="Freeform 20"/>
          <p:cNvSpPr>
            <a:spLocks/>
          </p:cNvSpPr>
          <p:nvPr/>
        </p:nvSpPr>
        <p:spPr bwMode="auto">
          <a:xfrm>
            <a:off x="6282590" y="4152669"/>
            <a:ext cx="24815" cy="19852"/>
          </a:xfrm>
          <a:custGeom>
            <a:avLst/>
            <a:gdLst>
              <a:gd name="T0" fmla="*/ 14 w 80"/>
              <a:gd name="T1" fmla="*/ 64 h 64"/>
              <a:gd name="T2" fmla="*/ 14 w 80"/>
              <a:gd name="T3" fmla="*/ 64 h 64"/>
              <a:gd name="T4" fmla="*/ 6 w 80"/>
              <a:gd name="T5" fmla="*/ 60 h 64"/>
              <a:gd name="T6" fmla="*/ 6 w 80"/>
              <a:gd name="T7" fmla="*/ 60 h 64"/>
              <a:gd name="T8" fmla="*/ 2 w 80"/>
              <a:gd name="T9" fmla="*/ 54 h 64"/>
              <a:gd name="T10" fmla="*/ 0 w 80"/>
              <a:gd name="T11" fmla="*/ 48 h 64"/>
              <a:gd name="T12" fmla="*/ 0 w 80"/>
              <a:gd name="T13" fmla="*/ 40 h 64"/>
              <a:gd name="T14" fmla="*/ 0 w 80"/>
              <a:gd name="T15" fmla="*/ 34 h 64"/>
              <a:gd name="T16" fmla="*/ 0 w 80"/>
              <a:gd name="T17" fmla="*/ 34 h 64"/>
              <a:gd name="T18" fmla="*/ 10 w 80"/>
              <a:gd name="T19" fmla="*/ 24 h 64"/>
              <a:gd name="T20" fmla="*/ 10 w 80"/>
              <a:gd name="T21" fmla="*/ 24 h 64"/>
              <a:gd name="T22" fmla="*/ 42 w 80"/>
              <a:gd name="T23" fmla="*/ 6 h 64"/>
              <a:gd name="T24" fmla="*/ 42 w 80"/>
              <a:gd name="T25" fmla="*/ 6 h 64"/>
              <a:gd name="T26" fmla="*/ 50 w 80"/>
              <a:gd name="T27" fmla="*/ 2 h 64"/>
              <a:gd name="T28" fmla="*/ 56 w 80"/>
              <a:gd name="T29" fmla="*/ 0 h 64"/>
              <a:gd name="T30" fmla="*/ 62 w 80"/>
              <a:gd name="T31" fmla="*/ 0 h 64"/>
              <a:gd name="T32" fmla="*/ 70 w 80"/>
              <a:gd name="T33" fmla="*/ 2 h 64"/>
              <a:gd name="T34" fmla="*/ 70 w 80"/>
              <a:gd name="T35" fmla="*/ 2 h 64"/>
              <a:gd name="T36" fmla="*/ 78 w 80"/>
              <a:gd name="T37" fmla="*/ 10 h 64"/>
              <a:gd name="T38" fmla="*/ 78 w 80"/>
              <a:gd name="T39" fmla="*/ 10 h 64"/>
              <a:gd name="T40" fmla="*/ 80 w 80"/>
              <a:gd name="T41" fmla="*/ 22 h 64"/>
              <a:gd name="T42" fmla="*/ 80 w 80"/>
              <a:gd name="T43" fmla="*/ 30 h 64"/>
              <a:gd name="T44" fmla="*/ 74 w 80"/>
              <a:gd name="T45" fmla="*/ 36 h 64"/>
              <a:gd name="T46" fmla="*/ 64 w 80"/>
              <a:gd name="T47" fmla="*/ 44 h 64"/>
              <a:gd name="T48" fmla="*/ 64 w 80"/>
              <a:gd name="T49" fmla="*/ 44 h 64"/>
              <a:gd name="T50" fmla="*/ 34 w 80"/>
              <a:gd name="T51" fmla="*/ 62 h 64"/>
              <a:gd name="T52" fmla="*/ 34 w 80"/>
              <a:gd name="T53" fmla="*/ 62 h 64"/>
              <a:gd name="T54" fmla="*/ 24 w 80"/>
              <a:gd name="T55" fmla="*/ 64 h 64"/>
              <a:gd name="T56" fmla="*/ 14 w 80"/>
              <a:gd name="T57" fmla="*/ 64 h 64"/>
              <a:gd name="T58" fmla="*/ 14 w 80"/>
              <a:gd name="T59"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0" h="64">
                <a:moveTo>
                  <a:pt x="14" y="64"/>
                </a:moveTo>
                <a:lnTo>
                  <a:pt x="14" y="64"/>
                </a:lnTo>
                <a:lnTo>
                  <a:pt x="6" y="60"/>
                </a:lnTo>
                <a:lnTo>
                  <a:pt x="6" y="60"/>
                </a:lnTo>
                <a:lnTo>
                  <a:pt x="2" y="54"/>
                </a:lnTo>
                <a:lnTo>
                  <a:pt x="0" y="48"/>
                </a:lnTo>
                <a:lnTo>
                  <a:pt x="0" y="40"/>
                </a:lnTo>
                <a:lnTo>
                  <a:pt x="0" y="34"/>
                </a:lnTo>
                <a:lnTo>
                  <a:pt x="0" y="34"/>
                </a:lnTo>
                <a:lnTo>
                  <a:pt x="10" y="24"/>
                </a:lnTo>
                <a:lnTo>
                  <a:pt x="10" y="24"/>
                </a:lnTo>
                <a:lnTo>
                  <a:pt x="42" y="6"/>
                </a:lnTo>
                <a:lnTo>
                  <a:pt x="42" y="6"/>
                </a:lnTo>
                <a:lnTo>
                  <a:pt x="50" y="2"/>
                </a:lnTo>
                <a:lnTo>
                  <a:pt x="56" y="0"/>
                </a:lnTo>
                <a:lnTo>
                  <a:pt x="62" y="0"/>
                </a:lnTo>
                <a:lnTo>
                  <a:pt x="70" y="2"/>
                </a:lnTo>
                <a:lnTo>
                  <a:pt x="70" y="2"/>
                </a:lnTo>
                <a:lnTo>
                  <a:pt x="78" y="10"/>
                </a:lnTo>
                <a:lnTo>
                  <a:pt x="78" y="10"/>
                </a:lnTo>
                <a:lnTo>
                  <a:pt x="80" y="22"/>
                </a:lnTo>
                <a:lnTo>
                  <a:pt x="80" y="30"/>
                </a:lnTo>
                <a:lnTo>
                  <a:pt x="74" y="36"/>
                </a:lnTo>
                <a:lnTo>
                  <a:pt x="64" y="44"/>
                </a:lnTo>
                <a:lnTo>
                  <a:pt x="64" y="44"/>
                </a:lnTo>
                <a:lnTo>
                  <a:pt x="34" y="62"/>
                </a:lnTo>
                <a:lnTo>
                  <a:pt x="34" y="62"/>
                </a:lnTo>
                <a:lnTo>
                  <a:pt x="24" y="64"/>
                </a:lnTo>
                <a:lnTo>
                  <a:pt x="14" y="64"/>
                </a:lnTo>
                <a:lnTo>
                  <a:pt x="14" y="6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solidFill>
                <a:schemeClr val="accent1"/>
              </a:solidFill>
              <a:latin typeface="Montserrat" panose="00000500000000000000"/>
              <a:cs typeface="Arial" panose="020B0604020202020204" pitchFamily="34" charset="0"/>
            </a:endParaRPr>
          </a:p>
        </p:txBody>
      </p:sp>
      <p:sp>
        <p:nvSpPr>
          <p:cNvPr id="54" name="Freeform 21"/>
          <p:cNvSpPr>
            <a:spLocks/>
          </p:cNvSpPr>
          <p:nvPr/>
        </p:nvSpPr>
        <p:spPr bwMode="auto">
          <a:xfrm>
            <a:off x="6304303" y="3996957"/>
            <a:ext cx="0" cy="620"/>
          </a:xfrm>
          <a:custGeom>
            <a:avLst/>
            <a:gdLst>
              <a:gd name="T0" fmla="*/ 2 h 2"/>
              <a:gd name="T1" fmla="*/ 2 h 2"/>
              <a:gd name="T2" fmla="*/ 0 h 2"/>
              <a:gd name="T3" fmla="*/ 0 h 2"/>
              <a:gd name="T4" fmla="*/ 2 h 2"/>
              <a:gd name="T5" fmla="*/ 2 h 2"/>
              <a:gd name="T6" fmla="*/ 2 h 2"/>
              <a:gd name="T7" fmla="*/ 2 h 2"/>
            </a:gdLst>
            <a:ahLst/>
            <a:cxnLst>
              <a:cxn ang="0">
                <a:pos x="0" y="T0"/>
              </a:cxn>
              <a:cxn ang="0">
                <a:pos x="0" y="T1"/>
              </a:cxn>
              <a:cxn ang="0">
                <a:pos x="0" y="T2"/>
              </a:cxn>
              <a:cxn ang="0">
                <a:pos x="0" y="T3"/>
              </a:cxn>
              <a:cxn ang="0">
                <a:pos x="0" y="T4"/>
              </a:cxn>
              <a:cxn ang="0">
                <a:pos x="0" y="T5"/>
              </a:cxn>
              <a:cxn ang="0">
                <a:pos x="0" y="T6"/>
              </a:cxn>
              <a:cxn ang="0">
                <a:pos x="0" y="T7"/>
              </a:cxn>
            </a:cxnLst>
            <a:rect l="0" t="0" r="r" b="b"/>
            <a:pathLst>
              <a:path h="2">
                <a:moveTo>
                  <a:pt x="0" y="2"/>
                </a:moveTo>
                <a:lnTo>
                  <a:pt x="0" y="2"/>
                </a:lnTo>
                <a:lnTo>
                  <a:pt x="0" y="0"/>
                </a:lnTo>
                <a:lnTo>
                  <a:pt x="0" y="0"/>
                </a:lnTo>
                <a:lnTo>
                  <a:pt x="0" y="2"/>
                </a:lnTo>
                <a:lnTo>
                  <a:pt x="0" y="2"/>
                </a:lnTo>
                <a:lnTo>
                  <a:pt x="0" y="2"/>
                </a:lnTo>
                <a:lnTo>
                  <a:pt x="0" y="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solidFill>
                <a:schemeClr val="accent1"/>
              </a:solidFill>
              <a:latin typeface="Montserrat" panose="00000500000000000000"/>
              <a:cs typeface="Arial" panose="020B0604020202020204" pitchFamily="34" charset="0"/>
            </a:endParaRPr>
          </a:p>
        </p:txBody>
      </p:sp>
      <p:grpSp>
        <p:nvGrpSpPr>
          <p:cNvPr id="55" name="Group 54"/>
          <p:cNvGrpSpPr/>
          <p:nvPr/>
        </p:nvGrpSpPr>
        <p:grpSpPr>
          <a:xfrm>
            <a:off x="1247103" y="4428433"/>
            <a:ext cx="864939" cy="864939"/>
            <a:chOff x="1037633" y="5182536"/>
            <a:chExt cx="864939" cy="864939"/>
          </a:xfrm>
        </p:grpSpPr>
        <p:sp>
          <p:nvSpPr>
            <p:cNvPr id="56" name="Oval 20"/>
            <p:cNvSpPr>
              <a:spLocks noChangeArrowheads="1"/>
            </p:cNvSpPr>
            <p:nvPr/>
          </p:nvSpPr>
          <p:spPr bwMode="auto">
            <a:xfrm>
              <a:off x="1037633" y="5182536"/>
              <a:ext cx="864939" cy="864939"/>
            </a:xfrm>
            <a:prstGeom prst="ellipse">
              <a:avLst/>
            </a:prstGeom>
            <a:solidFill>
              <a:srgbClr val="FFFFFF"/>
            </a:solidFill>
            <a:ln w="19050">
              <a:solidFill>
                <a:schemeClr val="accent1"/>
              </a:solidFill>
              <a:round/>
              <a:headEnd/>
              <a:tailEnd/>
            </a:ln>
            <a:effectLst>
              <a:outerShdw blurRad="63500" sx="102000" sy="102000" algn="ctr"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en-US" sz="1200">
                <a:solidFill>
                  <a:schemeClr val="accent1"/>
                </a:solidFill>
                <a:latin typeface="Montserrat" panose="00000500000000000000"/>
              </a:endParaRPr>
            </a:p>
          </p:txBody>
        </p:sp>
        <p:sp>
          <p:nvSpPr>
            <p:cNvPr id="57" name="Oval 56"/>
            <p:cNvSpPr>
              <a:spLocks noChangeArrowheads="1"/>
            </p:cNvSpPr>
            <p:nvPr/>
          </p:nvSpPr>
          <p:spPr bwMode="auto">
            <a:xfrm>
              <a:off x="1124284" y="5278054"/>
              <a:ext cx="682341" cy="682341"/>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sz="1200">
                <a:solidFill>
                  <a:schemeClr val="accent1"/>
                </a:solidFill>
                <a:latin typeface="Montserrat" panose="00000500000000000000"/>
              </a:endParaRPr>
            </a:p>
          </p:txBody>
        </p:sp>
      </p:grpSp>
      <p:pic>
        <p:nvPicPr>
          <p:cNvPr id="58" name="Picture 7" descr="https://arisglobal.com/wp-content/uploads/2020/05/Lifesphere-safety.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398699" y="4592601"/>
            <a:ext cx="552450" cy="552451"/>
          </a:xfrm>
          <a:prstGeom prst="rect">
            <a:avLst/>
          </a:prstGeom>
          <a:noFill/>
          <a:extLst>
            <a:ext uri="{909E8E84-426E-40DD-AFC4-6F175D3DCCD1}">
              <a14:hiddenFill xmlns:a14="http://schemas.microsoft.com/office/drawing/2010/main">
                <a:solidFill>
                  <a:srgbClr val="FFFFFF"/>
                </a:solidFill>
              </a14:hiddenFill>
            </a:ext>
          </a:extLst>
        </p:spPr>
      </p:pic>
      <p:sp>
        <p:nvSpPr>
          <p:cNvPr id="59" name="Rectangle 58"/>
          <p:cNvSpPr/>
          <p:nvPr/>
        </p:nvSpPr>
        <p:spPr>
          <a:xfrm>
            <a:off x="922354" y="3750152"/>
            <a:ext cx="1543609" cy="4473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22363" tIns="61181" rIns="122363" bIns="61181" rtlCol="0" anchor="ctr"/>
          <a:lstStyle/>
          <a:p>
            <a:pPr algn="ctr"/>
            <a:r>
              <a:rPr lang="en-GB" sz="1400" b="1" err="1">
                <a:solidFill>
                  <a:schemeClr val="bg1"/>
                </a:solidFill>
                <a:latin typeface="Montserrat" panose="00000500000000000000"/>
                <a:cs typeface="Calibri" panose="020F0502020204030204" pitchFamily="34" charset="0"/>
              </a:rPr>
              <a:t>HYDMedia</a:t>
            </a:r>
            <a:r>
              <a:rPr lang="en-GB" sz="1400" b="1">
                <a:solidFill>
                  <a:schemeClr val="bg1"/>
                </a:solidFill>
                <a:latin typeface="Montserrat" panose="00000500000000000000"/>
                <a:cs typeface="Calibri" panose="020F0502020204030204" pitchFamily="34" charset="0"/>
              </a:rPr>
              <a:t> G1</a:t>
            </a:r>
          </a:p>
          <a:p>
            <a:pPr algn="ctr"/>
            <a:r>
              <a:rPr lang="en-GB" sz="1400" b="1">
                <a:solidFill>
                  <a:schemeClr val="bg1"/>
                </a:solidFill>
                <a:latin typeface="Montserrat" panose="00000500000000000000"/>
                <a:cs typeface="Calibri" panose="020F0502020204030204" pitchFamily="34" charset="0"/>
              </a:rPr>
              <a:t>1994</a:t>
            </a:r>
          </a:p>
          <a:p>
            <a:pPr algn="ctr"/>
            <a:r>
              <a:rPr lang="en-GB" sz="1400" b="1">
                <a:solidFill>
                  <a:schemeClr val="bg1"/>
                </a:solidFill>
                <a:latin typeface="Montserrat" panose="00000500000000000000"/>
                <a:cs typeface="Calibri" panose="020F0502020204030204" pitchFamily="34" charset="0"/>
              </a:rPr>
              <a:t>Scanning solution</a:t>
            </a:r>
          </a:p>
        </p:txBody>
      </p:sp>
      <p:grpSp>
        <p:nvGrpSpPr>
          <p:cNvPr id="60" name="Group 59"/>
          <p:cNvGrpSpPr/>
          <p:nvPr/>
        </p:nvGrpSpPr>
        <p:grpSpPr>
          <a:xfrm>
            <a:off x="10138588" y="1542832"/>
            <a:ext cx="864939" cy="864939"/>
            <a:chOff x="9014863" y="1718775"/>
            <a:chExt cx="864939" cy="864939"/>
          </a:xfrm>
        </p:grpSpPr>
        <p:sp>
          <p:nvSpPr>
            <p:cNvPr id="61" name="Oval 11"/>
            <p:cNvSpPr>
              <a:spLocks noChangeArrowheads="1"/>
            </p:cNvSpPr>
            <p:nvPr/>
          </p:nvSpPr>
          <p:spPr bwMode="auto">
            <a:xfrm>
              <a:off x="9014863" y="1718775"/>
              <a:ext cx="864939" cy="864939"/>
            </a:xfrm>
            <a:prstGeom prst="ellipse">
              <a:avLst/>
            </a:prstGeom>
            <a:solidFill>
              <a:srgbClr val="FFFFFF"/>
            </a:solidFill>
            <a:ln w="19050">
              <a:solidFill>
                <a:schemeClr val="accent3"/>
              </a:solidFill>
              <a:round/>
              <a:headEnd/>
              <a:tailEnd/>
            </a:ln>
          </p:spPr>
          <p:txBody>
            <a:bodyPr vert="horz" wrap="square" lIns="91440" tIns="45720" rIns="91440" bIns="45720" numCol="1" anchor="t" anchorCtr="0" compatLnSpc="1">
              <a:prstTxWarp prst="textNoShape">
                <a:avLst/>
              </a:prstTxWarp>
            </a:bodyPr>
            <a:lstStyle/>
            <a:p>
              <a:endParaRPr lang="en-US" sz="2400">
                <a:solidFill>
                  <a:schemeClr val="accent1"/>
                </a:solidFill>
                <a:latin typeface="Montserrat" panose="00000500000000000000"/>
              </a:endParaRPr>
            </a:p>
          </p:txBody>
        </p:sp>
        <p:sp>
          <p:nvSpPr>
            <p:cNvPr id="62" name="Oval 13"/>
            <p:cNvSpPr>
              <a:spLocks noChangeArrowheads="1"/>
            </p:cNvSpPr>
            <p:nvPr/>
          </p:nvSpPr>
          <p:spPr bwMode="auto">
            <a:xfrm>
              <a:off x="9106162" y="1810075"/>
              <a:ext cx="682341" cy="682341"/>
            </a:xfrm>
            <a:prstGeom prst="ellipse">
              <a:avLst/>
            </a:prstGeom>
            <a:solidFill>
              <a:schemeClr val="accent3"/>
            </a:solidFill>
            <a:ln>
              <a:noFill/>
            </a:ln>
          </p:spPr>
          <p:txBody>
            <a:bodyPr vert="horz" wrap="square" lIns="91440" tIns="45720" rIns="91440" bIns="45720" numCol="1" anchor="t" anchorCtr="0" compatLnSpc="1">
              <a:prstTxWarp prst="textNoShape">
                <a:avLst/>
              </a:prstTxWarp>
            </a:bodyPr>
            <a:lstStyle/>
            <a:p>
              <a:endParaRPr lang="en-US" sz="2400">
                <a:solidFill>
                  <a:schemeClr val="accent1"/>
                </a:solidFill>
                <a:latin typeface="Montserrat" panose="00000500000000000000"/>
              </a:endParaRPr>
            </a:p>
          </p:txBody>
        </p:sp>
        <p:sp>
          <p:nvSpPr>
            <p:cNvPr id="63" name="Freeform 5">
              <a:extLst>
                <a:ext uri="{FF2B5EF4-FFF2-40B4-BE49-F238E27FC236}">
                  <a16:creationId xmlns:a16="http://schemas.microsoft.com/office/drawing/2014/main" id="{531C89CB-B328-4C6B-B9D2-949493C1A472}"/>
                </a:ext>
              </a:extLst>
            </p:cNvPr>
            <p:cNvSpPr>
              <a:spLocks noEditPoints="1"/>
            </p:cNvSpPr>
            <p:nvPr/>
          </p:nvSpPr>
          <p:spPr bwMode="auto">
            <a:xfrm>
              <a:off x="9227724" y="1982636"/>
              <a:ext cx="439585" cy="409411"/>
            </a:xfrm>
            <a:custGeom>
              <a:avLst/>
              <a:gdLst>
                <a:gd name="T0" fmla="*/ 1024 w 1104"/>
                <a:gd name="T1" fmla="*/ 383 h 1042"/>
                <a:gd name="T2" fmla="*/ 552 w 1104"/>
                <a:gd name="T3" fmla="*/ 25 h 1042"/>
                <a:gd name="T4" fmla="*/ 80 w 1104"/>
                <a:gd name="T5" fmla="*/ 383 h 1042"/>
                <a:gd name="T6" fmla="*/ 8 w 1104"/>
                <a:gd name="T7" fmla="*/ 561 h 1042"/>
                <a:gd name="T8" fmla="*/ 53 w 1104"/>
                <a:gd name="T9" fmla="*/ 604 h 1042"/>
                <a:gd name="T10" fmla="*/ 61 w 1104"/>
                <a:gd name="T11" fmla="*/ 704 h 1042"/>
                <a:gd name="T12" fmla="*/ 87 w 1104"/>
                <a:gd name="T13" fmla="*/ 817 h 1042"/>
                <a:gd name="T14" fmla="*/ 223 w 1104"/>
                <a:gd name="T15" fmla="*/ 856 h 1042"/>
                <a:gd name="T16" fmla="*/ 290 w 1104"/>
                <a:gd name="T17" fmla="*/ 904 h 1042"/>
                <a:gd name="T18" fmla="*/ 299 w 1104"/>
                <a:gd name="T19" fmla="*/ 1042 h 1042"/>
                <a:gd name="T20" fmla="*/ 686 w 1104"/>
                <a:gd name="T21" fmla="*/ 1011 h 1042"/>
                <a:gd name="T22" fmla="*/ 594 w 1104"/>
                <a:gd name="T23" fmla="*/ 931 h 1042"/>
                <a:gd name="T24" fmla="*/ 715 w 1104"/>
                <a:gd name="T25" fmla="*/ 638 h 1042"/>
                <a:gd name="T26" fmla="*/ 809 w 1104"/>
                <a:gd name="T27" fmla="*/ 249 h 1042"/>
                <a:gd name="T28" fmla="*/ 812 w 1104"/>
                <a:gd name="T29" fmla="*/ 89 h 1042"/>
                <a:gd name="T30" fmla="*/ 992 w 1104"/>
                <a:gd name="T31" fmla="*/ 453 h 1042"/>
                <a:gd name="T32" fmla="*/ 1055 w 1104"/>
                <a:gd name="T33" fmla="*/ 554 h 1042"/>
                <a:gd name="T34" fmla="*/ 1020 w 1104"/>
                <a:gd name="T35" fmla="*/ 640 h 1042"/>
                <a:gd name="T36" fmla="*/ 997 w 1104"/>
                <a:gd name="T37" fmla="*/ 661 h 1042"/>
                <a:gd name="T38" fmla="*/ 1007 w 1104"/>
                <a:gd name="T39" fmla="*/ 686 h 1042"/>
                <a:gd name="T40" fmla="*/ 930 w 1104"/>
                <a:gd name="T41" fmla="*/ 814 h 1042"/>
                <a:gd name="T42" fmla="*/ 830 w 1104"/>
                <a:gd name="T43" fmla="*/ 818 h 1042"/>
                <a:gd name="T44" fmla="*/ 785 w 1104"/>
                <a:gd name="T45" fmla="*/ 1025 h 1042"/>
                <a:gd name="T46" fmla="*/ 824 w 1104"/>
                <a:gd name="T47" fmla="*/ 1020 h 1042"/>
                <a:gd name="T48" fmla="*/ 833 w 1104"/>
                <a:gd name="T49" fmla="*/ 858 h 1042"/>
                <a:gd name="T50" fmla="*/ 930 w 1104"/>
                <a:gd name="T51" fmla="*/ 854 h 1042"/>
                <a:gd name="T52" fmla="*/ 1040 w 1104"/>
                <a:gd name="T53" fmla="*/ 708 h 1042"/>
                <a:gd name="T54" fmla="*/ 1049 w 1104"/>
                <a:gd name="T55" fmla="*/ 670 h 1042"/>
                <a:gd name="T56" fmla="*/ 1058 w 1104"/>
                <a:gd name="T57" fmla="*/ 594 h 1042"/>
                <a:gd name="T58" fmla="*/ 323 w 1104"/>
                <a:gd name="T59" fmla="*/ 996 h 1042"/>
                <a:gd name="T60" fmla="*/ 274 w 1104"/>
                <a:gd name="T61" fmla="*/ 818 h 1042"/>
                <a:gd name="T62" fmla="*/ 174 w 1104"/>
                <a:gd name="T63" fmla="*/ 814 h 1042"/>
                <a:gd name="T64" fmla="*/ 97 w 1104"/>
                <a:gd name="T65" fmla="*/ 686 h 1042"/>
                <a:gd name="T66" fmla="*/ 107 w 1104"/>
                <a:gd name="T67" fmla="*/ 661 h 1042"/>
                <a:gd name="T68" fmla="*/ 84 w 1104"/>
                <a:gd name="T69" fmla="*/ 640 h 1042"/>
                <a:gd name="T70" fmla="*/ 49 w 1104"/>
                <a:gd name="T71" fmla="*/ 554 h 1042"/>
                <a:gd name="T72" fmla="*/ 112 w 1104"/>
                <a:gd name="T73" fmla="*/ 453 h 1042"/>
                <a:gd name="T74" fmla="*/ 292 w 1104"/>
                <a:gd name="T75" fmla="*/ 89 h 1042"/>
                <a:gd name="T76" fmla="*/ 295 w 1104"/>
                <a:gd name="T77" fmla="*/ 249 h 1042"/>
                <a:gd name="T78" fmla="*/ 389 w 1104"/>
                <a:gd name="T79" fmla="*/ 638 h 1042"/>
                <a:gd name="T80" fmla="*/ 510 w 1104"/>
                <a:gd name="T81" fmla="*/ 931 h 1042"/>
                <a:gd name="T82" fmla="*/ 601 w 1104"/>
                <a:gd name="T83" fmla="*/ 486 h 1042"/>
                <a:gd name="T84" fmla="*/ 639 w 1104"/>
                <a:gd name="T85" fmla="*/ 489 h 1042"/>
                <a:gd name="T86" fmla="*/ 601 w 1104"/>
                <a:gd name="T87" fmla="*/ 506 h 1042"/>
                <a:gd name="T88" fmla="*/ 562 w 1104"/>
                <a:gd name="T89" fmla="*/ 664 h 1042"/>
                <a:gd name="T90" fmla="*/ 500 w 1104"/>
                <a:gd name="T91" fmla="*/ 506 h 1042"/>
                <a:gd name="T92" fmla="*/ 462 w 1104"/>
                <a:gd name="T93" fmla="*/ 486 h 1042"/>
                <a:gd name="T94" fmla="*/ 500 w 1104"/>
                <a:gd name="T95" fmla="*/ 483 h 1042"/>
                <a:gd name="T96" fmla="*/ 648 w 1104"/>
                <a:gd name="T97" fmla="*/ 753 h 1042"/>
                <a:gd name="T98" fmla="*/ 656 w 1104"/>
                <a:gd name="T99" fmla="*/ 708 h 1042"/>
                <a:gd name="T100" fmla="*/ 643 w 1104"/>
                <a:gd name="T101" fmla="*/ 793 h 1042"/>
                <a:gd name="T102" fmla="*/ 497 w 1104"/>
                <a:gd name="T103" fmla="*/ 873 h 1042"/>
                <a:gd name="T104" fmla="*/ 497 w 1104"/>
                <a:gd name="T105" fmla="*/ 873 h 1042"/>
                <a:gd name="T106" fmla="*/ 725 w 1104"/>
                <a:gd name="T107" fmla="*/ 521 h 1042"/>
                <a:gd name="T108" fmla="*/ 602 w 1104"/>
                <a:gd name="T109" fmla="*/ 668 h 1042"/>
                <a:gd name="T110" fmla="*/ 679 w 1104"/>
                <a:gd name="T111" fmla="*/ 499 h 1042"/>
                <a:gd name="T112" fmla="*/ 608 w 1104"/>
                <a:gd name="T113" fmla="*/ 440 h 1042"/>
                <a:gd name="T114" fmla="*/ 561 w 1104"/>
                <a:gd name="T115" fmla="*/ 507 h 1042"/>
                <a:gd name="T116" fmla="*/ 497 w 1104"/>
                <a:gd name="T117" fmla="*/ 440 h 1042"/>
                <a:gd name="T118" fmla="*/ 422 w 1104"/>
                <a:gd name="T119" fmla="*/ 503 h 1042"/>
                <a:gd name="T120" fmla="*/ 500 w 1104"/>
                <a:gd name="T121" fmla="*/ 668 h 1042"/>
                <a:gd name="T122" fmla="*/ 379 w 1104"/>
                <a:gd name="T123" fmla="*/ 521 h 1042"/>
                <a:gd name="T124" fmla="*/ 552 w 1104"/>
                <a:gd name="T125" fmla="*/ 66 h 10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04" h="1042">
                  <a:moveTo>
                    <a:pt x="1074" y="494"/>
                  </a:moveTo>
                  <a:cubicBezTo>
                    <a:pt x="1056" y="480"/>
                    <a:pt x="1040" y="460"/>
                    <a:pt x="1027" y="434"/>
                  </a:cubicBezTo>
                  <a:cubicBezTo>
                    <a:pt x="1019" y="418"/>
                    <a:pt x="1021" y="403"/>
                    <a:pt x="1024" y="383"/>
                  </a:cubicBezTo>
                  <a:cubicBezTo>
                    <a:pt x="1025" y="377"/>
                    <a:pt x="1026" y="371"/>
                    <a:pt x="1026" y="364"/>
                  </a:cubicBezTo>
                  <a:cubicBezTo>
                    <a:pt x="1041" y="226"/>
                    <a:pt x="935" y="106"/>
                    <a:pt x="830" y="53"/>
                  </a:cubicBezTo>
                  <a:cubicBezTo>
                    <a:pt x="744" y="9"/>
                    <a:pt x="645" y="0"/>
                    <a:pt x="552" y="25"/>
                  </a:cubicBezTo>
                  <a:cubicBezTo>
                    <a:pt x="459" y="0"/>
                    <a:pt x="360" y="9"/>
                    <a:pt x="274" y="53"/>
                  </a:cubicBezTo>
                  <a:cubicBezTo>
                    <a:pt x="169" y="106"/>
                    <a:pt x="63" y="226"/>
                    <a:pt x="78" y="364"/>
                  </a:cubicBezTo>
                  <a:cubicBezTo>
                    <a:pt x="78" y="371"/>
                    <a:pt x="79" y="377"/>
                    <a:pt x="80" y="383"/>
                  </a:cubicBezTo>
                  <a:cubicBezTo>
                    <a:pt x="83" y="403"/>
                    <a:pt x="85" y="418"/>
                    <a:pt x="77" y="434"/>
                  </a:cubicBezTo>
                  <a:cubicBezTo>
                    <a:pt x="64" y="460"/>
                    <a:pt x="48" y="480"/>
                    <a:pt x="30" y="494"/>
                  </a:cubicBezTo>
                  <a:cubicBezTo>
                    <a:pt x="9" y="511"/>
                    <a:pt x="0" y="537"/>
                    <a:pt x="8" y="561"/>
                  </a:cubicBezTo>
                  <a:cubicBezTo>
                    <a:pt x="13" y="579"/>
                    <a:pt x="28" y="592"/>
                    <a:pt x="46" y="594"/>
                  </a:cubicBezTo>
                  <a:cubicBezTo>
                    <a:pt x="48" y="594"/>
                    <a:pt x="49" y="595"/>
                    <a:pt x="50" y="596"/>
                  </a:cubicBezTo>
                  <a:cubicBezTo>
                    <a:pt x="52" y="598"/>
                    <a:pt x="53" y="602"/>
                    <a:pt x="53" y="604"/>
                  </a:cubicBezTo>
                  <a:cubicBezTo>
                    <a:pt x="49" y="614"/>
                    <a:pt x="33" y="657"/>
                    <a:pt x="55" y="670"/>
                  </a:cubicBezTo>
                  <a:cubicBezTo>
                    <a:pt x="56" y="671"/>
                    <a:pt x="58" y="672"/>
                    <a:pt x="59" y="672"/>
                  </a:cubicBezTo>
                  <a:cubicBezTo>
                    <a:pt x="55" y="682"/>
                    <a:pt x="53" y="693"/>
                    <a:pt x="61" y="704"/>
                  </a:cubicBezTo>
                  <a:cubicBezTo>
                    <a:pt x="62" y="705"/>
                    <a:pt x="63" y="707"/>
                    <a:pt x="64" y="708"/>
                  </a:cubicBezTo>
                  <a:cubicBezTo>
                    <a:pt x="67" y="712"/>
                    <a:pt x="76" y="724"/>
                    <a:pt x="77" y="730"/>
                  </a:cubicBezTo>
                  <a:cubicBezTo>
                    <a:pt x="72" y="751"/>
                    <a:pt x="65" y="791"/>
                    <a:pt x="87" y="817"/>
                  </a:cubicBezTo>
                  <a:cubicBezTo>
                    <a:pt x="107" y="841"/>
                    <a:pt x="138" y="854"/>
                    <a:pt x="174" y="854"/>
                  </a:cubicBezTo>
                  <a:cubicBezTo>
                    <a:pt x="174" y="854"/>
                    <a:pt x="174" y="854"/>
                    <a:pt x="174" y="854"/>
                  </a:cubicBezTo>
                  <a:cubicBezTo>
                    <a:pt x="190" y="854"/>
                    <a:pt x="206" y="855"/>
                    <a:pt x="223" y="856"/>
                  </a:cubicBezTo>
                  <a:cubicBezTo>
                    <a:pt x="239" y="857"/>
                    <a:pt x="255" y="858"/>
                    <a:pt x="271" y="858"/>
                  </a:cubicBezTo>
                  <a:cubicBezTo>
                    <a:pt x="275" y="860"/>
                    <a:pt x="287" y="865"/>
                    <a:pt x="288" y="886"/>
                  </a:cubicBezTo>
                  <a:cubicBezTo>
                    <a:pt x="289" y="893"/>
                    <a:pt x="290" y="899"/>
                    <a:pt x="290" y="904"/>
                  </a:cubicBezTo>
                  <a:cubicBezTo>
                    <a:pt x="292" y="921"/>
                    <a:pt x="293" y="927"/>
                    <a:pt x="280" y="1020"/>
                  </a:cubicBezTo>
                  <a:cubicBezTo>
                    <a:pt x="279" y="1026"/>
                    <a:pt x="281" y="1032"/>
                    <a:pt x="286" y="1037"/>
                  </a:cubicBezTo>
                  <a:cubicBezTo>
                    <a:pt x="289" y="1040"/>
                    <a:pt x="294" y="1042"/>
                    <a:pt x="299" y="1042"/>
                  </a:cubicBezTo>
                  <a:cubicBezTo>
                    <a:pt x="301" y="1042"/>
                    <a:pt x="302" y="1042"/>
                    <a:pt x="303" y="1042"/>
                  </a:cubicBezTo>
                  <a:cubicBezTo>
                    <a:pt x="311" y="1041"/>
                    <a:pt x="438" y="1015"/>
                    <a:pt x="552" y="955"/>
                  </a:cubicBezTo>
                  <a:cubicBezTo>
                    <a:pt x="598" y="979"/>
                    <a:pt x="646" y="997"/>
                    <a:pt x="686" y="1011"/>
                  </a:cubicBezTo>
                  <a:cubicBezTo>
                    <a:pt x="697" y="1014"/>
                    <a:pt x="708" y="1009"/>
                    <a:pt x="712" y="998"/>
                  </a:cubicBezTo>
                  <a:cubicBezTo>
                    <a:pt x="715" y="988"/>
                    <a:pt x="709" y="976"/>
                    <a:pt x="699" y="973"/>
                  </a:cubicBezTo>
                  <a:cubicBezTo>
                    <a:pt x="667" y="962"/>
                    <a:pt x="630" y="948"/>
                    <a:pt x="594" y="931"/>
                  </a:cubicBezTo>
                  <a:cubicBezTo>
                    <a:pt x="623" y="913"/>
                    <a:pt x="649" y="893"/>
                    <a:pt x="671" y="870"/>
                  </a:cubicBezTo>
                  <a:cubicBezTo>
                    <a:pt x="675" y="867"/>
                    <a:pt x="676" y="862"/>
                    <a:pt x="677" y="858"/>
                  </a:cubicBezTo>
                  <a:cubicBezTo>
                    <a:pt x="683" y="786"/>
                    <a:pt x="692" y="710"/>
                    <a:pt x="715" y="638"/>
                  </a:cubicBezTo>
                  <a:cubicBezTo>
                    <a:pt x="727" y="603"/>
                    <a:pt x="741" y="571"/>
                    <a:pt x="759" y="541"/>
                  </a:cubicBezTo>
                  <a:cubicBezTo>
                    <a:pt x="812" y="451"/>
                    <a:pt x="830" y="345"/>
                    <a:pt x="809" y="249"/>
                  </a:cubicBezTo>
                  <a:cubicBezTo>
                    <a:pt x="809" y="249"/>
                    <a:pt x="809" y="249"/>
                    <a:pt x="809" y="249"/>
                  </a:cubicBezTo>
                  <a:cubicBezTo>
                    <a:pt x="787" y="162"/>
                    <a:pt x="710" y="102"/>
                    <a:pt x="666" y="74"/>
                  </a:cubicBezTo>
                  <a:cubicBezTo>
                    <a:pt x="653" y="66"/>
                    <a:pt x="640" y="59"/>
                    <a:pt x="627" y="52"/>
                  </a:cubicBezTo>
                  <a:cubicBezTo>
                    <a:pt x="690" y="48"/>
                    <a:pt x="754" y="60"/>
                    <a:pt x="812" y="89"/>
                  </a:cubicBezTo>
                  <a:cubicBezTo>
                    <a:pt x="908" y="138"/>
                    <a:pt x="999" y="246"/>
                    <a:pt x="987" y="360"/>
                  </a:cubicBezTo>
                  <a:cubicBezTo>
                    <a:pt x="986" y="366"/>
                    <a:pt x="985" y="371"/>
                    <a:pt x="984" y="377"/>
                  </a:cubicBezTo>
                  <a:cubicBezTo>
                    <a:pt x="981" y="401"/>
                    <a:pt x="977" y="425"/>
                    <a:pt x="992" y="453"/>
                  </a:cubicBezTo>
                  <a:cubicBezTo>
                    <a:pt x="1007" y="483"/>
                    <a:pt x="1027" y="508"/>
                    <a:pt x="1049" y="525"/>
                  </a:cubicBezTo>
                  <a:cubicBezTo>
                    <a:pt x="1059" y="533"/>
                    <a:pt x="1060" y="543"/>
                    <a:pt x="1058" y="549"/>
                  </a:cubicBezTo>
                  <a:cubicBezTo>
                    <a:pt x="1057" y="552"/>
                    <a:pt x="1055" y="554"/>
                    <a:pt x="1055" y="554"/>
                  </a:cubicBezTo>
                  <a:cubicBezTo>
                    <a:pt x="1039" y="555"/>
                    <a:pt x="1026" y="564"/>
                    <a:pt x="1018" y="578"/>
                  </a:cubicBezTo>
                  <a:cubicBezTo>
                    <a:pt x="1010" y="591"/>
                    <a:pt x="1009" y="608"/>
                    <a:pt x="1014" y="619"/>
                  </a:cubicBezTo>
                  <a:cubicBezTo>
                    <a:pt x="1016" y="623"/>
                    <a:pt x="1019" y="633"/>
                    <a:pt x="1020" y="640"/>
                  </a:cubicBezTo>
                  <a:cubicBezTo>
                    <a:pt x="1019" y="641"/>
                    <a:pt x="1019" y="641"/>
                    <a:pt x="1018" y="641"/>
                  </a:cubicBezTo>
                  <a:cubicBezTo>
                    <a:pt x="1014" y="643"/>
                    <a:pt x="1010" y="646"/>
                    <a:pt x="1006" y="648"/>
                  </a:cubicBezTo>
                  <a:cubicBezTo>
                    <a:pt x="1001" y="651"/>
                    <a:pt x="998" y="655"/>
                    <a:pt x="997" y="661"/>
                  </a:cubicBezTo>
                  <a:cubicBezTo>
                    <a:pt x="996" y="666"/>
                    <a:pt x="997" y="672"/>
                    <a:pt x="999" y="676"/>
                  </a:cubicBezTo>
                  <a:cubicBezTo>
                    <a:pt x="1000" y="677"/>
                    <a:pt x="1002" y="679"/>
                    <a:pt x="1003" y="681"/>
                  </a:cubicBezTo>
                  <a:cubicBezTo>
                    <a:pt x="1004" y="682"/>
                    <a:pt x="1005" y="684"/>
                    <a:pt x="1007" y="686"/>
                  </a:cubicBezTo>
                  <a:cubicBezTo>
                    <a:pt x="995" y="702"/>
                    <a:pt x="984" y="720"/>
                    <a:pt x="988" y="737"/>
                  </a:cubicBezTo>
                  <a:cubicBezTo>
                    <a:pt x="991" y="751"/>
                    <a:pt x="997" y="779"/>
                    <a:pt x="987" y="791"/>
                  </a:cubicBezTo>
                  <a:cubicBezTo>
                    <a:pt x="971" y="810"/>
                    <a:pt x="947" y="814"/>
                    <a:pt x="930" y="814"/>
                  </a:cubicBezTo>
                  <a:cubicBezTo>
                    <a:pt x="930" y="814"/>
                    <a:pt x="930" y="814"/>
                    <a:pt x="930" y="814"/>
                  </a:cubicBezTo>
                  <a:cubicBezTo>
                    <a:pt x="913" y="814"/>
                    <a:pt x="895" y="815"/>
                    <a:pt x="879" y="816"/>
                  </a:cubicBezTo>
                  <a:cubicBezTo>
                    <a:pt x="863" y="817"/>
                    <a:pt x="846" y="818"/>
                    <a:pt x="830" y="818"/>
                  </a:cubicBezTo>
                  <a:cubicBezTo>
                    <a:pt x="817" y="818"/>
                    <a:pt x="779" y="834"/>
                    <a:pt x="776" y="883"/>
                  </a:cubicBezTo>
                  <a:cubicBezTo>
                    <a:pt x="775" y="890"/>
                    <a:pt x="775" y="895"/>
                    <a:pt x="774" y="899"/>
                  </a:cubicBezTo>
                  <a:cubicBezTo>
                    <a:pt x="772" y="922"/>
                    <a:pt x="772" y="932"/>
                    <a:pt x="785" y="1025"/>
                  </a:cubicBezTo>
                  <a:cubicBezTo>
                    <a:pt x="786" y="1035"/>
                    <a:pt x="795" y="1042"/>
                    <a:pt x="805" y="1042"/>
                  </a:cubicBezTo>
                  <a:cubicBezTo>
                    <a:pt x="805" y="1042"/>
                    <a:pt x="806" y="1042"/>
                    <a:pt x="807" y="1042"/>
                  </a:cubicBezTo>
                  <a:cubicBezTo>
                    <a:pt x="818" y="1041"/>
                    <a:pt x="826" y="1030"/>
                    <a:pt x="824" y="1020"/>
                  </a:cubicBezTo>
                  <a:cubicBezTo>
                    <a:pt x="811" y="927"/>
                    <a:pt x="812" y="921"/>
                    <a:pt x="814" y="904"/>
                  </a:cubicBezTo>
                  <a:cubicBezTo>
                    <a:pt x="814" y="899"/>
                    <a:pt x="815" y="893"/>
                    <a:pt x="816" y="886"/>
                  </a:cubicBezTo>
                  <a:cubicBezTo>
                    <a:pt x="817" y="865"/>
                    <a:pt x="829" y="860"/>
                    <a:pt x="833" y="858"/>
                  </a:cubicBezTo>
                  <a:cubicBezTo>
                    <a:pt x="849" y="858"/>
                    <a:pt x="865" y="857"/>
                    <a:pt x="881" y="856"/>
                  </a:cubicBezTo>
                  <a:cubicBezTo>
                    <a:pt x="898" y="855"/>
                    <a:pt x="913" y="854"/>
                    <a:pt x="929" y="854"/>
                  </a:cubicBezTo>
                  <a:cubicBezTo>
                    <a:pt x="930" y="854"/>
                    <a:pt x="930" y="854"/>
                    <a:pt x="930" y="854"/>
                  </a:cubicBezTo>
                  <a:cubicBezTo>
                    <a:pt x="966" y="854"/>
                    <a:pt x="997" y="841"/>
                    <a:pt x="1017" y="817"/>
                  </a:cubicBezTo>
                  <a:cubicBezTo>
                    <a:pt x="1039" y="791"/>
                    <a:pt x="1032" y="751"/>
                    <a:pt x="1027" y="730"/>
                  </a:cubicBezTo>
                  <a:cubicBezTo>
                    <a:pt x="1028" y="724"/>
                    <a:pt x="1037" y="712"/>
                    <a:pt x="1040" y="708"/>
                  </a:cubicBezTo>
                  <a:cubicBezTo>
                    <a:pt x="1041" y="707"/>
                    <a:pt x="1042" y="705"/>
                    <a:pt x="1043" y="704"/>
                  </a:cubicBezTo>
                  <a:cubicBezTo>
                    <a:pt x="1051" y="693"/>
                    <a:pt x="1049" y="682"/>
                    <a:pt x="1045" y="672"/>
                  </a:cubicBezTo>
                  <a:cubicBezTo>
                    <a:pt x="1046" y="672"/>
                    <a:pt x="1048" y="671"/>
                    <a:pt x="1049" y="670"/>
                  </a:cubicBezTo>
                  <a:cubicBezTo>
                    <a:pt x="1071" y="657"/>
                    <a:pt x="1055" y="614"/>
                    <a:pt x="1051" y="604"/>
                  </a:cubicBezTo>
                  <a:cubicBezTo>
                    <a:pt x="1051" y="602"/>
                    <a:pt x="1052" y="598"/>
                    <a:pt x="1054" y="596"/>
                  </a:cubicBezTo>
                  <a:cubicBezTo>
                    <a:pt x="1055" y="595"/>
                    <a:pt x="1056" y="594"/>
                    <a:pt x="1058" y="594"/>
                  </a:cubicBezTo>
                  <a:cubicBezTo>
                    <a:pt x="1076" y="592"/>
                    <a:pt x="1091" y="579"/>
                    <a:pt x="1096" y="561"/>
                  </a:cubicBezTo>
                  <a:cubicBezTo>
                    <a:pt x="1104" y="537"/>
                    <a:pt x="1095" y="511"/>
                    <a:pt x="1074" y="494"/>
                  </a:cubicBezTo>
                  <a:close/>
                  <a:moveTo>
                    <a:pt x="323" y="996"/>
                  </a:moveTo>
                  <a:cubicBezTo>
                    <a:pt x="332" y="929"/>
                    <a:pt x="332" y="919"/>
                    <a:pt x="330" y="899"/>
                  </a:cubicBezTo>
                  <a:cubicBezTo>
                    <a:pt x="329" y="895"/>
                    <a:pt x="329" y="890"/>
                    <a:pt x="328" y="883"/>
                  </a:cubicBezTo>
                  <a:cubicBezTo>
                    <a:pt x="325" y="834"/>
                    <a:pt x="287" y="818"/>
                    <a:pt x="274" y="818"/>
                  </a:cubicBezTo>
                  <a:cubicBezTo>
                    <a:pt x="258" y="818"/>
                    <a:pt x="241" y="817"/>
                    <a:pt x="225" y="816"/>
                  </a:cubicBezTo>
                  <a:cubicBezTo>
                    <a:pt x="209" y="815"/>
                    <a:pt x="192" y="814"/>
                    <a:pt x="175" y="814"/>
                  </a:cubicBezTo>
                  <a:cubicBezTo>
                    <a:pt x="174" y="814"/>
                    <a:pt x="174" y="814"/>
                    <a:pt x="174" y="814"/>
                  </a:cubicBezTo>
                  <a:cubicBezTo>
                    <a:pt x="157" y="814"/>
                    <a:pt x="133" y="810"/>
                    <a:pt x="117" y="791"/>
                  </a:cubicBezTo>
                  <a:cubicBezTo>
                    <a:pt x="107" y="779"/>
                    <a:pt x="113" y="751"/>
                    <a:pt x="116" y="737"/>
                  </a:cubicBezTo>
                  <a:cubicBezTo>
                    <a:pt x="120" y="720"/>
                    <a:pt x="109" y="702"/>
                    <a:pt x="97" y="686"/>
                  </a:cubicBezTo>
                  <a:cubicBezTo>
                    <a:pt x="99" y="684"/>
                    <a:pt x="100" y="682"/>
                    <a:pt x="101" y="681"/>
                  </a:cubicBezTo>
                  <a:cubicBezTo>
                    <a:pt x="102" y="679"/>
                    <a:pt x="104" y="677"/>
                    <a:pt x="105" y="676"/>
                  </a:cubicBezTo>
                  <a:cubicBezTo>
                    <a:pt x="107" y="672"/>
                    <a:pt x="108" y="666"/>
                    <a:pt x="107" y="661"/>
                  </a:cubicBezTo>
                  <a:cubicBezTo>
                    <a:pt x="106" y="655"/>
                    <a:pt x="103" y="651"/>
                    <a:pt x="98" y="648"/>
                  </a:cubicBezTo>
                  <a:cubicBezTo>
                    <a:pt x="94" y="646"/>
                    <a:pt x="90" y="643"/>
                    <a:pt x="86" y="641"/>
                  </a:cubicBezTo>
                  <a:cubicBezTo>
                    <a:pt x="85" y="641"/>
                    <a:pt x="85" y="641"/>
                    <a:pt x="84" y="640"/>
                  </a:cubicBezTo>
                  <a:cubicBezTo>
                    <a:pt x="85" y="633"/>
                    <a:pt x="88" y="623"/>
                    <a:pt x="90" y="619"/>
                  </a:cubicBezTo>
                  <a:cubicBezTo>
                    <a:pt x="95" y="608"/>
                    <a:pt x="94" y="591"/>
                    <a:pt x="86" y="578"/>
                  </a:cubicBezTo>
                  <a:cubicBezTo>
                    <a:pt x="78" y="564"/>
                    <a:pt x="65" y="555"/>
                    <a:pt x="49" y="554"/>
                  </a:cubicBezTo>
                  <a:cubicBezTo>
                    <a:pt x="49" y="554"/>
                    <a:pt x="47" y="552"/>
                    <a:pt x="46" y="549"/>
                  </a:cubicBezTo>
                  <a:cubicBezTo>
                    <a:pt x="44" y="543"/>
                    <a:pt x="45" y="533"/>
                    <a:pt x="55" y="525"/>
                  </a:cubicBezTo>
                  <a:cubicBezTo>
                    <a:pt x="77" y="508"/>
                    <a:pt x="97" y="483"/>
                    <a:pt x="112" y="453"/>
                  </a:cubicBezTo>
                  <a:cubicBezTo>
                    <a:pt x="127" y="425"/>
                    <a:pt x="123" y="401"/>
                    <a:pt x="120" y="377"/>
                  </a:cubicBezTo>
                  <a:cubicBezTo>
                    <a:pt x="119" y="371"/>
                    <a:pt x="118" y="366"/>
                    <a:pt x="117" y="360"/>
                  </a:cubicBezTo>
                  <a:cubicBezTo>
                    <a:pt x="105" y="246"/>
                    <a:pt x="196" y="138"/>
                    <a:pt x="292" y="89"/>
                  </a:cubicBezTo>
                  <a:cubicBezTo>
                    <a:pt x="349" y="60"/>
                    <a:pt x="414" y="48"/>
                    <a:pt x="477" y="52"/>
                  </a:cubicBezTo>
                  <a:cubicBezTo>
                    <a:pt x="464" y="59"/>
                    <a:pt x="451" y="66"/>
                    <a:pt x="438" y="74"/>
                  </a:cubicBezTo>
                  <a:cubicBezTo>
                    <a:pt x="394" y="102"/>
                    <a:pt x="317" y="162"/>
                    <a:pt x="295" y="249"/>
                  </a:cubicBezTo>
                  <a:cubicBezTo>
                    <a:pt x="295" y="249"/>
                    <a:pt x="295" y="249"/>
                    <a:pt x="295" y="249"/>
                  </a:cubicBezTo>
                  <a:cubicBezTo>
                    <a:pt x="274" y="345"/>
                    <a:pt x="292" y="451"/>
                    <a:pt x="345" y="541"/>
                  </a:cubicBezTo>
                  <a:cubicBezTo>
                    <a:pt x="363" y="571"/>
                    <a:pt x="377" y="603"/>
                    <a:pt x="389" y="638"/>
                  </a:cubicBezTo>
                  <a:cubicBezTo>
                    <a:pt x="412" y="710"/>
                    <a:pt x="421" y="786"/>
                    <a:pt x="427" y="858"/>
                  </a:cubicBezTo>
                  <a:cubicBezTo>
                    <a:pt x="428" y="862"/>
                    <a:pt x="429" y="867"/>
                    <a:pt x="433" y="870"/>
                  </a:cubicBezTo>
                  <a:cubicBezTo>
                    <a:pt x="455" y="893"/>
                    <a:pt x="482" y="913"/>
                    <a:pt x="510" y="931"/>
                  </a:cubicBezTo>
                  <a:cubicBezTo>
                    <a:pt x="438" y="965"/>
                    <a:pt x="362" y="987"/>
                    <a:pt x="323" y="996"/>
                  </a:cubicBezTo>
                  <a:close/>
                  <a:moveTo>
                    <a:pt x="601" y="506"/>
                  </a:moveTo>
                  <a:cubicBezTo>
                    <a:pt x="601" y="486"/>
                    <a:pt x="601" y="486"/>
                    <a:pt x="601" y="486"/>
                  </a:cubicBezTo>
                  <a:cubicBezTo>
                    <a:pt x="601" y="483"/>
                    <a:pt x="604" y="480"/>
                    <a:pt x="608" y="480"/>
                  </a:cubicBezTo>
                  <a:cubicBezTo>
                    <a:pt x="629" y="480"/>
                    <a:pt x="629" y="480"/>
                    <a:pt x="629" y="480"/>
                  </a:cubicBezTo>
                  <a:cubicBezTo>
                    <a:pt x="634" y="480"/>
                    <a:pt x="639" y="484"/>
                    <a:pt x="639" y="489"/>
                  </a:cubicBezTo>
                  <a:cubicBezTo>
                    <a:pt x="639" y="499"/>
                    <a:pt x="639" y="499"/>
                    <a:pt x="639" y="499"/>
                  </a:cubicBezTo>
                  <a:cubicBezTo>
                    <a:pt x="639" y="503"/>
                    <a:pt x="635" y="506"/>
                    <a:pt x="632" y="506"/>
                  </a:cubicBezTo>
                  <a:lnTo>
                    <a:pt x="601" y="506"/>
                  </a:lnTo>
                  <a:close/>
                  <a:moveTo>
                    <a:pt x="540" y="547"/>
                  </a:moveTo>
                  <a:cubicBezTo>
                    <a:pt x="562" y="547"/>
                    <a:pt x="562" y="547"/>
                    <a:pt x="562" y="547"/>
                  </a:cubicBezTo>
                  <a:cubicBezTo>
                    <a:pt x="562" y="664"/>
                    <a:pt x="562" y="664"/>
                    <a:pt x="562" y="664"/>
                  </a:cubicBezTo>
                  <a:cubicBezTo>
                    <a:pt x="540" y="664"/>
                    <a:pt x="540" y="664"/>
                    <a:pt x="540" y="664"/>
                  </a:cubicBezTo>
                  <a:lnTo>
                    <a:pt x="540" y="547"/>
                  </a:lnTo>
                  <a:close/>
                  <a:moveTo>
                    <a:pt x="500" y="506"/>
                  </a:moveTo>
                  <a:cubicBezTo>
                    <a:pt x="465" y="506"/>
                    <a:pt x="465" y="506"/>
                    <a:pt x="465" y="506"/>
                  </a:cubicBezTo>
                  <a:cubicBezTo>
                    <a:pt x="464" y="506"/>
                    <a:pt x="462" y="505"/>
                    <a:pt x="462" y="503"/>
                  </a:cubicBezTo>
                  <a:cubicBezTo>
                    <a:pt x="462" y="486"/>
                    <a:pt x="462" y="486"/>
                    <a:pt x="462" y="486"/>
                  </a:cubicBezTo>
                  <a:cubicBezTo>
                    <a:pt x="462" y="482"/>
                    <a:pt x="465" y="480"/>
                    <a:pt x="468" y="480"/>
                  </a:cubicBezTo>
                  <a:cubicBezTo>
                    <a:pt x="497" y="480"/>
                    <a:pt x="497" y="480"/>
                    <a:pt x="497" y="480"/>
                  </a:cubicBezTo>
                  <a:cubicBezTo>
                    <a:pt x="498" y="480"/>
                    <a:pt x="500" y="481"/>
                    <a:pt x="500" y="483"/>
                  </a:cubicBezTo>
                  <a:lnTo>
                    <a:pt x="500" y="506"/>
                  </a:lnTo>
                  <a:close/>
                  <a:moveTo>
                    <a:pt x="656" y="708"/>
                  </a:moveTo>
                  <a:cubicBezTo>
                    <a:pt x="653" y="723"/>
                    <a:pt x="651" y="738"/>
                    <a:pt x="648" y="753"/>
                  </a:cubicBezTo>
                  <a:cubicBezTo>
                    <a:pt x="456" y="753"/>
                    <a:pt x="456" y="753"/>
                    <a:pt x="456" y="753"/>
                  </a:cubicBezTo>
                  <a:cubicBezTo>
                    <a:pt x="453" y="738"/>
                    <a:pt x="451" y="723"/>
                    <a:pt x="448" y="708"/>
                  </a:cubicBezTo>
                  <a:lnTo>
                    <a:pt x="656" y="708"/>
                  </a:lnTo>
                  <a:close/>
                  <a:moveTo>
                    <a:pt x="465" y="833"/>
                  </a:moveTo>
                  <a:cubicBezTo>
                    <a:pt x="464" y="820"/>
                    <a:pt x="462" y="806"/>
                    <a:pt x="461" y="793"/>
                  </a:cubicBezTo>
                  <a:cubicBezTo>
                    <a:pt x="643" y="793"/>
                    <a:pt x="643" y="793"/>
                    <a:pt x="643" y="793"/>
                  </a:cubicBezTo>
                  <a:cubicBezTo>
                    <a:pt x="642" y="806"/>
                    <a:pt x="640" y="820"/>
                    <a:pt x="639" y="834"/>
                  </a:cubicBezTo>
                  <a:lnTo>
                    <a:pt x="465" y="833"/>
                  </a:lnTo>
                  <a:close/>
                  <a:moveTo>
                    <a:pt x="497" y="873"/>
                  </a:moveTo>
                  <a:cubicBezTo>
                    <a:pt x="607" y="874"/>
                    <a:pt x="607" y="874"/>
                    <a:pt x="607" y="874"/>
                  </a:cubicBezTo>
                  <a:cubicBezTo>
                    <a:pt x="590" y="887"/>
                    <a:pt x="571" y="899"/>
                    <a:pt x="552" y="909"/>
                  </a:cubicBezTo>
                  <a:cubicBezTo>
                    <a:pt x="533" y="898"/>
                    <a:pt x="514" y="886"/>
                    <a:pt x="497" y="873"/>
                  </a:cubicBezTo>
                  <a:close/>
                  <a:moveTo>
                    <a:pt x="644" y="108"/>
                  </a:moveTo>
                  <a:cubicBezTo>
                    <a:pt x="710" y="150"/>
                    <a:pt x="756" y="205"/>
                    <a:pt x="770" y="258"/>
                  </a:cubicBezTo>
                  <a:cubicBezTo>
                    <a:pt x="789" y="344"/>
                    <a:pt x="772" y="439"/>
                    <a:pt x="725" y="521"/>
                  </a:cubicBezTo>
                  <a:cubicBezTo>
                    <a:pt x="705" y="554"/>
                    <a:pt x="690" y="588"/>
                    <a:pt x="677" y="626"/>
                  </a:cubicBezTo>
                  <a:cubicBezTo>
                    <a:pt x="673" y="640"/>
                    <a:pt x="669" y="654"/>
                    <a:pt x="665" y="668"/>
                  </a:cubicBezTo>
                  <a:cubicBezTo>
                    <a:pt x="602" y="668"/>
                    <a:pt x="602" y="668"/>
                    <a:pt x="602" y="668"/>
                  </a:cubicBezTo>
                  <a:cubicBezTo>
                    <a:pt x="602" y="546"/>
                    <a:pt x="602" y="546"/>
                    <a:pt x="602" y="546"/>
                  </a:cubicBezTo>
                  <a:cubicBezTo>
                    <a:pt x="632" y="546"/>
                    <a:pt x="632" y="546"/>
                    <a:pt x="632" y="546"/>
                  </a:cubicBezTo>
                  <a:cubicBezTo>
                    <a:pt x="658" y="546"/>
                    <a:pt x="679" y="525"/>
                    <a:pt x="679" y="499"/>
                  </a:cubicBezTo>
                  <a:cubicBezTo>
                    <a:pt x="679" y="489"/>
                    <a:pt x="679" y="489"/>
                    <a:pt x="679" y="489"/>
                  </a:cubicBezTo>
                  <a:cubicBezTo>
                    <a:pt x="679" y="462"/>
                    <a:pt x="656" y="440"/>
                    <a:pt x="629" y="440"/>
                  </a:cubicBezTo>
                  <a:cubicBezTo>
                    <a:pt x="608" y="440"/>
                    <a:pt x="608" y="440"/>
                    <a:pt x="608" y="440"/>
                  </a:cubicBezTo>
                  <a:cubicBezTo>
                    <a:pt x="582" y="440"/>
                    <a:pt x="561" y="461"/>
                    <a:pt x="561" y="486"/>
                  </a:cubicBezTo>
                  <a:cubicBezTo>
                    <a:pt x="561" y="506"/>
                    <a:pt x="561" y="506"/>
                    <a:pt x="561" y="506"/>
                  </a:cubicBezTo>
                  <a:cubicBezTo>
                    <a:pt x="561" y="506"/>
                    <a:pt x="561" y="507"/>
                    <a:pt x="561" y="507"/>
                  </a:cubicBezTo>
                  <a:cubicBezTo>
                    <a:pt x="540" y="507"/>
                    <a:pt x="540" y="507"/>
                    <a:pt x="540" y="507"/>
                  </a:cubicBezTo>
                  <a:cubicBezTo>
                    <a:pt x="540" y="483"/>
                    <a:pt x="540" y="483"/>
                    <a:pt x="540" y="483"/>
                  </a:cubicBezTo>
                  <a:cubicBezTo>
                    <a:pt x="540" y="459"/>
                    <a:pt x="520" y="440"/>
                    <a:pt x="497" y="440"/>
                  </a:cubicBezTo>
                  <a:cubicBezTo>
                    <a:pt x="468" y="440"/>
                    <a:pt x="468" y="440"/>
                    <a:pt x="468" y="440"/>
                  </a:cubicBezTo>
                  <a:cubicBezTo>
                    <a:pt x="443" y="440"/>
                    <a:pt x="422" y="460"/>
                    <a:pt x="422" y="486"/>
                  </a:cubicBezTo>
                  <a:cubicBezTo>
                    <a:pt x="422" y="503"/>
                    <a:pt x="422" y="503"/>
                    <a:pt x="422" y="503"/>
                  </a:cubicBezTo>
                  <a:cubicBezTo>
                    <a:pt x="422" y="527"/>
                    <a:pt x="442" y="546"/>
                    <a:pt x="465" y="546"/>
                  </a:cubicBezTo>
                  <a:cubicBezTo>
                    <a:pt x="500" y="546"/>
                    <a:pt x="500" y="546"/>
                    <a:pt x="500" y="546"/>
                  </a:cubicBezTo>
                  <a:cubicBezTo>
                    <a:pt x="500" y="668"/>
                    <a:pt x="500" y="668"/>
                    <a:pt x="500" y="668"/>
                  </a:cubicBezTo>
                  <a:cubicBezTo>
                    <a:pt x="439" y="668"/>
                    <a:pt x="439" y="668"/>
                    <a:pt x="439" y="668"/>
                  </a:cubicBezTo>
                  <a:cubicBezTo>
                    <a:pt x="435" y="654"/>
                    <a:pt x="431" y="640"/>
                    <a:pt x="427" y="626"/>
                  </a:cubicBezTo>
                  <a:cubicBezTo>
                    <a:pt x="414" y="588"/>
                    <a:pt x="399" y="554"/>
                    <a:pt x="379" y="521"/>
                  </a:cubicBezTo>
                  <a:cubicBezTo>
                    <a:pt x="332" y="439"/>
                    <a:pt x="315" y="344"/>
                    <a:pt x="334" y="258"/>
                  </a:cubicBezTo>
                  <a:cubicBezTo>
                    <a:pt x="348" y="205"/>
                    <a:pt x="394" y="150"/>
                    <a:pt x="460" y="108"/>
                  </a:cubicBezTo>
                  <a:cubicBezTo>
                    <a:pt x="489" y="89"/>
                    <a:pt x="520" y="76"/>
                    <a:pt x="552" y="66"/>
                  </a:cubicBezTo>
                  <a:cubicBezTo>
                    <a:pt x="584" y="76"/>
                    <a:pt x="615" y="89"/>
                    <a:pt x="644" y="10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chemeClr val="accent1"/>
                </a:solidFill>
                <a:effectLst/>
                <a:uLnTx/>
                <a:uFillTx/>
                <a:latin typeface="Montserrat" panose="00000500000000000000"/>
              </a:endParaRPr>
            </a:p>
          </p:txBody>
        </p:sp>
        <p:sp>
          <p:nvSpPr>
            <p:cNvPr id="64" name="Freeform 6">
              <a:extLst>
                <a:ext uri="{FF2B5EF4-FFF2-40B4-BE49-F238E27FC236}">
                  <a16:creationId xmlns:a16="http://schemas.microsoft.com/office/drawing/2014/main" id="{351D676A-4F3D-4F4C-8A6C-CC29B770CDB3}"/>
                </a:ext>
              </a:extLst>
            </p:cNvPr>
            <p:cNvSpPr>
              <a:spLocks/>
            </p:cNvSpPr>
            <p:nvPr/>
          </p:nvSpPr>
          <p:spPr bwMode="auto">
            <a:xfrm>
              <a:off x="9386593" y="1910442"/>
              <a:ext cx="121846" cy="62277"/>
            </a:xfrm>
            <a:custGeom>
              <a:avLst/>
              <a:gdLst>
                <a:gd name="T0" fmla="*/ 51 w 284"/>
                <a:gd name="T1" fmla="*/ 56 h 159"/>
                <a:gd name="T2" fmla="*/ 84 w 284"/>
                <a:gd name="T3" fmla="*/ 123 h 159"/>
                <a:gd name="T4" fmla="*/ 83 w 284"/>
                <a:gd name="T5" fmla="*/ 123 h 159"/>
                <a:gd name="T6" fmla="*/ 34 w 284"/>
                <a:gd name="T7" fmla="*/ 87 h 159"/>
                <a:gd name="T8" fmla="*/ 6 w 284"/>
                <a:gd name="T9" fmla="*/ 91 h 159"/>
                <a:gd name="T10" fmla="*/ 11 w 284"/>
                <a:gd name="T11" fmla="*/ 119 h 159"/>
                <a:gd name="T12" fmla="*/ 59 w 284"/>
                <a:gd name="T13" fmla="*/ 155 h 159"/>
                <a:gd name="T14" fmla="*/ 71 w 284"/>
                <a:gd name="T15" fmla="*/ 159 h 159"/>
                <a:gd name="T16" fmla="*/ 87 w 284"/>
                <a:gd name="T17" fmla="*/ 151 h 159"/>
                <a:gd name="T18" fmla="*/ 90 w 284"/>
                <a:gd name="T19" fmla="*/ 132 h 159"/>
                <a:gd name="T20" fmla="*/ 102 w 284"/>
                <a:gd name="T21" fmla="*/ 136 h 159"/>
                <a:gd name="T22" fmla="*/ 111 w 284"/>
                <a:gd name="T23" fmla="*/ 134 h 159"/>
                <a:gd name="T24" fmla="*/ 121 w 284"/>
                <a:gd name="T25" fmla="*/ 122 h 159"/>
                <a:gd name="T26" fmla="*/ 139 w 284"/>
                <a:gd name="T27" fmla="*/ 133 h 159"/>
                <a:gd name="T28" fmla="*/ 159 w 284"/>
                <a:gd name="T29" fmla="*/ 116 h 159"/>
                <a:gd name="T30" fmla="*/ 170 w 284"/>
                <a:gd name="T31" fmla="*/ 134 h 159"/>
                <a:gd name="T32" fmla="*/ 179 w 284"/>
                <a:gd name="T33" fmla="*/ 136 h 159"/>
                <a:gd name="T34" fmla="*/ 195 w 284"/>
                <a:gd name="T35" fmla="*/ 128 h 159"/>
                <a:gd name="T36" fmla="*/ 197 w 284"/>
                <a:gd name="T37" fmla="*/ 148 h 159"/>
                <a:gd name="T38" fmla="*/ 213 w 284"/>
                <a:gd name="T39" fmla="*/ 156 h 159"/>
                <a:gd name="T40" fmla="*/ 225 w 284"/>
                <a:gd name="T41" fmla="*/ 153 h 159"/>
                <a:gd name="T42" fmla="*/ 273 w 284"/>
                <a:gd name="T43" fmla="*/ 117 h 159"/>
                <a:gd name="T44" fmla="*/ 278 w 284"/>
                <a:gd name="T45" fmla="*/ 89 h 159"/>
                <a:gd name="T46" fmla="*/ 250 w 284"/>
                <a:gd name="T47" fmla="*/ 85 h 159"/>
                <a:gd name="T48" fmla="*/ 201 w 284"/>
                <a:gd name="T49" fmla="*/ 120 h 159"/>
                <a:gd name="T50" fmla="*/ 197 w 284"/>
                <a:gd name="T51" fmla="*/ 124 h 159"/>
                <a:gd name="T52" fmla="*/ 231 w 284"/>
                <a:gd name="T53" fmla="*/ 56 h 159"/>
                <a:gd name="T54" fmla="*/ 222 w 284"/>
                <a:gd name="T55" fmla="*/ 29 h 159"/>
                <a:gd name="T56" fmla="*/ 195 w 284"/>
                <a:gd name="T57" fmla="*/ 38 h 159"/>
                <a:gd name="T58" fmla="*/ 161 w 284"/>
                <a:gd name="T59" fmla="*/ 107 h 159"/>
                <a:gd name="T60" fmla="*/ 159 w 284"/>
                <a:gd name="T61" fmla="*/ 113 h 159"/>
                <a:gd name="T62" fmla="*/ 159 w 284"/>
                <a:gd name="T63" fmla="*/ 20 h 159"/>
                <a:gd name="T64" fmla="*/ 139 w 284"/>
                <a:gd name="T65" fmla="*/ 0 h 159"/>
                <a:gd name="T66" fmla="*/ 119 w 284"/>
                <a:gd name="T67" fmla="*/ 20 h 159"/>
                <a:gd name="T68" fmla="*/ 119 w 284"/>
                <a:gd name="T69" fmla="*/ 105 h 159"/>
                <a:gd name="T70" fmla="*/ 87 w 284"/>
                <a:gd name="T71" fmla="*/ 38 h 159"/>
                <a:gd name="T72" fmla="*/ 60 w 284"/>
                <a:gd name="T73" fmla="*/ 29 h 159"/>
                <a:gd name="T74" fmla="*/ 51 w 284"/>
                <a:gd name="T75" fmla="*/ 56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4" h="159">
                  <a:moveTo>
                    <a:pt x="51" y="56"/>
                  </a:moveTo>
                  <a:cubicBezTo>
                    <a:pt x="84" y="123"/>
                    <a:pt x="84" y="123"/>
                    <a:pt x="84" y="123"/>
                  </a:cubicBezTo>
                  <a:cubicBezTo>
                    <a:pt x="83" y="123"/>
                    <a:pt x="83" y="123"/>
                    <a:pt x="83" y="123"/>
                  </a:cubicBezTo>
                  <a:cubicBezTo>
                    <a:pt x="34" y="87"/>
                    <a:pt x="34" y="87"/>
                    <a:pt x="34" y="87"/>
                  </a:cubicBezTo>
                  <a:cubicBezTo>
                    <a:pt x="25" y="81"/>
                    <a:pt x="13" y="82"/>
                    <a:pt x="6" y="91"/>
                  </a:cubicBezTo>
                  <a:cubicBezTo>
                    <a:pt x="0" y="100"/>
                    <a:pt x="2" y="113"/>
                    <a:pt x="11" y="119"/>
                  </a:cubicBezTo>
                  <a:cubicBezTo>
                    <a:pt x="59" y="155"/>
                    <a:pt x="59" y="155"/>
                    <a:pt x="59" y="155"/>
                  </a:cubicBezTo>
                  <a:cubicBezTo>
                    <a:pt x="63" y="158"/>
                    <a:pt x="67" y="159"/>
                    <a:pt x="71" y="159"/>
                  </a:cubicBezTo>
                  <a:cubicBezTo>
                    <a:pt x="77" y="159"/>
                    <a:pt x="83" y="156"/>
                    <a:pt x="87" y="151"/>
                  </a:cubicBezTo>
                  <a:cubicBezTo>
                    <a:pt x="91" y="145"/>
                    <a:pt x="92" y="138"/>
                    <a:pt x="90" y="132"/>
                  </a:cubicBezTo>
                  <a:cubicBezTo>
                    <a:pt x="93" y="134"/>
                    <a:pt x="98" y="136"/>
                    <a:pt x="102" y="136"/>
                  </a:cubicBezTo>
                  <a:cubicBezTo>
                    <a:pt x="105" y="136"/>
                    <a:pt x="108" y="135"/>
                    <a:pt x="111" y="134"/>
                  </a:cubicBezTo>
                  <a:cubicBezTo>
                    <a:pt x="116" y="132"/>
                    <a:pt x="120" y="127"/>
                    <a:pt x="121" y="122"/>
                  </a:cubicBezTo>
                  <a:cubicBezTo>
                    <a:pt x="124" y="129"/>
                    <a:pt x="131" y="133"/>
                    <a:pt x="139" y="133"/>
                  </a:cubicBezTo>
                  <a:cubicBezTo>
                    <a:pt x="150" y="133"/>
                    <a:pt x="158" y="126"/>
                    <a:pt x="159" y="116"/>
                  </a:cubicBezTo>
                  <a:cubicBezTo>
                    <a:pt x="159" y="123"/>
                    <a:pt x="163" y="130"/>
                    <a:pt x="170" y="134"/>
                  </a:cubicBezTo>
                  <a:cubicBezTo>
                    <a:pt x="173" y="135"/>
                    <a:pt x="176" y="136"/>
                    <a:pt x="179" y="136"/>
                  </a:cubicBezTo>
                  <a:cubicBezTo>
                    <a:pt x="185" y="136"/>
                    <a:pt x="191" y="133"/>
                    <a:pt x="195" y="128"/>
                  </a:cubicBezTo>
                  <a:cubicBezTo>
                    <a:pt x="192" y="134"/>
                    <a:pt x="192" y="142"/>
                    <a:pt x="197" y="148"/>
                  </a:cubicBezTo>
                  <a:cubicBezTo>
                    <a:pt x="201" y="154"/>
                    <a:pt x="207" y="156"/>
                    <a:pt x="213" y="156"/>
                  </a:cubicBezTo>
                  <a:cubicBezTo>
                    <a:pt x="217" y="156"/>
                    <a:pt x="221" y="155"/>
                    <a:pt x="225" y="153"/>
                  </a:cubicBezTo>
                  <a:cubicBezTo>
                    <a:pt x="273" y="117"/>
                    <a:pt x="273" y="117"/>
                    <a:pt x="273" y="117"/>
                  </a:cubicBezTo>
                  <a:cubicBezTo>
                    <a:pt x="282" y="110"/>
                    <a:pt x="284" y="98"/>
                    <a:pt x="278" y="89"/>
                  </a:cubicBezTo>
                  <a:cubicBezTo>
                    <a:pt x="271" y="80"/>
                    <a:pt x="258" y="78"/>
                    <a:pt x="250" y="85"/>
                  </a:cubicBezTo>
                  <a:cubicBezTo>
                    <a:pt x="201" y="120"/>
                    <a:pt x="201" y="120"/>
                    <a:pt x="201" y="120"/>
                  </a:cubicBezTo>
                  <a:cubicBezTo>
                    <a:pt x="199" y="121"/>
                    <a:pt x="198" y="123"/>
                    <a:pt x="197" y="124"/>
                  </a:cubicBezTo>
                  <a:cubicBezTo>
                    <a:pt x="231" y="56"/>
                    <a:pt x="231" y="56"/>
                    <a:pt x="231" y="56"/>
                  </a:cubicBezTo>
                  <a:cubicBezTo>
                    <a:pt x="236" y="46"/>
                    <a:pt x="231" y="34"/>
                    <a:pt x="222" y="29"/>
                  </a:cubicBezTo>
                  <a:cubicBezTo>
                    <a:pt x="212" y="24"/>
                    <a:pt x="200" y="28"/>
                    <a:pt x="195" y="38"/>
                  </a:cubicBezTo>
                  <a:cubicBezTo>
                    <a:pt x="161" y="107"/>
                    <a:pt x="161" y="107"/>
                    <a:pt x="161" y="107"/>
                  </a:cubicBezTo>
                  <a:cubicBezTo>
                    <a:pt x="160" y="109"/>
                    <a:pt x="160" y="111"/>
                    <a:pt x="159" y="113"/>
                  </a:cubicBezTo>
                  <a:cubicBezTo>
                    <a:pt x="159" y="20"/>
                    <a:pt x="159" y="20"/>
                    <a:pt x="159" y="20"/>
                  </a:cubicBezTo>
                  <a:cubicBezTo>
                    <a:pt x="159" y="9"/>
                    <a:pt x="150" y="0"/>
                    <a:pt x="139" y="0"/>
                  </a:cubicBezTo>
                  <a:cubicBezTo>
                    <a:pt x="128" y="0"/>
                    <a:pt x="119" y="9"/>
                    <a:pt x="119" y="20"/>
                  </a:cubicBezTo>
                  <a:cubicBezTo>
                    <a:pt x="119" y="105"/>
                    <a:pt x="119" y="105"/>
                    <a:pt x="119" y="105"/>
                  </a:cubicBezTo>
                  <a:cubicBezTo>
                    <a:pt x="87" y="38"/>
                    <a:pt x="87" y="38"/>
                    <a:pt x="87" y="38"/>
                  </a:cubicBezTo>
                  <a:cubicBezTo>
                    <a:pt x="82" y="28"/>
                    <a:pt x="70" y="24"/>
                    <a:pt x="60" y="29"/>
                  </a:cubicBezTo>
                  <a:cubicBezTo>
                    <a:pt x="50" y="34"/>
                    <a:pt x="46" y="46"/>
                    <a:pt x="51" y="5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chemeClr val="accent1"/>
                </a:solidFill>
                <a:effectLst/>
                <a:uLnTx/>
                <a:uFillTx/>
                <a:latin typeface="Montserrat" panose="00000500000000000000"/>
              </a:endParaRPr>
            </a:p>
          </p:txBody>
        </p:sp>
      </p:grpSp>
      <p:sp>
        <p:nvSpPr>
          <p:cNvPr id="65" name="Rectangle 64"/>
          <p:cNvSpPr/>
          <p:nvPr/>
        </p:nvSpPr>
        <p:spPr>
          <a:xfrm>
            <a:off x="9371042" y="962677"/>
            <a:ext cx="2285159" cy="4473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22363" tIns="61181" rIns="122363" bIns="61181" rtlCol="0" anchor="ctr"/>
          <a:lstStyle/>
          <a:p>
            <a:pPr algn="ctr"/>
            <a:r>
              <a:rPr lang="en-GB" sz="1400" b="1" err="1">
                <a:solidFill>
                  <a:schemeClr val="bg1"/>
                </a:solidFill>
                <a:latin typeface="Montserrat" panose="00000500000000000000"/>
                <a:cs typeface="Calibri" panose="020F0502020204030204" pitchFamily="34" charset="0"/>
              </a:rPr>
              <a:t>HYDMedia</a:t>
            </a:r>
            <a:r>
              <a:rPr lang="en-GB" sz="1400" b="1">
                <a:solidFill>
                  <a:schemeClr val="bg1"/>
                </a:solidFill>
                <a:latin typeface="Montserrat" panose="00000500000000000000"/>
                <a:cs typeface="Calibri" panose="020F0502020204030204" pitchFamily="34" charset="0"/>
              </a:rPr>
              <a:t> G6</a:t>
            </a:r>
          </a:p>
          <a:p>
            <a:pPr algn="ctr"/>
            <a:r>
              <a:rPr lang="en-GB" sz="1400" b="1">
                <a:solidFill>
                  <a:schemeClr val="bg1"/>
                </a:solidFill>
                <a:latin typeface="Montserrat" panose="00000500000000000000"/>
                <a:cs typeface="Calibri" panose="020F0502020204030204" pitchFamily="34" charset="0"/>
              </a:rPr>
              <a:t>Today</a:t>
            </a:r>
          </a:p>
          <a:p>
            <a:pPr algn="ctr"/>
            <a:r>
              <a:rPr lang="en-GB" sz="1400" b="1">
                <a:solidFill>
                  <a:schemeClr val="bg1"/>
                </a:solidFill>
                <a:latin typeface="Montserrat" panose="00000500000000000000"/>
                <a:cs typeface="Calibri" panose="020F0502020204030204" pitchFamily="34" charset="0"/>
              </a:rPr>
              <a:t>The leading hospital ECM</a:t>
            </a:r>
          </a:p>
          <a:p>
            <a:pPr algn="ctr"/>
            <a:endParaRPr lang="en-GB" sz="1400" b="1">
              <a:solidFill>
                <a:schemeClr val="bg1"/>
              </a:solidFill>
              <a:latin typeface="Montserrat" panose="00000500000000000000"/>
              <a:cs typeface="Calibri" panose="020F0502020204030204" pitchFamily="34" charset="0"/>
            </a:endParaRPr>
          </a:p>
        </p:txBody>
      </p:sp>
      <p:sp>
        <p:nvSpPr>
          <p:cNvPr id="69" name="Rectangle 68"/>
          <p:cNvSpPr/>
          <p:nvPr/>
        </p:nvSpPr>
        <p:spPr>
          <a:xfrm rot="20569515">
            <a:off x="3769934" y="4724181"/>
            <a:ext cx="6877155" cy="5413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22363" tIns="61181" rIns="122363" bIns="61181" rtlCol="0" anchor="ctr">
            <a:prstTxWarp prst="textArchDown">
              <a:avLst>
                <a:gd name="adj" fmla="val 1255003"/>
              </a:avLst>
            </a:prstTxWarp>
          </a:bodyPr>
          <a:lstStyle/>
          <a:p>
            <a:pPr algn="ctr"/>
            <a:r>
              <a:rPr lang="en-GB" sz="1800" b="1">
                <a:solidFill>
                  <a:schemeClr val="bg1"/>
                </a:solidFill>
                <a:latin typeface="Montserrat" panose="00000500000000000000"/>
                <a:cs typeface="Calibri" panose="020F0502020204030204" pitchFamily="34" charset="0"/>
              </a:rPr>
              <a:t>From a single hospital solution to a multi hospital platform solution</a:t>
            </a:r>
          </a:p>
        </p:txBody>
      </p:sp>
      <p:pic>
        <p:nvPicPr>
          <p:cNvPr id="70" name="Picture 69"/>
          <p:cNvPicPr>
            <a:picLocks noChangeAspect="1"/>
          </p:cNvPicPr>
          <p:nvPr/>
        </p:nvPicPr>
        <p:blipFill rotWithShape="1">
          <a:blip r:embed="rId8"/>
          <a:srcRect l="1662" t="46879" r="63982" b="-46879"/>
          <a:stretch/>
        </p:blipFill>
        <p:spPr>
          <a:xfrm>
            <a:off x="981086" y="3536205"/>
            <a:ext cx="3619500" cy="3874008"/>
          </a:xfrm>
          <a:prstGeom prst="rect">
            <a:avLst/>
          </a:prstGeom>
        </p:spPr>
      </p:pic>
      <p:sp>
        <p:nvSpPr>
          <p:cNvPr id="71" name="Rectangle 70"/>
          <p:cNvSpPr/>
          <p:nvPr/>
        </p:nvSpPr>
        <p:spPr>
          <a:xfrm rot="19692978">
            <a:off x="9786308" y="2271850"/>
            <a:ext cx="1691157" cy="5413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22363" tIns="61181" rIns="122363" bIns="61181" rtlCol="0" anchor="ctr">
            <a:prstTxWarp prst="textArchDown">
              <a:avLst/>
            </a:prstTxWarp>
          </a:bodyPr>
          <a:lstStyle/>
          <a:p>
            <a:pPr algn="ctr"/>
            <a:r>
              <a:rPr lang="en-GB" sz="1800" b="1">
                <a:solidFill>
                  <a:schemeClr val="bg1"/>
                </a:solidFill>
                <a:latin typeface="Montserrat" panose="00000500000000000000"/>
                <a:cs typeface="Calibri" panose="020F0502020204030204" pitchFamily="34" charset="0"/>
              </a:rPr>
              <a:t>M&amp;A</a:t>
            </a:r>
          </a:p>
        </p:txBody>
      </p:sp>
      <p:sp>
        <p:nvSpPr>
          <p:cNvPr id="72" name="Rectangle 71"/>
          <p:cNvSpPr/>
          <p:nvPr/>
        </p:nvSpPr>
        <p:spPr>
          <a:xfrm rot="19838289">
            <a:off x="7882427" y="3122661"/>
            <a:ext cx="2723625" cy="5413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22363" tIns="61181" rIns="122363" bIns="61181" rtlCol="0" anchor="ctr">
            <a:prstTxWarp prst="textArchDown">
              <a:avLst/>
            </a:prstTxWarp>
          </a:bodyPr>
          <a:lstStyle/>
          <a:p>
            <a:pPr algn="ctr"/>
            <a:r>
              <a:rPr lang="en-GB" sz="1800" b="1">
                <a:solidFill>
                  <a:schemeClr val="bg1"/>
                </a:solidFill>
                <a:latin typeface="Montserrat" panose="00000500000000000000"/>
                <a:cs typeface="Calibri" panose="020F0502020204030204" pitchFamily="34" charset="0"/>
              </a:rPr>
              <a:t>Open Source</a:t>
            </a:r>
          </a:p>
        </p:txBody>
      </p:sp>
      <p:sp>
        <p:nvSpPr>
          <p:cNvPr id="73" name="Rectangle 72"/>
          <p:cNvSpPr/>
          <p:nvPr/>
        </p:nvSpPr>
        <p:spPr>
          <a:xfrm rot="20520000">
            <a:off x="4675089" y="4375779"/>
            <a:ext cx="3987661" cy="4473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22363" tIns="61181" rIns="122363" bIns="61181" rtlCol="0" anchor="ctr">
            <a:prstTxWarp prst="textArchDown">
              <a:avLst/>
            </a:prstTxWarp>
          </a:bodyPr>
          <a:lstStyle/>
          <a:p>
            <a:pPr algn="ctr"/>
            <a:r>
              <a:rPr lang="en-GB" sz="1800" b="1">
                <a:solidFill>
                  <a:schemeClr val="bg1"/>
                </a:solidFill>
                <a:latin typeface="Montserrat" panose="00000500000000000000"/>
                <a:cs typeface="Calibri" panose="020F0502020204030204" pitchFamily="34" charset="0"/>
              </a:rPr>
              <a:t>NEW BUSINESS</a:t>
            </a:r>
          </a:p>
        </p:txBody>
      </p:sp>
      <p:sp>
        <p:nvSpPr>
          <p:cNvPr id="74" name="Rectangle 73"/>
          <p:cNvSpPr/>
          <p:nvPr/>
        </p:nvSpPr>
        <p:spPr>
          <a:xfrm rot="21240000">
            <a:off x="627403" y="5298582"/>
            <a:ext cx="4386427" cy="4067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22363" tIns="61181" rIns="122363" bIns="61181" rtlCol="0" anchor="ctr">
            <a:prstTxWarp prst="textArchDown">
              <a:avLst/>
            </a:prstTxWarp>
          </a:bodyPr>
          <a:lstStyle/>
          <a:p>
            <a:pPr algn="ctr"/>
            <a:r>
              <a:rPr lang="en-GB" sz="1800" b="1">
                <a:solidFill>
                  <a:schemeClr val="bg1"/>
                </a:solidFill>
                <a:latin typeface="Montserrat" panose="00000500000000000000"/>
                <a:cs typeface="Calibri" panose="020F0502020204030204" pitchFamily="34" charset="0"/>
              </a:rPr>
              <a:t>The ramp up phase with </a:t>
            </a:r>
            <a:r>
              <a:rPr lang="en-GB" sz="1800" b="1" err="1">
                <a:solidFill>
                  <a:schemeClr val="bg1"/>
                </a:solidFill>
                <a:latin typeface="Montserrat" panose="00000500000000000000"/>
                <a:cs typeface="Calibri" panose="020F0502020204030204" pitchFamily="34" charset="0"/>
              </a:rPr>
              <a:t>Heydt</a:t>
            </a:r>
            <a:r>
              <a:rPr lang="en-GB" sz="1800" b="1">
                <a:solidFill>
                  <a:schemeClr val="bg1"/>
                </a:solidFill>
                <a:latin typeface="Montserrat" panose="00000500000000000000"/>
                <a:cs typeface="Calibri" panose="020F0502020204030204" pitchFamily="34" charset="0"/>
              </a:rPr>
              <a:t> Group</a:t>
            </a:r>
          </a:p>
        </p:txBody>
      </p:sp>
      <p:pic>
        <p:nvPicPr>
          <p:cNvPr id="75" name="Picture 74"/>
          <p:cNvPicPr>
            <a:picLocks noChangeAspect="1"/>
          </p:cNvPicPr>
          <p:nvPr/>
        </p:nvPicPr>
        <p:blipFill rotWithShape="1">
          <a:blip r:embed="rId8"/>
          <a:srcRect l="37344" t="46879" r="27336" b="-46879"/>
          <a:stretch/>
        </p:blipFill>
        <p:spPr>
          <a:xfrm>
            <a:off x="4740286" y="3536205"/>
            <a:ext cx="3721100" cy="3874008"/>
          </a:xfrm>
          <a:prstGeom prst="rect">
            <a:avLst/>
          </a:prstGeom>
        </p:spPr>
      </p:pic>
      <p:pic>
        <p:nvPicPr>
          <p:cNvPr id="77" name="Picture 76"/>
          <p:cNvPicPr>
            <a:picLocks noChangeAspect="1"/>
          </p:cNvPicPr>
          <p:nvPr/>
        </p:nvPicPr>
        <p:blipFill rotWithShape="1">
          <a:blip r:embed="rId8"/>
          <a:srcRect l="78691" t="11474" r="10900" b="-11474"/>
          <a:stretch/>
        </p:blipFill>
        <p:spPr>
          <a:xfrm>
            <a:off x="10141968" y="1552927"/>
            <a:ext cx="1096621" cy="3874008"/>
          </a:xfrm>
          <a:prstGeom prst="rect">
            <a:avLst/>
          </a:prstGeom>
        </p:spPr>
      </p:pic>
      <p:sp>
        <p:nvSpPr>
          <p:cNvPr id="3" name="Textfeld 2">
            <a:extLst>
              <a:ext uri="{FF2B5EF4-FFF2-40B4-BE49-F238E27FC236}">
                <a16:creationId xmlns:a16="http://schemas.microsoft.com/office/drawing/2014/main" id="{CE58D203-2BD2-4F2A-9A2E-6EDB066F52B2}"/>
              </a:ext>
            </a:extLst>
          </p:cNvPr>
          <p:cNvSpPr txBox="1"/>
          <p:nvPr/>
        </p:nvSpPr>
        <p:spPr>
          <a:xfrm>
            <a:off x="7084837" y="6108768"/>
            <a:ext cx="3754746" cy="307777"/>
          </a:xfrm>
          <a:prstGeom prst="rect">
            <a:avLst/>
          </a:prstGeom>
          <a:noFill/>
        </p:spPr>
        <p:txBody>
          <a:bodyPr wrap="none" rtlCol="0">
            <a:spAutoFit/>
          </a:bodyPr>
          <a:lstStyle/>
          <a:p>
            <a:r>
              <a:rPr lang="de-DE" sz="1400" b="1">
                <a:solidFill>
                  <a:schemeClr val="bg1"/>
                </a:solidFill>
              </a:rPr>
              <a:t>2007 </a:t>
            </a:r>
            <a:r>
              <a:rPr lang="de-DE" sz="1400" b="1" err="1">
                <a:solidFill>
                  <a:schemeClr val="bg1"/>
                </a:solidFill>
              </a:rPr>
              <a:t>HYDMedia</a:t>
            </a:r>
            <a:r>
              <a:rPr lang="de-DE" sz="1400" b="1">
                <a:solidFill>
                  <a:schemeClr val="bg1"/>
                </a:solidFill>
              </a:rPr>
              <a:t> was </a:t>
            </a:r>
            <a:r>
              <a:rPr lang="de-DE" sz="1400" b="1" err="1">
                <a:solidFill>
                  <a:schemeClr val="bg1"/>
                </a:solidFill>
              </a:rPr>
              <a:t>bought</a:t>
            </a:r>
            <a:r>
              <a:rPr lang="de-DE" sz="1400" b="1">
                <a:solidFill>
                  <a:schemeClr val="bg1"/>
                </a:solidFill>
              </a:rPr>
              <a:t> </a:t>
            </a:r>
            <a:r>
              <a:rPr lang="de-DE" sz="1400" b="1" err="1">
                <a:solidFill>
                  <a:schemeClr val="bg1"/>
                </a:solidFill>
              </a:rPr>
              <a:t>by</a:t>
            </a:r>
            <a:r>
              <a:rPr lang="de-DE" sz="1400" b="1">
                <a:solidFill>
                  <a:schemeClr val="bg1"/>
                </a:solidFill>
              </a:rPr>
              <a:t> Agfa HealthCare</a:t>
            </a:r>
          </a:p>
        </p:txBody>
      </p:sp>
      <p:sp>
        <p:nvSpPr>
          <p:cNvPr id="79" name="Textfeld 78">
            <a:extLst>
              <a:ext uri="{FF2B5EF4-FFF2-40B4-BE49-F238E27FC236}">
                <a16:creationId xmlns:a16="http://schemas.microsoft.com/office/drawing/2014/main" id="{E30A0129-24B3-4F9B-A988-806D8ECC4482}"/>
              </a:ext>
            </a:extLst>
          </p:cNvPr>
          <p:cNvSpPr txBox="1"/>
          <p:nvPr/>
        </p:nvSpPr>
        <p:spPr>
          <a:xfrm>
            <a:off x="9675637" y="5041968"/>
            <a:ext cx="2167196" cy="523220"/>
          </a:xfrm>
          <a:prstGeom prst="rect">
            <a:avLst/>
          </a:prstGeom>
          <a:noFill/>
        </p:spPr>
        <p:txBody>
          <a:bodyPr wrap="none" rtlCol="0">
            <a:spAutoFit/>
          </a:bodyPr>
          <a:lstStyle/>
          <a:p>
            <a:r>
              <a:rPr lang="de-DE" sz="1400" b="1">
                <a:solidFill>
                  <a:schemeClr val="bg1"/>
                </a:solidFill>
              </a:rPr>
              <a:t>2020 Agfa HealthCare was </a:t>
            </a:r>
          </a:p>
          <a:p>
            <a:r>
              <a:rPr lang="de-DE" sz="1400" b="1" err="1">
                <a:solidFill>
                  <a:schemeClr val="bg1"/>
                </a:solidFill>
              </a:rPr>
              <a:t>bought</a:t>
            </a:r>
            <a:r>
              <a:rPr lang="de-DE" sz="1400" b="1">
                <a:solidFill>
                  <a:schemeClr val="bg1"/>
                </a:solidFill>
              </a:rPr>
              <a:t> </a:t>
            </a:r>
            <a:r>
              <a:rPr lang="de-DE" sz="1400" b="1" err="1">
                <a:solidFill>
                  <a:schemeClr val="bg1"/>
                </a:solidFill>
              </a:rPr>
              <a:t>by</a:t>
            </a:r>
            <a:r>
              <a:rPr lang="de-DE" sz="1400" b="1">
                <a:solidFill>
                  <a:schemeClr val="bg1"/>
                </a:solidFill>
              </a:rPr>
              <a:t> Dedalus</a:t>
            </a:r>
          </a:p>
        </p:txBody>
      </p:sp>
    </p:spTree>
    <p:extLst>
      <p:ext uri="{BB962C8B-B14F-4D97-AF65-F5344CB8AC3E}">
        <p14:creationId xmlns:p14="http://schemas.microsoft.com/office/powerpoint/2010/main" val="3553143090"/>
      </p:ext>
    </p:extLst>
  </p:cSld>
  <p:clrMapOvr>
    <a:masterClrMapping/>
  </p:clrMapOvr>
  <mc:AlternateContent xmlns:mc="http://schemas.openxmlformats.org/markup-compatibility/2006">
    <mc:Choice xmlns:p14="http://schemas.microsoft.com/office/powerpoint/2010/main" Requires="p14">
      <p:transition spd="slow" p14:dur="1250">
        <p14:reveal/>
      </p:transition>
    </mc:Choice>
    <mc:Fallback>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6F965D78-6847-4057-84E1-E2EB0980EDA9}"/>
              </a:ext>
            </a:extLst>
          </p:cNvPr>
          <p:cNvSpPr>
            <a:spLocks noGrp="1"/>
          </p:cNvSpPr>
          <p:nvPr>
            <p:ph type="ctrTitle"/>
          </p:nvPr>
        </p:nvSpPr>
        <p:spPr>
          <a:xfrm>
            <a:off x="520700" y="344294"/>
            <a:ext cx="9287608" cy="456632"/>
          </a:xfrm>
        </p:spPr>
        <p:txBody>
          <a:bodyPr anchor="t">
            <a:normAutofit fontScale="90000"/>
          </a:bodyPr>
          <a:lstStyle/>
          <a:p>
            <a:r>
              <a:rPr lang="fr-FR" dirty="0" err="1"/>
              <a:t>Das</a:t>
            </a:r>
            <a:r>
              <a:rPr lang="fr-FR" dirty="0"/>
              <a:t> </a:t>
            </a:r>
            <a:r>
              <a:rPr lang="fr-FR" dirty="0" err="1"/>
              <a:t>Gesundheitswesen</a:t>
            </a:r>
            <a:r>
              <a:rPr lang="fr-FR" dirty="0"/>
              <a:t> </a:t>
            </a:r>
            <a:r>
              <a:rPr lang="fr-FR" dirty="0" err="1"/>
              <a:t>im</a:t>
            </a:r>
            <a:r>
              <a:rPr lang="fr-FR" dirty="0"/>
              <a:t> </a:t>
            </a:r>
            <a:r>
              <a:rPr lang="fr-FR" dirty="0" err="1"/>
              <a:t>Strukturwandel</a:t>
            </a:r>
            <a:r>
              <a:rPr lang="fr-FR" dirty="0"/>
              <a:t> - </a:t>
            </a:r>
            <a:r>
              <a:rPr lang="fr-FR" dirty="0" err="1"/>
              <a:t>Vergangenheit</a:t>
            </a:r>
            <a:endParaRPr lang="fr-FR" dirty="0"/>
          </a:p>
        </p:txBody>
      </p:sp>
      <p:graphicFrame>
        <p:nvGraphicFramePr>
          <p:cNvPr id="8" name="Diagramm 7">
            <a:extLst>
              <a:ext uri="{FF2B5EF4-FFF2-40B4-BE49-F238E27FC236}">
                <a16:creationId xmlns:a16="http://schemas.microsoft.com/office/drawing/2014/main" id="{67F26207-127F-4BE6-806F-9FBF5E46DF95}"/>
              </a:ext>
            </a:extLst>
          </p:cNvPr>
          <p:cNvGraphicFramePr/>
          <p:nvPr/>
        </p:nvGraphicFramePr>
        <p:xfrm>
          <a:off x="4282831" y="1695939"/>
          <a:ext cx="7112000" cy="455181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9" name="Textfeld 8">
            <a:extLst>
              <a:ext uri="{FF2B5EF4-FFF2-40B4-BE49-F238E27FC236}">
                <a16:creationId xmlns:a16="http://schemas.microsoft.com/office/drawing/2014/main" id="{820EEE1A-A1A5-4591-983D-94E64BE4251F}"/>
              </a:ext>
            </a:extLst>
          </p:cNvPr>
          <p:cNvSpPr txBox="1"/>
          <p:nvPr/>
        </p:nvSpPr>
        <p:spPr>
          <a:xfrm>
            <a:off x="520700" y="1750647"/>
            <a:ext cx="3707423" cy="4247317"/>
          </a:xfrm>
          <a:prstGeom prst="rect">
            <a:avLst/>
          </a:prstGeom>
          <a:noFill/>
        </p:spPr>
        <p:txBody>
          <a:bodyPr wrap="square" rtlCol="0">
            <a:spAutoFit/>
          </a:bodyPr>
          <a:lstStyle/>
          <a:p>
            <a:r>
              <a:rPr lang="de-DE" b="1" dirty="0"/>
              <a:t>Buzzwords:</a:t>
            </a:r>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a:t>Eigenständige Versorger</a:t>
            </a:r>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a:t>Kaum Informationsaustausch</a:t>
            </a:r>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a:t>Doppelbehandlungen</a:t>
            </a:r>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a:t>Dominanz von KIS und Arztpraxissoftware</a:t>
            </a:r>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a:t>Focus auf Abrechnung</a:t>
            </a:r>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a:t>Papierakte</a:t>
            </a:r>
          </a:p>
        </p:txBody>
      </p:sp>
    </p:spTree>
    <p:extLst>
      <p:ext uri="{BB962C8B-B14F-4D97-AF65-F5344CB8AC3E}">
        <p14:creationId xmlns:p14="http://schemas.microsoft.com/office/powerpoint/2010/main" val="2665606025"/>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p:cTn id="7" dur="1000" fill="hold"/>
                                        <p:tgtEl>
                                          <p:spTgt spid="9"/>
                                        </p:tgtEl>
                                        <p:attrNameLst>
                                          <p:attrName>ppt_w</p:attrName>
                                        </p:attrNameLst>
                                      </p:cBhvr>
                                      <p:tavLst>
                                        <p:tav tm="0">
                                          <p:val>
                                            <p:fltVal val="0"/>
                                          </p:val>
                                        </p:tav>
                                        <p:tav tm="100000">
                                          <p:val>
                                            <p:strVal val="#ppt_w"/>
                                          </p:val>
                                        </p:tav>
                                      </p:tavLst>
                                    </p:anim>
                                    <p:anim calcmode="lin" valueType="num">
                                      <p:cBhvr>
                                        <p:cTn id="8" dur="1000" fill="hold"/>
                                        <p:tgtEl>
                                          <p:spTgt spid="9"/>
                                        </p:tgtEl>
                                        <p:attrNameLst>
                                          <p:attrName>ppt_h</p:attrName>
                                        </p:attrNameLst>
                                      </p:cBhvr>
                                      <p:tavLst>
                                        <p:tav tm="0">
                                          <p:val>
                                            <p:fltVal val="0"/>
                                          </p:val>
                                        </p:tav>
                                        <p:tav tm="100000">
                                          <p:val>
                                            <p:strVal val="#ppt_h"/>
                                          </p:val>
                                        </p:tav>
                                      </p:tavLst>
                                    </p:anim>
                                    <p:anim calcmode="lin" valueType="num">
                                      <p:cBhvr>
                                        <p:cTn id="9" dur="1000" fill="hold"/>
                                        <p:tgtEl>
                                          <p:spTgt spid="9"/>
                                        </p:tgtEl>
                                        <p:attrNameLst>
                                          <p:attrName>style.rotation</p:attrName>
                                        </p:attrNameLst>
                                      </p:cBhvr>
                                      <p:tavLst>
                                        <p:tav tm="0">
                                          <p:val>
                                            <p:fltVal val="90"/>
                                          </p:val>
                                        </p:tav>
                                        <p:tav tm="100000">
                                          <p:val>
                                            <p:fltVal val="0"/>
                                          </p:val>
                                        </p:tav>
                                      </p:tavLst>
                                    </p:anim>
                                    <p:animEffect transition="in" filter="fade">
                                      <p:cBhvr>
                                        <p:cTn id="10"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6F965D78-6847-4057-84E1-E2EB0980EDA9}"/>
              </a:ext>
            </a:extLst>
          </p:cNvPr>
          <p:cNvSpPr>
            <a:spLocks noGrp="1"/>
          </p:cNvSpPr>
          <p:nvPr>
            <p:ph type="ctrTitle"/>
          </p:nvPr>
        </p:nvSpPr>
        <p:spPr>
          <a:xfrm>
            <a:off x="520700" y="344294"/>
            <a:ext cx="7888517" cy="456632"/>
          </a:xfrm>
        </p:spPr>
        <p:txBody>
          <a:bodyPr anchor="t">
            <a:normAutofit/>
          </a:bodyPr>
          <a:lstStyle/>
          <a:p>
            <a:r>
              <a:rPr lang="fr-FR" dirty="0" err="1"/>
              <a:t>Das</a:t>
            </a:r>
            <a:r>
              <a:rPr lang="fr-FR" dirty="0"/>
              <a:t> </a:t>
            </a:r>
            <a:r>
              <a:rPr lang="fr-FR" dirty="0" err="1"/>
              <a:t>Gesundheitswesen</a:t>
            </a:r>
            <a:r>
              <a:rPr lang="fr-FR" dirty="0"/>
              <a:t> </a:t>
            </a:r>
            <a:r>
              <a:rPr lang="fr-FR" dirty="0" err="1"/>
              <a:t>im</a:t>
            </a:r>
            <a:r>
              <a:rPr lang="fr-FR" dirty="0"/>
              <a:t> </a:t>
            </a:r>
            <a:r>
              <a:rPr lang="fr-FR" dirty="0" err="1"/>
              <a:t>Strukturwandel</a:t>
            </a:r>
            <a:endParaRPr lang="fr-FR" dirty="0"/>
          </a:p>
        </p:txBody>
      </p:sp>
      <p:graphicFrame>
        <p:nvGraphicFramePr>
          <p:cNvPr id="6" name="Diagramm 5">
            <a:extLst>
              <a:ext uri="{FF2B5EF4-FFF2-40B4-BE49-F238E27FC236}">
                <a16:creationId xmlns:a16="http://schemas.microsoft.com/office/drawing/2014/main" id="{F477822F-ACA2-47F7-89E5-42D9B6E68760}"/>
              </a:ext>
            </a:extLst>
          </p:cNvPr>
          <p:cNvGraphicFramePr/>
          <p:nvPr/>
        </p:nvGraphicFramePr>
        <p:xfrm>
          <a:off x="4159956" y="1177169"/>
          <a:ext cx="8128000"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7" name="Diagramm 6">
            <a:extLst>
              <a:ext uri="{FF2B5EF4-FFF2-40B4-BE49-F238E27FC236}">
                <a16:creationId xmlns:a16="http://schemas.microsoft.com/office/drawing/2014/main" id="{5E58D38B-BB10-4A32-AEFE-7DEA13C522D5}"/>
              </a:ext>
            </a:extLst>
          </p:cNvPr>
          <p:cNvGraphicFramePr/>
          <p:nvPr/>
        </p:nvGraphicFramePr>
        <p:xfrm>
          <a:off x="7192325" y="1177169"/>
          <a:ext cx="6002216" cy="2609687"/>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5" name="Textfeld 4">
            <a:extLst>
              <a:ext uri="{FF2B5EF4-FFF2-40B4-BE49-F238E27FC236}">
                <a16:creationId xmlns:a16="http://schemas.microsoft.com/office/drawing/2014/main" id="{898261B5-F2D9-460F-B42B-CCEA4942D861}"/>
              </a:ext>
            </a:extLst>
          </p:cNvPr>
          <p:cNvSpPr txBox="1"/>
          <p:nvPr/>
        </p:nvSpPr>
        <p:spPr>
          <a:xfrm>
            <a:off x="520700" y="1138401"/>
            <a:ext cx="5575300" cy="5355312"/>
          </a:xfrm>
          <a:prstGeom prst="rect">
            <a:avLst/>
          </a:prstGeom>
          <a:noFill/>
        </p:spPr>
        <p:txBody>
          <a:bodyPr wrap="square" rtlCol="0">
            <a:spAutoFit/>
          </a:bodyPr>
          <a:lstStyle/>
          <a:p>
            <a:r>
              <a:rPr lang="de-DE" b="1" dirty="0"/>
              <a:t>Buzzwords:</a:t>
            </a:r>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a:t>Ambulante Nachsorge statt stationäre Versorgung</a:t>
            </a:r>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a:t>Zentraler Versorger mit schneller Entlassung</a:t>
            </a:r>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a:t>Fachgebundene Nachsorge</a:t>
            </a:r>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a:t>IHE Konzepte zur Informationsoptimierung</a:t>
            </a:r>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a:t>Vermeidung von Doppelbehandlungen</a:t>
            </a:r>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a:t>Focus auf dezentrale Versorgung</a:t>
            </a:r>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a:t>Portallösungen </a:t>
            </a:r>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a:t>Cloudlösungen</a:t>
            </a:r>
          </a:p>
        </p:txBody>
      </p:sp>
    </p:spTree>
    <p:extLst>
      <p:ext uri="{BB962C8B-B14F-4D97-AF65-F5344CB8AC3E}">
        <p14:creationId xmlns:p14="http://schemas.microsoft.com/office/powerpoint/2010/main" val="2407516684"/>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1000" fill="hold"/>
                                        <p:tgtEl>
                                          <p:spTgt spid="5"/>
                                        </p:tgtEl>
                                        <p:attrNameLst>
                                          <p:attrName>ppt_w</p:attrName>
                                        </p:attrNameLst>
                                      </p:cBhvr>
                                      <p:tavLst>
                                        <p:tav tm="0">
                                          <p:val>
                                            <p:fltVal val="0"/>
                                          </p:val>
                                        </p:tav>
                                        <p:tav tm="100000">
                                          <p:val>
                                            <p:strVal val="#ppt_w"/>
                                          </p:val>
                                        </p:tav>
                                      </p:tavLst>
                                    </p:anim>
                                    <p:anim calcmode="lin" valueType="num">
                                      <p:cBhvr>
                                        <p:cTn id="8" dur="1000" fill="hold"/>
                                        <p:tgtEl>
                                          <p:spTgt spid="5"/>
                                        </p:tgtEl>
                                        <p:attrNameLst>
                                          <p:attrName>ppt_h</p:attrName>
                                        </p:attrNameLst>
                                      </p:cBhvr>
                                      <p:tavLst>
                                        <p:tav tm="0">
                                          <p:val>
                                            <p:fltVal val="0"/>
                                          </p:val>
                                        </p:tav>
                                        <p:tav tm="100000">
                                          <p:val>
                                            <p:strVal val="#ppt_h"/>
                                          </p:val>
                                        </p:tav>
                                      </p:tavLst>
                                    </p:anim>
                                    <p:anim calcmode="lin" valueType="num">
                                      <p:cBhvr>
                                        <p:cTn id="9" dur="1000" fill="hold"/>
                                        <p:tgtEl>
                                          <p:spTgt spid="5"/>
                                        </p:tgtEl>
                                        <p:attrNameLst>
                                          <p:attrName>style.rotation</p:attrName>
                                        </p:attrNameLst>
                                      </p:cBhvr>
                                      <p:tavLst>
                                        <p:tav tm="0">
                                          <p:val>
                                            <p:fltVal val="90"/>
                                          </p:val>
                                        </p:tav>
                                        <p:tav tm="100000">
                                          <p:val>
                                            <p:fltVal val="0"/>
                                          </p:val>
                                        </p:tav>
                                      </p:tavLst>
                                    </p:anim>
                                    <p:animEffect transition="in" filter="fade">
                                      <p:cBhvr>
                                        <p:cTn id="10"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8A2ED68D-75FF-E074-5A7A-612A4B24A6A8}"/>
              </a:ext>
            </a:extLst>
          </p:cNvPr>
          <p:cNvSpPr>
            <a:spLocks noGrp="1"/>
          </p:cNvSpPr>
          <p:nvPr>
            <p:ph type="ctrTitle"/>
          </p:nvPr>
        </p:nvSpPr>
        <p:spPr>
          <a:xfrm>
            <a:off x="314959" y="1915008"/>
            <a:ext cx="4079487" cy="1112203"/>
          </a:xfrm>
        </p:spPr>
        <p:txBody>
          <a:bodyPr/>
          <a:lstStyle/>
          <a:p>
            <a:r>
              <a:rPr lang="de-DE" dirty="0"/>
              <a:t>Was ist eine digitale Krankenakte heute?</a:t>
            </a:r>
          </a:p>
        </p:txBody>
      </p:sp>
      <p:sp>
        <p:nvSpPr>
          <p:cNvPr id="5" name="Untertitel 4">
            <a:extLst>
              <a:ext uri="{FF2B5EF4-FFF2-40B4-BE49-F238E27FC236}">
                <a16:creationId xmlns:a16="http://schemas.microsoft.com/office/drawing/2014/main" id="{783AB6A2-5591-8824-C9A5-63E418126EB9}"/>
              </a:ext>
            </a:extLst>
          </p:cNvPr>
          <p:cNvSpPr>
            <a:spLocks noGrp="1"/>
          </p:cNvSpPr>
          <p:nvPr>
            <p:ph type="subTitle" idx="1"/>
          </p:nvPr>
        </p:nvSpPr>
        <p:spPr/>
        <p:txBody>
          <a:bodyPr/>
          <a:lstStyle/>
          <a:p>
            <a:r>
              <a:rPr lang="de-DE" dirty="0"/>
              <a:t>Der zentrale Datenpool – die IHE </a:t>
            </a:r>
            <a:r>
              <a:rPr lang="de-DE" dirty="0" err="1"/>
              <a:t>Repositories</a:t>
            </a:r>
            <a:endParaRPr lang="de-DE" dirty="0"/>
          </a:p>
        </p:txBody>
      </p:sp>
    </p:spTree>
    <p:extLst>
      <p:ext uri="{BB962C8B-B14F-4D97-AF65-F5344CB8AC3E}">
        <p14:creationId xmlns:p14="http://schemas.microsoft.com/office/powerpoint/2010/main" val="2315655770"/>
      </p:ext>
    </p:extLst>
  </p:cSld>
  <p:clrMapOvr>
    <a:masterClrMapping/>
  </p:clrMapOvr>
  <mc:AlternateContent xmlns:mc="http://schemas.openxmlformats.org/markup-compatibility/2006" xmlns:p14="http://schemas.microsoft.com/office/powerpoint/2010/main">
    <mc:Choice Requires="p14">
      <p:transition spd="slow" p14:dur="1250">
        <p14:reveal/>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EB3B0279-2302-40A4-AA57-FFB971E5DA87}"/>
              </a:ext>
            </a:extLst>
          </p:cNvPr>
          <p:cNvSpPr>
            <a:spLocks noGrp="1"/>
          </p:cNvSpPr>
          <p:nvPr>
            <p:ph type="ctrTitle"/>
          </p:nvPr>
        </p:nvSpPr>
        <p:spPr>
          <a:xfrm>
            <a:off x="520377" y="1117526"/>
            <a:ext cx="9928548" cy="456632"/>
          </a:xfrm>
        </p:spPr>
        <p:txBody>
          <a:bodyPr/>
          <a:lstStyle/>
          <a:p>
            <a:r>
              <a:rPr lang="fr-FR" dirty="0"/>
              <a:t>Die </a:t>
            </a:r>
            <a:r>
              <a:rPr lang="fr-FR" dirty="0" err="1"/>
              <a:t>eVNA</a:t>
            </a:r>
            <a:r>
              <a:rPr lang="fr-FR" dirty="0"/>
              <a:t> - </a:t>
            </a:r>
            <a:r>
              <a:rPr lang="de-DE" dirty="0"/>
              <a:t>Das Herzstück für Ihre Content-Strategie </a:t>
            </a:r>
            <a:br>
              <a:rPr lang="de-DE" sz="2400" b="1" dirty="0">
                <a:solidFill>
                  <a:schemeClr val="tx2"/>
                </a:solidFill>
                <a:latin typeface="Montserrat SemiBold" panose="00000700000000000000" pitchFamily="2" charset="0"/>
                <a:ea typeface="Calibri" panose="020F0502020204030204" pitchFamily="34" charset="0"/>
                <a:cs typeface="Times New Roman" panose="02020603050405020304" pitchFamily="18" charset="0"/>
              </a:rPr>
            </a:br>
            <a:endParaRPr lang="fr-FR" dirty="0"/>
          </a:p>
        </p:txBody>
      </p:sp>
      <p:sp>
        <p:nvSpPr>
          <p:cNvPr id="6" name="Inhaltsplatzhalter 5">
            <a:extLst>
              <a:ext uri="{FF2B5EF4-FFF2-40B4-BE49-F238E27FC236}">
                <a16:creationId xmlns:a16="http://schemas.microsoft.com/office/drawing/2014/main" id="{5326757E-3759-348E-8DF2-3CCFDE8D77DD}"/>
              </a:ext>
            </a:extLst>
          </p:cNvPr>
          <p:cNvSpPr>
            <a:spLocks noGrp="1"/>
          </p:cNvSpPr>
          <p:nvPr>
            <p:ph sz="quarter" idx="15"/>
          </p:nvPr>
        </p:nvSpPr>
        <p:spPr>
          <a:xfrm>
            <a:off x="6230471" y="2009308"/>
            <a:ext cx="5575300" cy="4261743"/>
          </a:xfrm>
        </p:spPr>
        <p:txBody>
          <a:bodyPr/>
          <a:lstStyle/>
          <a:p>
            <a:r>
              <a:rPr lang="de-DE" sz="1400" b="1" dirty="0"/>
              <a:t>Eine Plattform für alle Ihre Daten - Dokumente, Bilder, Berichte, Briefe, DICOM, NON-DICOM, etc.</a:t>
            </a:r>
          </a:p>
          <a:p>
            <a:endParaRPr lang="de-DE" sz="1400" b="1" dirty="0"/>
          </a:p>
          <a:p>
            <a:r>
              <a:rPr lang="de-DE" sz="1400" b="1" dirty="0"/>
              <a:t>Unterstützung verschiedener Arbeitsabläufe - ein System mit spezialisierten Anwendungen für alle Benutzer im Krankenhaus</a:t>
            </a:r>
          </a:p>
          <a:p>
            <a:endParaRPr lang="de-DE" sz="1400" b="1" dirty="0"/>
          </a:p>
          <a:p>
            <a:r>
              <a:rPr lang="de-DE" sz="1400" b="1" dirty="0"/>
              <a:t>Einheitlicher Zugang, leicht in Krankenhausanwendungen einzubetten</a:t>
            </a:r>
          </a:p>
          <a:p>
            <a:endParaRPr lang="de-DE" sz="1400" b="1" dirty="0"/>
          </a:p>
          <a:p>
            <a:r>
              <a:rPr lang="de-DE" sz="1400" b="1" dirty="0"/>
              <a:t>Aufbauend auf der Grundlage verschiedener Interoperabilitätsstandards - HL7, DICOM, IHE, FHIR, CDA </a:t>
            </a:r>
          </a:p>
          <a:p>
            <a:endParaRPr lang="de-DE" sz="1400" b="1" dirty="0"/>
          </a:p>
          <a:p>
            <a:r>
              <a:rPr lang="de-DE" sz="1400" b="1" dirty="0"/>
              <a:t>Erweiterte Anwendungsfälle, auch über die Grenzen der eigenen Gesundheitseinrichtung hinaus</a:t>
            </a:r>
          </a:p>
          <a:p>
            <a:endParaRPr lang="de-DE" sz="1200" dirty="0"/>
          </a:p>
        </p:txBody>
      </p:sp>
      <p:pic>
        <p:nvPicPr>
          <p:cNvPr id="9" name="Grafik 8">
            <a:extLst>
              <a:ext uri="{FF2B5EF4-FFF2-40B4-BE49-F238E27FC236}">
                <a16:creationId xmlns:a16="http://schemas.microsoft.com/office/drawing/2014/main" id="{AAE9740B-B24D-7964-16D6-2E8ABD6F29E9}"/>
              </a:ext>
            </a:extLst>
          </p:cNvPr>
          <p:cNvPicPr>
            <a:picLocks noChangeAspect="1"/>
          </p:cNvPicPr>
          <p:nvPr/>
        </p:nvPicPr>
        <p:blipFill>
          <a:blip r:embed="rId3"/>
          <a:stretch>
            <a:fillRect/>
          </a:stretch>
        </p:blipFill>
        <p:spPr>
          <a:xfrm>
            <a:off x="275208" y="2009307"/>
            <a:ext cx="5955263" cy="4604604"/>
          </a:xfrm>
          <a:prstGeom prst="rect">
            <a:avLst/>
          </a:prstGeom>
        </p:spPr>
      </p:pic>
    </p:spTree>
    <p:extLst>
      <p:ext uri="{BB962C8B-B14F-4D97-AF65-F5344CB8AC3E}">
        <p14:creationId xmlns:p14="http://schemas.microsoft.com/office/powerpoint/2010/main" val="172566772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EB3B0279-2302-40A4-AA57-FFB971E5DA87}"/>
              </a:ext>
            </a:extLst>
          </p:cNvPr>
          <p:cNvSpPr>
            <a:spLocks noGrp="1"/>
          </p:cNvSpPr>
          <p:nvPr>
            <p:ph type="ctrTitle"/>
          </p:nvPr>
        </p:nvSpPr>
        <p:spPr>
          <a:xfrm>
            <a:off x="520377" y="1117526"/>
            <a:ext cx="4604073" cy="456632"/>
          </a:xfrm>
        </p:spPr>
        <p:txBody>
          <a:bodyPr/>
          <a:lstStyle/>
          <a:p>
            <a:r>
              <a:rPr lang="fr-FR" dirty="0"/>
              <a:t>Papierloses Krankenhaus</a:t>
            </a:r>
          </a:p>
        </p:txBody>
      </p:sp>
      <p:cxnSp>
        <p:nvCxnSpPr>
          <p:cNvPr id="75" name="Straight Arrow Connector 35">
            <a:extLst>
              <a:ext uri="{FF2B5EF4-FFF2-40B4-BE49-F238E27FC236}">
                <a16:creationId xmlns:a16="http://schemas.microsoft.com/office/drawing/2014/main" id="{418BCEC3-E1EF-4E5B-915B-09FFD0203428}"/>
              </a:ext>
            </a:extLst>
          </p:cNvPr>
          <p:cNvCxnSpPr>
            <a:cxnSpLocks/>
          </p:cNvCxnSpPr>
          <p:nvPr/>
        </p:nvCxnSpPr>
        <p:spPr>
          <a:xfrm flipH="1">
            <a:off x="0" y="5868023"/>
            <a:ext cx="12192000" cy="0"/>
          </a:xfrm>
          <a:prstGeom prst="straightConnector1">
            <a:avLst/>
          </a:prstGeom>
          <a:ln w="88900" cap="rnd">
            <a:solidFill>
              <a:schemeClr val="accent1">
                <a:lumMod val="50000"/>
              </a:schemeClr>
            </a:solidFill>
            <a:prstDash val="solid"/>
            <a:round/>
            <a:headEnd type="none" w="lg" len="lg"/>
            <a:tailEnd type="none" w="lg" len="lg"/>
          </a:ln>
        </p:spPr>
        <p:style>
          <a:lnRef idx="1">
            <a:schemeClr val="accent1"/>
          </a:lnRef>
          <a:fillRef idx="0">
            <a:schemeClr val="accent1"/>
          </a:fillRef>
          <a:effectRef idx="0">
            <a:schemeClr val="accent1"/>
          </a:effectRef>
          <a:fontRef idx="minor">
            <a:schemeClr val="tx1"/>
          </a:fontRef>
        </p:style>
      </p:cxnSp>
      <p:sp>
        <p:nvSpPr>
          <p:cNvPr id="76" name="Pentagon 24">
            <a:extLst>
              <a:ext uri="{FF2B5EF4-FFF2-40B4-BE49-F238E27FC236}">
                <a16:creationId xmlns:a16="http://schemas.microsoft.com/office/drawing/2014/main" id="{1CFDFB85-9710-49FC-8C99-4E3383B0C908}"/>
              </a:ext>
            </a:extLst>
          </p:cNvPr>
          <p:cNvSpPr/>
          <p:nvPr/>
        </p:nvSpPr>
        <p:spPr>
          <a:xfrm>
            <a:off x="9341814" y="4274863"/>
            <a:ext cx="2011680" cy="640080"/>
          </a:xfrm>
          <a:prstGeom prst="rect">
            <a:avLst/>
          </a:prstGeom>
          <a:solidFill>
            <a:schemeClr val="tx1">
              <a:lumMod val="65000"/>
              <a:lumOff val="35000"/>
            </a:schemeClr>
          </a:solidFill>
          <a:ln w="317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dirty="0" err="1">
                <a:solidFill>
                  <a:srgbClr val="FFFFFF"/>
                </a:solidFill>
                <a:latin typeface="Montserrat" panose="00000500000000000000" pitchFamily="2" charset="0"/>
              </a:rPr>
              <a:t>Zuordnung</a:t>
            </a:r>
            <a:r>
              <a:rPr lang="fr-FR" sz="1200" b="1" dirty="0">
                <a:solidFill>
                  <a:srgbClr val="FFFFFF"/>
                </a:solidFill>
                <a:latin typeface="Montserrat" panose="00000500000000000000" pitchFamily="2" charset="0"/>
              </a:rPr>
              <a:t> </a:t>
            </a:r>
            <a:r>
              <a:rPr lang="fr-FR" sz="1200" b="1" dirty="0" err="1">
                <a:solidFill>
                  <a:srgbClr val="FFFFFF"/>
                </a:solidFill>
                <a:latin typeface="Montserrat" panose="00000500000000000000" pitchFamily="2" charset="0"/>
              </a:rPr>
              <a:t>und</a:t>
            </a:r>
            <a:r>
              <a:rPr lang="fr-FR" sz="1200" b="1" dirty="0">
                <a:solidFill>
                  <a:srgbClr val="FFFFFF"/>
                </a:solidFill>
                <a:latin typeface="Montserrat" panose="00000500000000000000" pitchFamily="2" charset="0"/>
              </a:rPr>
              <a:t> </a:t>
            </a:r>
            <a:r>
              <a:rPr lang="fr-FR" sz="1200" b="1" dirty="0" err="1">
                <a:solidFill>
                  <a:srgbClr val="FFFFFF"/>
                </a:solidFill>
                <a:latin typeface="Montserrat" panose="00000500000000000000" pitchFamily="2" charset="0"/>
              </a:rPr>
              <a:t>Anzeige</a:t>
            </a:r>
            <a:endParaRPr lang="en-US" sz="1200" b="1" dirty="0">
              <a:solidFill>
                <a:schemeClr val="bg1"/>
              </a:solidFill>
              <a:latin typeface="Montserrat" panose="00000500000000000000" pitchFamily="2" charset="0"/>
            </a:endParaRPr>
          </a:p>
        </p:txBody>
      </p:sp>
      <p:sp>
        <p:nvSpPr>
          <p:cNvPr id="77" name="Pentagon 21">
            <a:extLst>
              <a:ext uri="{FF2B5EF4-FFF2-40B4-BE49-F238E27FC236}">
                <a16:creationId xmlns:a16="http://schemas.microsoft.com/office/drawing/2014/main" id="{53316CA8-79DC-43C3-BFFD-EC58BF192D8F}"/>
              </a:ext>
            </a:extLst>
          </p:cNvPr>
          <p:cNvSpPr/>
          <p:nvPr/>
        </p:nvSpPr>
        <p:spPr>
          <a:xfrm>
            <a:off x="7321826" y="4274862"/>
            <a:ext cx="2011680" cy="640080"/>
          </a:xfrm>
          <a:prstGeom prst="rect">
            <a:avLst/>
          </a:prstGeom>
          <a:solidFill>
            <a:schemeClr val="accent3"/>
          </a:solidFill>
          <a:ln w="317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dirty="0" err="1">
                <a:solidFill>
                  <a:srgbClr val="FFFFFF"/>
                </a:solidFill>
                <a:latin typeface="Montserrat" panose="00000500000000000000" pitchFamily="2" charset="0"/>
              </a:rPr>
              <a:t>Scanapplikationen</a:t>
            </a:r>
            <a:endParaRPr lang="en-US" sz="1200" b="1" dirty="0">
              <a:solidFill>
                <a:schemeClr val="bg1"/>
              </a:solidFill>
              <a:latin typeface="Montserrat" panose="00000500000000000000" pitchFamily="2" charset="0"/>
            </a:endParaRPr>
          </a:p>
        </p:txBody>
      </p:sp>
      <p:sp>
        <p:nvSpPr>
          <p:cNvPr id="78" name="Pentagon 22">
            <a:extLst>
              <a:ext uri="{FF2B5EF4-FFF2-40B4-BE49-F238E27FC236}">
                <a16:creationId xmlns:a16="http://schemas.microsoft.com/office/drawing/2014/main" id="{FF3B0E8E-E2C5-4E00-9A23-6CC79D945F18}"/>
              </a:ext>
            </a:extLst>
          </p:cNvPr>
          <p:cNvSpPr/>
          <p:nvPr/>
        </p:nvSpPr>
        <p:spPr>
          <a:xfrm>
            <a:off x="5301838" y="4279126"/>
            <a:ext cx="2011680" cy="640080"/>
          </a:xfrm>
          <a:prstGeom prst="rect">
            <a:avLst/>
          </a:prstGeom>
          <a:solidFill>
            <a:schemeClr val="accent1"/>
          </a:solidFill>
          <a:ln w="317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dirty="0">
                <a:solidFill>
                  <a:srgbClr val="FFFFFF"/>
                </a:solidFill>
                <a:latin typeface="Montserrat" panose="00000500000000000000" pitchFamily="2" charset="0"/>
              </a:rPr>
              <a:t>Papier Dokumente</a:t>
            </a:r>
            <a:endParaRPr lang="en-US" sz="1200" b="1" dirty="0">
              <a:solidFill>
                <a:schemeClr val="bg1"/>
              </a:solidFill>
              <a:latin typeface="Montserrat" panose="00000500000000000000" pitchFamily="2" charset="0"/>
            </a:endParaRPr>
          </a:p>
        </p:txBody>
      </p:sp>
      <p:cxnSp>
        <p:nvCxnSpPr>
          <p:cNvPr id="79" name="Straight Arrow Connector 38">
            <a:extLst>
              <a:ext uri="{FF2B5EF4-FFF2-40B4-BE49-F238E27FC236}">
                <a16:creationId xmlns:a16="http://schemas.microsoft.com/office/drawing/2014/main" id="{B608984F-E599-4222-8D1D-A3B883F5451E}"/>
              </a:ext>
            </a:extLst>
          </p:cNvPr>
          <p:cNvCxnSpPr>
            <a:cxnSpLocks/>
          </p:cNvCxnSpPr>
          <p:nvPr/>
        </p:nvCxnSpPr>
        <p:spPr>
          <a:xfrm>
            <a:off x="7313518" y="2310366"/>
            <a:ext cx="0" cy="1964496"/>
          </a:xfrm>
          <a:prstGeom prst="straightConnector1">
            <a:avLst/>
          </a:prstGeom>
          <a:ln w="19050" cap="rnd">
            <a:solidFill>
              <a:srgbClr val="525664"/>
            </a:solidFill>
            <a:prstDash val="sysDash"/>
            <a:round/>
            <a:headEnd type="none" w="lg" len="lg"/>
            <a:tailEnd type="none" w="lg" len="lg"/>
          </a:ln>
        </p:spPr>
        <p:style>
          <a:lnRef idx="1">
            <a:schemeClr val="accent1"/>
          </a:lnRef>
          <a:fillRef idx="0">
            <a:schemeClr val="accent1"/>
          </a:fillRef>
          <a:effectRef idx="0">
            <a:schemeClr val="accent1"/>
          </a:effectRef>
          <a:fontRef idx="minor">
            <a:schemeClr val="tx1"/>
          </a:fontRef>
        </p:style>
      </p:cxnSp>
      <p:cxnSp>
        <p:nvCxnSpPr>
          <p:cNvPr id="80" name="Straight Arrow Connector 38">
            <a:extLst>
              <a:ext uri="{FF2B5EF4-FFF2-40B4-BE49-F238E27FC236}">
                <a16:creationId xmlns:a16="http://schemas.microsoft.com/office/drawing/2014/main" id="{6BA1A41E-3F07-4DE6-B234-5FC01775716B}"/>
              </a:ext>
            </a:extLst>
          </p:cNvPr>
          <p:cNvCxnSpPr>
            <a:cxnSpLocks/>
          </p:cNvCxnSpPr>
          <p:nvPr/>
        </p:nvCxnSpPr>
        <p:spPr>
          <a:xfrm>
            <a:off x="9334057" y="2310366"/>
            <a:ext cx="0" cy="1948163"/>
          </a:xfrm>
          <a:prstGeom prst="straightConnector1">
            <a:avLst/>
          </a:prstGeom>
          <a:ln w="19050" cap="rnd">
            <a:solidFill>
              <a:srgbClr val="525664"/>
            </a:solidFill>
            <a:prstDash val="sysDash"/>
            <a:round/>
            <a:headEnd type="none" w="lg" len="lg"/>
            <a:tailEnd type="none" w="lg" len="lg"/>
          </a:ln>
        </p:spPr>
        <p:style>
          <a:lnRef idx="1">
            <a:schemeClr val="accent1"/>
          </a:lnRef>
          <a:fillRef idx="0">
            <a:schemeClr val="accent1"/>
          </a:fillRef>
          <a:effectRef idx="0">
            <a:schemeClr val="accent1"/>
          </a:effectRef>
          <a:fontRef idx="minor">
            <a:schemeClr val="tx1"/>
          </a:fontRef>
        </p:style>
      </p:cxnSp>
      <p:grpSp>
        <p:nvGrpSpPr>
          <p:cNvPr id="81" name="Group 44">
            <a:extLst>
              <a:ext uri="{FF2B5EF4-FFF2-40B4-BE49-F238E27FC236}">
                <a16:creationId xmlns:a16="http://schemas.microsoft.com/office/drawing/2014/main" id="{1A1D2E62-401E-4406-8ABE-35F66ADDA9D4}"/>
              </a:ext>
            </a:extLst>
          </p:cNvPr>
          <p:cNvGrpSpPr>
            <a:grpSpLocks noChangeAspect="1"/>
          </p:cNvGrpSpPr>
          <p:nvPr/>
        </p:nvGrpSpPr>
        <p:grpSpPr>
          <a:xfrm>
            <a:off x="6152395" y="5038485"/>
            <a:ext cx="348059" cy="360000"/>
            <a:chOff x="2281151" y="2761528"/>
            <a:chExt cx="1657802" cy="1714678"/>
          </a:xfrm>
          <a:solidFill>
            <a:schemeClr val="accent1"/>
          </a:solidFill>
          <a:effectLst>
            <a:outerShdw blurRad="94654" dist="38100" dir="2700000" algn="tl" rotWithShape="0">
              <a:prstClr val="black">
                <a:alpha val="60000"/>
              </a:prstClr>
            </a:outerShdw>
          </a:effectLst>
        </p:grpSpPr>
        <p:sp>
          <p:nvSpPr>
            <p:cNvPr id="82" name="Freeform: Shape 2">
              <a:extLst>
                <a:ext uri="{FF2B5EF4-FFF2-40B4-BE49-F238E27FC236}">
                  <a16:creationId xmlns:a16="http://schemas.microsoft.com/office/drawing/2014/main" id="{BAEF97F9-0916-4086-ACD8-8DBBCA779935}"/>
                </a:ext>
              </a:extLst>
            </p:cNvPr>
            <p:cNvSpPr/>
            <p:nvPr/>
          </p:nvSpPr>
          <p:spPr>
            <a:xfrm>
              <a:off x="2281151" y="3555835"/>
              <a:ext cx="1657802" cy="920371"/>
            </a:xfrm>
            <a:custGeom>
              <a:avLst/>
              <a:gdLst>
                <a:gd name="connsiteX0" fmla="*/ 347165 w 2807077"/>
                <a:gd name="connsiteY0" fmla="*/ 1551769 h 1558421"/>
                <a:gd name="connsiteX1" fmla="*/ 566119 w 2807077"/>
                <a:gd name="connsiteY1" fmla="*/ 1473675 h 1558421"/>
                <a:gd name="connsiteX2" fmla="*/ 1399418 w 2807077"/>
                <a:gd name="connsiteY2" fmla="*/ 794830 h 1558421"/>
                <a:gd name="connsiteX3" fmla="*/ 2240812 w 2807077"/>
                <a:gd name="connsiteY3" fmla="*/ 1480327 h 1558421"/>
                <a:gd name="connsiteX4" fmla="*/ 2459767 w 2807077"/>
                <a:gd name="connsiteY4" fmla="*/ 1558422 h 1558421"/>
                <a:gd name="connsiteX5" fmla="*/ 2729051 w 2807077"/>
                <a:gd name="connsiteY5" fmla="*/ 1430578 h 1558421"/>
                <a:gd name="connsiteX6" fmla="*/ 2679302 w 2807077"/>
                <a:gd name="connsiteY6" fmla="*/ 942342 h 1558421"/>
                <a:gd name="connsiteX7" fmla="*/ 1618661 w 2807077"/>
                <a:gd name="connsiteY7" fmla="*/ 78095 h 1558421"/>
                <a:gd name="connsiteX8" fmla="*/ 1180175 w 2807077"/>
                <a:gd name="connsiteY8" fmla="*/ 78095 h 1558421"/>
                <a:gd name="connsiteX9" fmla="*/ 127922 w 2807077"/>
                <a:gd name="connsiteY9" fmla="*/ 935689 h 1558421"/>
                <a:gd name="connsiteX10" fmla="*/ 77883 w 2807077"/>
                <a:gd name="connsiteY10" fmla="*/ 1423925 h 1558421"/>
                <a:gd name="connsiteX11" fmla="*/ 347165 w 2807077"/>
                <a:gd name="connsiteY11" fmla="*/ 1551769 h 1558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07077" h="1558421">
                  <a:moveTo>
                    <a:pt x="347165" y="1551769"/>
                  </a:moveTo>
                  <a:cubicBezTo>
                    <a:pt x="424103" y="1551769"/>
                    <a:pt x="501908" y="1526313"/>
                    <a:pt x="566119" y="1473675"/>
                  </a:cubicBezTo>
                  <a:lnTo>
                    <a:pt x="1399418" y="794830"/>
                  </a:lnTo>
                  <a:lnTo>
                    <a:pt x="2240812" y="1480327"/>
                  </a:lnTo>
                  <a:cubicBezTo>
                    <a:pt x="2305316" y="1532679"/>
                    <a:pt x="2382832" y="1558422"/>
                    <a:pt x="2459767" y="1558422"/>
                  </a:cubicBezTo>
                  <a:cubicBezTo>
                    <a:pt x="2560422" y="1558422"/>
                    <a:pt x="2660499" y="1514744"/>
                    <a:pt x="2729051" y="1430578"/>
                  </a:cubicBezTo>
                  <a:cubicBezTo>
                    <a:pt x="2850240" y="1281909"/>
                    <a:pt x="2827682" y="1063244"/>
                    <a:pt x="2679302" y="942342"/>
                  </a:cubicBezTo>
                  <a:lnTo>
                    <a:pt x="1618661" y="78095"/>
                  </a:lnTo>
                  <a:cubicBezTo>
                    <a:pt x="1491107" y="-26032"/>
                    <a:pt x="1307729" y="-26032"/>
                    <a:pt x="1180175" y="78095"/>
                  </a:cubicBezTo>
                  <a:lnTo>
                    <a:pt x="127922" y="935689"/>
                  </a:lnTo>
                  <a:cubicBezTo>
                    <a:pt x="-20747" y="1056591"/>
                    <a:pt x="-43019" y="1275253"/>
                    <a:pt x="77883" y="1423925"/>
                  </a:cubicBezTo>
                  <a:cubicBezTo>
                    <a:pt x="146722" y="1508094"/>
                    <a:pt x="246510" y="1551769"/>
                    <a:pt x="347165" y="1551769"/>
                  </a:cubicBezTo>
                  <a:close/>
                </a:path>
              </a:pathLst>
            </a:custGeom>
            <a:solidFill>
              <a:schemeClr val="accent1">
                <a:lumMod val="50000"/>
              </a:schemeClr>
            </a:solidFill>
            <a:ln w="2884" cap="flat">
              <a:noFill/>
              <a:prstDash val="solid"/>
              <a:miter/>
            </a:ln>
          </p:spPr>
          <p:txBody>
            <a:bodyPr rtlCol="0" anchor="ctr"/>
            <a:lstStyle/>
            <a:p>
              <a:endParaRPr lang="id-ID">
                <a:solidFill>
                  <a:schemeClr val="accent1"/>
                </a:solidFill>
                <a:latin typeface="Montserrat" panose="00000500000000000000" pitchFamily="2" charset="0"/>
              </a:endParaRPr>
            </a:p>
          </p:txBody>
        </p:sp>
        <p:sp>
          <p:nvSpPr>
            <p:cNvPr id="83" name="Freeform: Shape 3">
              <a:extLst>
                <a:ext uri="{FF2B5EF4-FFF2-40B4-BE49-F238E27FC236}">
                  <a16:creationId xmlns:a16="http://schemas.microsoft.com/office/drawing/2014/main" id="{5DB51F0D-1EB8-4B85-8B32-431ECB00AC6A}"/>
                </a:ext>
              </a:extLst>
            </p:cNvPr>
            <p:cNvSpPr/>
            <p:nvPr/>
          </p:nvSpPr>
          <p:spPr>
            <a:xfrm>
              <a:off x="2281151" y="2761528"/>
              <a:ext cx="1657802" cy="920374"/>
            </a:xfrm>
            <a:custGeom>
              <a:avLst/>
              <a:gdLst>
                <a:gd name="connsiteX0" fmla="*/ 347165 w 2807077"/>
                <a:gd name="connsiteY0" fmla="*/ 1551769 h 1558421"/>
                <a:gd name="connsiteX1" fmla="*/ 566119 w 2807077"/>
                <a:gd name="connsiteY1" fmla="*/ 1473674 h 1558421"/>
                <a:gd name="connsiteX2" fmla="*/ 1399418 w 2807077"/>
                <a:gd name="connsiteY2" fmla="*/ 794830 h 1558421"/>
                <a:gd name="connsiteX3" fmla="*/ 2240812 w 2807077"/>
                <a:gd name="connsiteY3" fmla="*/ 1480327 h 1558421"/>
                <a:gd name="connsiteX4" fmla="*/ 2459767 w 2807077"/>
                <a:gd name="connsiteY4" fmla="*/ 1558422 h 1558421"/>
                <a:gd name="connsiteX5" fmla="*/ 2729051 w 2807077"/>
                <a:gd name="connsiteY5" fmla="*/ 1430578 h 1558421"/>
                <a:gd name="connsiteX6" fmla="*/ 2679302 w 2807077"/>
                <a:gd name="connsiteY6" fmla="*/ 942342 h 1558421"/>
                <a:gd name="connsiteX7" fmla="*/ 1618661 w 2807077"/>
                <a:gd name="connsiteY7" fmla="*/ 78095 h 1558421"/>
                <a:gd name="connsiteX8" fmla="*/ 1180175 w 2807077"/>
                <a:gd name="connsiteY8" fmla="*/ 78095 h 1558421"/>
                <a:gd name="connsiteX9" fmla="*/ 127922 w 2807077"/>
                <a:gd name="connsiteY9" fmla="*/ 935400 h 1558421"/>
                <a:gd name="connsiteX10" fmla="*/ 77883 w 2807077"/>
                <a:gd name="connsiteY10" fmla="*/ 1423925 h 1558421"/>
                <a:gd name="connsiteX11" fmla="*/ 347165 w 2807077"/>
                <a:gd name="connsiteY11" fmla="*/ 1551769 h 1558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07077" h="1558421">
                  <a:moveTo>
                    <a:pt x="347165" y="1551769"/>
                  </a:moveTo>
                  <a:cubicBezTo>
                    <a:pt x="424103" y="1551769"/>
                    <a:pt x="501908" y="1526316"/>
                    <a:pt x="566119" y="1473674"/>
                  </a:cubicBezTo>
                  <a:lnTo>
                    <a:pt x="1399418" y="794830"/>
                  </a:lnTo>
                  <a:lnTo>
                    <a:pt x="2240812" y="1480327"/>
                  </a:lnTo>
                  <a:cubicBezTo>
                    <a:pt x="2305316" y="1532682"/>
                    <a:pt x="2382832" y="1558422"/>
                    <a:pt x="2459767" y="1558422"/>
                  </a:cubicBezTo>
                  <a:cubicBezTo>
                    <a:pt x="2560422" y="1558422"/>
                    <a:pt x="2660499" y="1514746"/>
                    <a:pt x="2729051" y="1430578"/>
                  </a:cubicBezTo>
                  <a:cubicBezTo>
                    <a:pt x="2850240" y="1281912"/>
                    <a:pt x="2827682" y="1063244"/>
                    <a:pt x="2679302" y="942342"/>
                  </a:cubicBezTo>
                  <a:lnTo>
                    <a:pt x="1618661" y="78095"/>
                  </a:lnTo>
                  <a:cubicBezTo>
                    <a:pt x="1491107" y="-26032"/>
                    <a:pt x="1307729" y="-26032"/>
                    <a:pt x="1180175" y="78095"/>
                  </a:cubicBezTo>
                  <a:lnTo>
                    <a:pt x="127922" y="935400"/>
                  </a:lnTo>
                  <a:cubicBezTo>
                    <a:pt x="-20747" y="1056591"/>
                    <a:pt x="-43019" y="1275256"/>
                    <a:pt x="77883" y="1423925"/>
                  </a:cubicBezTo>
                  <a:cubicBezTo>
                    <a:pt x="146722" y="1508094"/>
                    <a:pt x="246510" y="1551769"/>
                    <a:pt x="347165" y="1551769"/>
                  </a:cubicBezTo>
                  <a:close/>
                </a:path>
              </a:pathLst>
            </a:custGeom>
            <a:solidFill>
              <a:schemeClr val="accent1">
                <a:lumMod val="50000"/>
              </a:schemeClr>
            </a:solidFill>
            <a:ln w="2884" cap="flat">
              <a:noFill/>
              <a:prstDash val="solid"/>
              <a:miter/>
            </a:ln>
          </p:spPr>
          <p:txBody>
            <a:bodyPr rtlCol="0" anchor="ctr"/>
            <a:lstStyle/>
            <a:p>
              <a:endParaRPr lang="id-ID">
                <a:solidFill>
                  <a:schemeClr val="accent1"/>
                </a:solidFill>
                <a:latin typeface="Montserrat" panose="00000500000000000000" pitchFamily="2" charset="0"/>
              </a:endParaRPr>
            </a:p>
          </p:txBody>
        </p:sp>
      </p:grpSp>
      <p:grpSp>
        <p:nvGrpSpPr>
          <p:cNvPr id="84" name="Group 48">
            <a:extLst>
              <a:ext uri="{FF2B5EF4-FFF2-40B4-BE49-F238E27FC236}">
                <a16:creationId xmlns:a16="http://schemas.microsoft.com/office/drawing/2014/main" id="{A9EF1573-0628-4151-B5DD-19D279B10407}"/>
              </a:ext>
            </a:extLst>
          </p:cNvPr>
          <p:cNvGrpSpPr>
            <a:grpSpLocks noChangeAspect="1"/>
          </p:cNvGrpSpPr>
          <p:nvPr/>
        </p:nvGrpSpPr>
        <p:grpSpPr>
          <a:xfrm>
            <a:off x="8172980" y="5038485"/>
            <a:ext cx="348059" cy="360000"/>
            <a:chOff x="2281151" y="2761528"/>
            <a:chExt cx="1657802" cy="1714678"/>
          </a:xfrm>
          <a:solidFill>
            <a:schemeClr val="accent1"/>
          </a:solidFill>
          <a:effectLst>
            <a:outerShdw blurRad="94654" dist="38100" dir="2700000" algn="tl" rotWithShape="0">
              <a:prstClr val="black">
                <a:alpha val="60000"/>
              </a:prstClr>
            </a:outerShdw>
          </a:effectLst>
        </p:grpSpPr>
        <p:sp>
          <p:nvSpPr>
            <p:cNvPr id="85" name="Freeform: Shape 2">
              <a:extLst>
                <a:ext uri="{FF2B5EF4-FFF2-40B4-BE49-F238E27FC236}">
                  <a16:creationId xmlns:a16="http://schemas.microsoft.com/office/drawing/2014/main" id="{F2796F7B-0318-4DA3-AB7D-43CE36ABB299}"/>
                </a:ext>
              </a:extLst>
            </p:cNvPr>
            <p:cNvSpPr/>
            <p:nvPr/>
          </p:nvSpPr>
          <p:spPr>
            <a:xfrm>
              <a:off x="2281151" y="3555835"/>
              <a:ext cx="1657802" cy="920371"/>
            </a:xfrm>
            <a:custGeom>
              <a:avLst/>
              <a:gdLst>
                <a:gd name="connsiteX0" fmla="*/ 347165 w 2807077"/>
                <a:gd name="connsiteY0" fmla="*/ 1551769 h 1558421"/>
                <a:gd name="connsiteX1" fmla="*/ 566119 w 2807077"/>
                <a:gd name="connsiteY1" fmla="*/ 1473675 h 1558421"/>
                <a:gd name="connsiteX2" fmla="*/ 1399418 w 2807077"/>
                <a:gd name="connsiteY2" fmla="*/ 794830 h 1558421"/>
                <a:gd name="connsiteX3" fmla="*/ 2240812 w 2807077"/>
                <a:gd name="connsiteY3" fmla="*/ 1480327 h 1558421"/>
                <a:gd name="connsiteX4" fmla="*/ 2459767 w 2807077"/>
                <a:gd name="connsiteY4" fmla="*/ 1558422 h 1558421"/>
                <a:gd name="connsiteX5" fmla="*/ 2729051 w 2807077"/>
                <a:gd name="connsiteY5" fmla="*/ 1430578 h 1558421"/>
                <a:gd name="connsiteX6" fmla="*/ 2679302 w 2807077"/>
                <a:gd name="connsiteY6" fmla="*/ 942342 h 1558421"/>
                <a:gd name="connsiteX7" fmla="*/ 1618661 w 2807077"/>
                <a:gd name="connsiteY7" fmla="*/ 78095 h 1558421"/>
                <a:gd name="connsiteX8" fmla="*/ 1180175 w 2807077"/>
                <a:gd name="connsiteY8" fmla="*/ 78095 h 1558421"/>
                <a:gd name="connsiteX9" fmla="*/ 127922 w 2807077"/>
                <a:gd name="connsiteY9" fmla="*/ 935689 h 1558421"/>
                <a:gd name="connsiteX10" fmla="*/ 77883 w 2807077"/>
                <a:gd name="connsiteY10" fmla="*/ 1423925 h 1558421"/>
                <a:gd name="connsiteX11" fmla="*/ 347165 w 2807077"/>
                <a:gd name="connsiteY11" fmla="*/ 1551769 h 1558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07077" h="1558421">
                  <a:moveTo>
                    <a:pt x="347165" y="1551769"/>
                  </a:moveTo>
                  <a:cubicBezTo>
                    <a:pt x="424103" y="1551769"/>
                    <a:pt x="501908" y="1526313"/>
                    <a:pt x="566119" y="1473675"/>
                  </a:cubicBezTo>
                  <a:lnTo>
                    <a:pt x="1399418" y="794830"/>
                  </a:lnTo>
                  <a:lnTo>
                    <a:pt x="2240812" y="1480327"/>
                  </a:lnTo>
                  <a:cubicBezTo>
                    <a:pt x="2305316" y="1532679"/>
                    <a:pt x="2382832" y="1558422"/>
                    <a:pt x="2459767" y="1558422"/>
                  </a:cubicBezTo>
                  <a:cubicBezTo>
                    <a:pt x="2560422" y="1558422"/>
                    <a:pt x="2660499" y="1514744"/>
                    <a:pt x="2729051" y="1430578"/>
                  </a:cubicBezTo>
                  <a:cubicBezTo>
                    <a:pt x="2850240" y="1281909"/>
                    <a:pt x="2827682" y="1063244"/>
                    <a:pt x="2679302" y="942342"/>
                  </a:cubicBezTo>
                  <a:lnTo>
                    <a:pt x="1618661" y="78095"/>
                  </a:lnTo>
                  <a:cubicBezTo>
                    <a:pt x="1491107" y="-26032"/>
                    <a:pt x="1307729" y="-26032"/>
                    <a:pt x="1180175" y="78095"/>
                  </a:cubicBezTo>
                  <a:lnTo>
                    <a:pt x="127922" y="935689"/>
                  </a:lnTo>
                  <a:cubicBezTo>
                    <a:pt x="-20747" y="1056591"/>
                    <a:pt x="-43019" y="1275253"/>
                    <a:pt x="77883" y="1423925"/>
                  </a:cubicBezTo>
                  <a:cubicBezTo>
                    <a:pt x="146722" y="1508094"/>
                    <a:pt x="246510" y="1551769"/>
                    <a:pt x="347165" y="1551769"/>
                  </a:cubicBezTo>
                  <a:close/>
                </a:path>
              </a:pathLst>
            </a:custGeom>
            <a:solidFill>
              <a:schemeClr val="accent1">
                <a:lumMod val="50000"/>
              </a:schemeClr>
            </a:solidFill>
            <a:ln w="2884" cap="flat">
              <a:noFill/>
              <a:prstDash val="solid"/>
              <a:miter/>
            </a:ln>
          </p:spPr>
          <p:txBody>
            <a:bodyPr rtlCol="0" anchor="ctr"/>
            <a:lstStyle/>
            <a:p>
              <a:endParaRPr lang="id-ID">
                <a:solidFill>
                  <a:schemeClr val="accent1"/>
                </a:solidFill>
                <a:latin typeface="Montserrat" panose="00000500000000000000" pitchFamily="2" charset="0"/>
              </a:endParaRPr>
            </a:p>
          </p:txBody>
        </p:sp>
        <p:sp>
          <p:nvSpPr>
            <p:cNvPr id="86" name="Freeform: Shape 3">
              <a:extLst>
                <a:ext uri="{FF2B5EF4-FFF2-40B4-BE49-F238E27FC236}">
                  <a16:creationId xmlns:a16="http://schemas.microsoft.com/office/drawing/2014/main" id="{DC89F6C3-0C3A-418D-A404-FCD85F7D484A}"/>
                </a:ext>
              </a:extLst>
            </p:cNvPr>
            <p:cNvSpPr/>
            <p:nvPr/>
          </p:nvSpPr>
          <p:spPr>
            <a:xfrm>
              <a:off x="2281151" y="2761528"/>
              <a:ext cx="1657802" cy="920374"/>
            </a:xfrm>
            <a:custGeom>
              <a:avLst/>
              <a:gdLst>
                <a:gd name="connsiteX0" fmla="*/ 347165 w 2807077"/>
                <a:gd name="connsiteY0" fmla="*/ 1551769 h 1558421"/>
                <a:gd name="connsiteX1" fmla="*/ 566119 w 2807077"/>
                <a:gd name="connsiteY1" fmla="*/ 1473674 h 1558421"/>
                <a:gd name="connsiteX2" fmla="*/ 1399418 w 2807077"/>
                <a:gd name="connsiteY2" fmla="*/ 794830 h 1558421"/>
                <a:gd name="connsiteX3" fmla="*/ 2240812 w 2807077"/>
                <a:gd name="connsiteY3" fmla="*/ 1480327 h 1558421"/>
                <a:gd name="connsiteX4" fmla="*/ 2459767 w 2807077"/>
                <a:gd name="connsiteY4" fmla="*/ 1558422 h 1558421"/>
                <a:gd name="connsiteX5" fmla="*/ 2729051 w 2807077"/>
                <a:gd name="connsiteY5" fmla="*/ 1430578 h 1558421"/>
                <a:gd name="connsiteX6" fmla="*/ 2679302 w 2807077"/>
                <a:gd name="connsiteY6" fmla="*/ 942342 h 1558421"/>
                <a:gd name="connsiteX7" fmla="*/ 1618661 w 2807077"/>
                <a:gd name="connsiteY7" fmla="*/ 78095 h 1558421"/>
                <a:gd name="connsiteX8" fmla="*/ 1180175 w 2807077"/>
                <a:gd name="connsiteY8" fmla="*/ 78095 h 1558421"/>
                <a:gd name="connsiteX9" fmla="*/ 127922 w 2807077"/>
                <a:gd name="connsiteY9" fmla="*/ 935400 h 1558421"/>
                <a:gd name="connsiteX10" fmla="*/ 77883 w 2807077"/>
                <a:gd name="connsiteY10" fmla="*/ 1423925 h 1558421"/>
                <a:gd name="connsiteX11" fmla="*/ 347165 w 2807077"/>
                <a:gd name="connsiteY11" fmla="*/ 1551769 h 1558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07077" h="1558421">
                  <a:moveTo>
                    <a:pt x="347165" y="1551769"/>
                  </a:moveTo>
                  <a:cubicBezTo>
                    <a:pt x="424103" y="1551769"/>
                    <a:pt x="501908" y="1526316"/>
                    <a:pt x="566119" y="1473674"/>
                  </a:cubicBezTo>
                  <a:lnTo>
                    <a:pt x="1399418" y="794830"/>
                  </a:lnTo>
                  <a:lnTo>
                    <a:pt x="2240812" y="1480327"/>
                  </a:lnTo>
                  <a:cubicBezTo>
                    <a:pt x="2305316" y="1532682"/>
                    <a:pt x="2382832" y="1558422"/>
                    <a:pt x="2459767" y="1558422"/>
                  </a:cubicBezTo>
                  <a:cubicBezTo>
                    <a:pt x="2560422" y="1558422"/>
                    <a:pt x="2660499" y="1514746"/>
                    <a:pt x="2729051" y="1430578"/>
                  </a:cubicBezTo>
                  <a:cubicBezTo>
                    <a:pt x="2850240" y="1281912"/>
                    <a:pt x="2827682" y="1063244"/>
                    <a:pt x="2679302" y="942342"/>
                  </a:cubicBezTo>
                  <a:lnTo>
                    <a:pt x="1618661" y="78095"/>
                  </a:lnTo>
                  <a:cubicBezTo>
                    <a:pt x="1491107" y="-26032"/>
                    <a:pt x="1307729" y="-26032"/>
                    <a:pt x="1180175" y="78095"/>
                  </a:cubicBezTo>
                  <a:lnTo>
                    <a:pt x="127922" y="935400"/>
                  </a:lnTo>
                  <a:cubicBezTo>
                    <a:pt x="-20747" y="1056591"/>
                    <a:pt x="-43019" y="1275256"/>
                    <a:pt x="77883" y="1423925"/>
                  </a:cubicBezTo>
                  <a:cubicBezTo>
                    <a:pt x="146722" y="1508094"/>
                    <a:pt x="246510" y="1551769"/>
                    <a:pt x="347165" y="1551769"/>
                  </a:cubicBezTo>
                  <a:close/>
                </a:path>
              </a:pathLst>
            </a:custGeom>
            <a:solidFill>
              <a:schemeClr val="accent1">
                <a:lumMod val="50000"/>
              </a:schemeClr>
            </a:solidFill>
            <a:ln w="2884" cap="flat">
              <a:noFill/>
              <a:prstDash val="solid"/>
              <a:miter/>
            </a:ln>
          </p:spPr>
          <p:txBody>
            <a:bodyPr rtlCol="0" anchor="ctr"/>
            <a:lstStyle/>
            <a:p>
              <a:endParaRPr lang="id-ID">
                <a:solidFill>
                  <a:schemeClr val="accent1"/>
                </a:solidFill>
                <a:latin typeface="Montserrat" panose="00000500000000000000" pitchFamily="2" charset="0"/>
              </a:endParaRPr>
            </a:p>
          </p:txBody>
        </p:sp>
      </p:grpSp>
      <p:grpSp>
        <p:nvGrpSpPr>
          <p:cNvPr id="87" name="Group 52">
            <a:extLst>
              <a:ext uri="{FF2B5EF4-FFF2-40B4-BE49-F238E27FC236}">
                <a16:creationId xmlns:a16="http://schemas.microsoft.com/office/drawing/2014/main" id="{FA283277-0396-45A1-8B0A-B7793D192DA2}"/>
              </a:ext>
            </a:extLst>
          </p:cNvPr>
          <p:cNvGrpSpPr>
            <a:grpSpLocks noChangeAspect="1"/>
          </p:cNvGrpSpPr>
          <p:nvPr/>
        </p:nvGrpSpPr>
        <p:grpSpPr>
          <a:xfrm>
            <a:off x="10193565" y="5038485"/>
            <a:ext cx="348059" cy="360000"/>
            <a:chOff x="2281151" y="2761528"/>
            <a:chExt cx="1657802" cy="1714678"/>
          </a:xfrm>
          <a:solidFill>
            <a:schemeClr val="accent1"/>
          </a:solidFill>
          <a:effectLst>
            <a:outerShdw blurRad="94654" dist="38100" dir="2700000" algn="tl" rotWithShape="0">
              <a:prstClr val="black">
                <a:alpha val="60000"/>
              </a:prstClr>
            </a:outerShdw>
          </a:effectLst>
        </p:grpSpPr>
        <p:sp>
          <p:nvSpPr>
            <p:cNvPr id="88" name="Freeform: Shape 2">
              <a:extLst>
                <a:ext uri="{FF2B5EF4-FFF2-40B4-BE49-F238E27FC236}">
                  <a16:creationId xmlns:a16="http://schemas.microsoft.com/office/drawing/2014/main" id="{6619F00A-5814-4FA5-8972-E444884D0F7B}"/>
                </a:ext>
              </a:extLst>
            </p:cNvPr>
            <p:cNvSpPr/>
            <p:nvPr/>
          </p:nvSpPr>
          <p:spPr>
            <a:xfrm>
              <a:off x="2281151" y="3555835"/>
              <a:ext cx="1657802" cy="920371"/>
            </a:xfrm>
            <a:custGeom>
              <a:avLst/>
              <a:gdLst>
                <a:gd name="connsiteX0" fmla="*/ 347165 w 2807077"/>
                <a:gd name="connsiteY0" fmla="*/ 1551769 h 1558421"/>
                <a:gd name="connsiteX1" fmla="*/ 566119 w 2807077"/>
                <a:gd name="connsiteY1" fmla="*/ 1473675 h 1558421"/>
                <a:gd name="connsiteX2" fmla="*/ 1399418 w 2807077"/>
                <a:gd name="connsiteY2" fmla="*/ 794830 h 1558421"/>
                <a:gd name="connsiteX3" fmla="*/ 2240812 w 2807077"/>
                <a:gd name="connsiteY3" fmla="*/ 1480327 h 1558421"/>
                <a:gd name="connsiteX4" fmla="*/ 2459767 w 2807077"/>
                <a:gd name="connsiteY4" fmla="*/ 1558422 h 1558421"/>
                <a:gd name="connsiteX5" fmla="*/ 2729051 w 2807077"/>
                <a:gd name="connsiteY5" fmla="*/ 1430578 h 1558421"/>
                <a:gd name="connsiteX6" fmla="*/ 2679302 w 2807077"/>
                <a:gd name="connsiteY6" fmla="*/ 942342 h 1558421"/>
                <a:gd name="connsiteX7" fmla="*/ 1618661 w 2807077"/>
                <a:gd name="connsiteY7" fmla="*/ 78095 h 1558421"/>
                <a:gd name="connsiteX8" fmla="*/ 1180175 w 2807077"/>
                <a:gd name="connsiteY8" fmla="*/ 78095 h 1558421"/>
                <a:gd name="connsiteX9" fmla="*/ 127922 w 2807077"/>
                <a:gd name="connsiteY9" fmla="*/ 935689 h 1558421"/>
                <a:gd name="connsiteX10" fmla="*/ 77883 w 2807077"/>
                <a:gd name="connsiteY10" fmla="*/ 1423925 h 1558421"/>
                <a:gd name="connsiteX11" fmla="*/ 347165 w 2807077"/>
                <a:gd name="connsiteY11" fmla="*/ 1551769 h 1558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07077" h="1558421">
                  <a:moveTo>
                    <a:pt x="347165" y="1551769"/>
                  </a:moveTo>
                  <a:cubicBezTo>
                    <a:pt x="424103" y="1551769"/>
                    <a:pt x="501908" y="1526313"/>
                    <a:pt x="566119" y="1473675"/>
                  </a:cubicBezTo>
                  <a:lnTo>
                    <a:pt x="1399418" y="794830"/>
                  </a:lnTo>
                  <a:lnTo>
                    <a:pt x="2240812" y="1480327"/>
                  </a:lnTo>
                  <a:cubicBezTo>
                    <a:pt x="2305316" y="1532679"/>
                    <a:pt x="2382832" y="1558422"/>
                    <a:pt x="2459767" y="1558422"/>
                  </a:cubicBezTo>
                  <a:cubicBezTo>
                    <a:pt x="2560422" y="1558422"/>
                    <a:pt x="2660499" y="1514744"/>
                    <a:pt x="2729051" y="1430578"/>
                  </a:cubicBezTo>
                  <a:cubicBezTo>
                    <a:pt x="2850240" y="1281909"/>
                    <a:pt x="2827682" y="1063244"/>
                    <a:pt x="2679302" y="942342"/>
                  </a:cubicBezTo>
                  <a:lnTo>
                    <a:pt x="1618661" y="78095"/>
                  </a:lnTo>
                  <a:cubicBezTo>
                    <a:pt x="1491107" y="-26032"/>
                    <a:pt x="1307729" y="-26032"/>
                    <a:pt x="1180175" y="78095"/>
                  </a:cubicBezTo>
                  <a:lnTo>
                    <a:pt x="127922" y="935689"/>
                  </a:lnTo>
                  <a:cubicBezTo>
                    <a:pt x="-20747" y="1056591"/>
                    <a:pt x="-43019" y="1275253"/>
                    <a:pt x="77883" y="1423925"/>
                  </a:cubicBezTo>
                  <a:cubicBezTo>
                    <a:pt x="146722" y="1508094"/>
                    <a:pt x="246510" y="1551769"/>
                    <a:pt x="347165" y="1551769"/>
                  </a:cubicBezTo>
                  <a:close/>
                </a:path>
              </a:pathLst>
            </a:custGeom>
            <a:solidFill>
              <a:schemeClr val="accent1">
                <a:lumMod val="50000"/>
              </a:schemeClr>
            </a:solidFill>
            <a:ln w="2884" cap="flat">
              <a:noFill/>
              <a:prstDash val="solid"/>
              <a:miter/>
            </a:ln>
          </p:spPr>
          <p:txBody>
            <a:bodyPr rtlCol="0" anchor="ctr"/>
            <a:lstStyle/>
            <a:p>
              <a:endParaRPr lang="id-ID">
                <a:solidFill>
                  <a:schemeClr val="accent1"/>
                </a:solidFill>
                <a:latin typeface="Montserrat" panose="00000500000000000000" pitchFamily="2" charset="0"/>
              </a:endParaRPr>
            </a:p>
          </p:txBody>
        </p:sp>
        <p:sp>
          <p:nvSpPr>
            <p:cNvPr id="89" name="Freeform: Shape 3">
              <a:extLst>
                <a:ext uri="{FF2B5EF4-FFF2-40B4-BE49-F238E27FC236}">
                  <a16:creationId xmlns:a16="http://schemas.microsoft.com/office/drawing/2014/main" id="{6F682B35-B3D7-4E5E-970C-56282C203E9B}"/>
                </a:ext>
              </a:extLst>
            </p:cNvPr>
            <p:cNvSpPr/>
            <p:nvPr/>
          </p:nvSpPr>
          <p:spPr>
            <a:xfrm>
              <a:off x="2281151" y="2761528"/>
              <a:ext cx="1657802" cy="920374"/>
            </a:xfrm>
            <a:custGeom>
              <a:avLst/>
              <a:gdLst>
                <a:gd name="connsiteX0" fmla="*/ 347165 w 2807077"/>
                <a:gd name="connsiteY0" fmla="*/ 1551769 h 1558421"/>
                <a:gd name="connsiteX1" fmla="*/ 566119 w 2807077"/>
                <a:gd name="connsiteY1" fmla="*/ 1473674 h 1558421"/>
                <a:gd name="connsiteX2" fmla="*/ 1399418 w 2807077"/>
                <a:gd name="connsiteY2" fmla="*/ 794830 h 1558421"/>
                <a:gd name="connsiteX3" fmla="*/ 2240812 w 2807077"/>
                <a:gd name="connsiteY3" fmla="*/ 1480327 h 1558421"/>
                <a:gd name="connsiteX4" fmla="*/ 2459767 w 2807077"/>
                <a:gd name="connsiteY4" fmla="*/ 1558422 h 1558421"/>
                <a:gd name="connsiteX5" fmla="*/ 2729051 w 2807077"/>
                <a:gd name="connsiteY5" fmla="*/ 1430578 h 1558421"/>
                <a:gd name="connsiteX6" fmla="*/ 2679302 w 2807077"/>
                <a:gd name="connsiteY6" fmla="*/ 942342 h 1558421"/>
                <a:gd name="connsiteX7" fmla="*/ 1618661 w 2807077"/>
                <a:gd name="connsiteY7" fmla="*/ 78095 h 1558421"/>
                <a:gd name="connsiteX8" fmla="*/ 1180175 w 2807077"/>
                <a:gd name="connsiteY8" fmla="*/ 78095 h 1558421"/>
                <a:gd name="connsiteX9" fmla="*/ 127922 w 2807077"/>
                <a:gd name="connsiteY9" fmla="*/ 935400 h 1558421"/>
                <a:gd name="connsiteX10" fmla="*/ 77883 w 2807077"/>
                <a:gd name="connsiteY10" fmla="*/ 1423925 h 1558421"/>
                <a:gd name="connsiteX11" fmla="*/ 347165 w 2807077"/>
                <a:gd name="connsiteY11" fmla="*/ 1551769 h 1558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07077" h="1558421">
                  <a:moveTo>
                    <a:pt x="347165" y="1551769"/>
                  </a:moveTo>
                  <a:cubicBezTo>
                    <a:pt x="424103" y="1551769"/>
                    <a:pt x="501908" y="1526316"/>
                    <a:pt x="566119" y="1473674"/>
                  </a:cubicBezTo>
                  <a:lnTo>
                    <a:pt x="1399418" y="794830"/>
                  </a:lnTo>
                  <a:lnTo>
                    <a:pt x="2240812" y="1480327"/>
                  </a:lnTo>
                  <a:cubicBezTo>
                    <a:pt x="2305316" y="1532682"/>
                    <a:pt x="2382832" y="1558422"/>
                    <a:pt x="2459767" y="1558422"/>
                  </a:cubicBezTo>
                  <a:cubicBezTo>
                    <a:pt x="2560422" y="1558422"/>
                    <a:pt x="2660499" y="1514746"/>
                    <a:pt x="2729051" y="1430578"/>
                  </a:cubicBezTo>
                  <a:cubicBezTo>
                    <a:pt x="2850240" y="1281912"/>
                    <a:pt x="2827682" y="1063244"/>
                    <a:pt x="2679302" y="942342"/>
                  </a:cubicBezTo>
                  <a:lnTo>
                    <a:pt x="1618661" y="78095"/>
                  </a:lnTo>
                  <a:cubicBezTo>
                    <a:pt x="1491107" y="-26032"/>
                    <a:pt x="1307729" y="-26032"/>
                    <a:pt x="1180175" y="78095"/>
                  </a:cubicBezTo>
                  <a:lnTo>
                    <a:pt x="127922" y="935400"/>
                  </a:lnTo>
                  <a:cubicBezTo>
                    <a:pt x="-20747" y="1056591"/>
                    <a:pt x="-43019" y="1275256"/>
                    <a:pt x="77883" y="1423925"/>
                  </a:cubicBezTo>
                  <a:cubicBezTo>
                    <a:pt x="146722" y="1508094"/>
                    <a:pt x="246510" y="1551769"/>
                    <a:pt x="347165" y="1551769"/>
                  </a:cubicBezTo>
                  <a:close/>
                </a:path>
              </a:pathLst>
            </a:custGeom>
            <a:solidFill>
              <a:schemeClr val="accent1">
                <a:lumMod val="50000"/>
              </a:schemeClr>
            </a:solidFill>
            <a:ln w="2884" cap="flat">
              <a:noFill/>
              <a:prstDash val="solid"/>
              <a:miter/>
            </a:ln>
          </p:spPr>
          <p:txBody>
            <a:bodyPr rtlCol="0" anchor="ctr"/>
            <a:lstStyle/>
            <a:p>
              <a:endParaRPr lang="id-ID">
                <a:solidFill>
                  <a:schemeClr val="accent1"/>
                </a:solidFill>
                <a:latin typeface="Montserrat" panose="00000500000000000000" pitchFamily="2" charset="0"/>
              </a:endParaRPr>
            </a:p>
          </p:txBody>
        </p:sp>
      </p:grpSp>
      <p:grpSp>
        <p:nvGrpSpPr>
          <p:cNvPr id="90" name="Group 31">
            <a:extLst>
              <a:ext uri="{FF2B5EF4-FFF2-40B4-BE49-F238E27FC236}">
                <a16:creationId xmlns:a16="http://schemas.microsoft.com/office/drawing/2014/main" id="{15124871-2A75-4983-BA05-93B7249535C3}"/>
              </a:ext>
            </a:extLst>
          </p:cNvPr>
          <p:cNvGrpSpPr/>
          <p:nvPr/>
        </p:nvGrpSpPr>
        <p:grpSpPr>
          <a:xfrm>
            <a:off x="5345412" y="3456809"/>
            <a:ext cx="1920240" cy="640080"/>
            <a:chOff x="3081071" y="3505256"/>
            <a:chExt cx="1920240" cy="640080"/>
          </a:xfrm>
        </p:grpSpPr>
        <p:sp>
          <p:nvSpPr>
            <p:cNvPr id="91" name="TextBox 76">
              <a:extLst>
                <a:ext uri="{FF2B5EF4-FFF2-40B4-BE49-F238E27FC236}">
                  <a16:creationId xmlns:a16="http://schemas.microsoft.com/office/drawing/2014/main" id="{95D1DD72-43D9-4AFE-BD9F-949DD6589487}"/>
                </a:ext>
              </a:extLst>
            </p:cNvPr>
            <p:cNvSpPr txBox="1"/>
            <p:nvPr/>
          </p:nvSpPr>
          <p:spPr>
            <a:xfrm>
              <a:off x="4039037" y="3756796"/>
              <a:ext cx="65" cy="184666"/>
            </a:xfrm>
            <a:prstGeom prst="rect">
              <a:avLst/>
            </a:prstGeom>
            <a:noFill/>
          </p:spPr>
          <p:txBody>
            <a:bodyPr wrap="none" lIns="0" tIns="0" rIns="0" bIns="0" rtlCol="0" anchor="ctr">
              <a:spAutoFit/>
            </a:bodyPr>
            <a:lstStyle/>
            <a:p>
              <a:pPr algn="ctr"/>
              <a:endParaRPr lang="vi-VN" sz="1200" b="1" spc="40">
                <a:solidFill>
                  <a:schemeClr val="accent1"/>
                </a:solidFill>
                <a:latin typeface="Montserrat" panose="00000500000000000000" pitchFamily="2" charset="0"/>
                <a:cs typeface="Poppins" panose="00000500000000000000" pitchFamily="2" charset="0"/>
              </a:endParaRPr>
            </a:p>
          </p:txBody>
        </p:sp>
        <p:sp>
          <p:nvSpPr>
            <p:cNvPr id="92" name="Pentagon 23">
              <a:extLst>
                <a:ext uri="{FF2B5EF4-FFF2-40B4-BE49-F238E27FC236}">
                  <a16:creationId xmlns:a16="http://schemas.microsoft.com/office/drawing/2014/main" id="{36A1FCAA-4A2B-4BD0-8A82-EACB82B5DD46}"/>
                </a:ext>
              </a:extLst>
            </p:cNvPr>
            <p:cNvSpPr/>
            <p:nvPr/>
          </p:nvSpPr>
          <p:spPr>
            <a:xfrm>
              <a:off x="3081071" y="3505256"/>
              <a:ext cx="1920240" cy="640080"/>
            </a:xfrm>
            <a:prstGeom prst="roundRect">
              <a:avLst/>
            </a:prstGeom>
            <a:noFill/>
            <a:ln w="19050">
              <a:gradFill>
                <a:gsLst>
                  <a:gs pos="0">
                    <a:schemeClr val="accent4"/>
                  </a:gs>
                  <a:gs pos="69000">
                    <a:schemeClr val="accent6"/>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a:solidFill>
                  <a:schemeClr val="accent1"/>
                </a:solidFill>
                <a:latin typeface="Montserrat" panose="00000500000000000000" pitchFamily="2" charset="0"/>
              </a:endParaRPr>
            </a:p>
          </p:txBody>
        </p:sp>
      </p:grpSp>
      <p:sp>
        <p:nvSpPr>
          <p:cNvPr id="93" name="Pentagon 23">
            <a:extLst>
              <a:ext uri="{FF2B5EF4-FFF2-40B4-BE49-F238E27FC236}">
                <a16:creationId xmlns:a16="http://schemas.microsoft.com/office/drawing/2014/main" id="{4B627390-D600-4EE9-8304-875DFEAB64A4}"/>
              </a:ext>
            </a:extLst>
          </p:cNvPr>
          <p:cNvSpPr/>
          <p:nvPr/>
        </p:nvSpPr>
        <p:spPr>
          <a:xfrm>
            <a:off x="7357506" y="3460324"/>
            <a:ext cx="1920240" cy="640080"/>
          </a:xfrm>
          <a:prstGeom prst="roundRect">
            <a:avLst/>
          </a:prstGeom>
          <a:noFill/>
          <a:ln w="19050">
            <a:gradFill>
              <a:gsLst>
                <a:gs pos="0">
                  <a:schemeClr val="accent4"/>
                </a:gs>
                <a:gs pos="69000">
                  <a:schemeClr val="accent6"/>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a:solidFill>
                <a:schemeClr val="accent1"/>
              </a:solidFill>
              <a:latin typeface="Montserrat" panose="00000500000000000000" pitchFamily="2" charset="0"/>
            </a:endParaRPr>
          </a:p>
        </p:txBody>
      </p:sp>
      <p:sp>
        <p:nvSpPr>
          <p:cNvPr id="94" name="Pentagon 23">
            <a:extLst>
              <a:ext uri="{FF2B5EF4-FFF2-40B4-BE49-F238E27FC236}">
                <a16:creationId xmlns:a16="http://schemas.microsoft.com/office/drawing/2014/main" id="{EDCE06D6-3038-46F0-AEB3-B425641CAB71}"/>
              </a:ext>
            </a:extLst>
          </p:cNvPr>
          <p:cNvSpPr/>
          <p:nvPr/>
        </p:nvSpPr>
        <p:spPr>
          <a:xfrm>
            <a:off x="9376994" y="3457780"/>
            <a:ext cx="1920240" cy="640080"/>
          </a:xfrm>
          <a:prstGeom prst="roundRect">
            <a:avLst/>
          </a:prstGeom>
          <a:noFill/>
          <a:ln w="19050">
            <a:gradFill>
              <a:gsLst>
                <a:gs pos="0">
                  <a:schemeClr val="accent4"/>
                </a:gs>
                <a:gs pos="69000">
                  <a:schemeClr val="accent6"/>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a:solidFill>
                <a:schemeClr val="accent1"/>
              </a:solidFill>
              <a:latin typeface="Montserrat" panose="00000500000000000000" pitchFamily="2" charset="0"/>
            </a:endParaRPr>
          </a:p>
        </p:txBody>
      </p:sp>
      <p:sp>
        <p:nvSpPr>
          <p:cNvPr id="95" name="Oval 38">
            <a:extLst>
              <a:ext uri="{FF2B5EF4-FFF2-40B4-BE49-F238E27FC236}">
                <a16:creationId xmlns:a16="http://schemas.microsoft.com/office/drawing/2014/main" id="{36DAB230-ECD9-4698-935A-47D851AE7CF0}"/>
              </a:ext>
            </a:extLst>
          </p:cNvPr>
          <p:cNvSpPr>
            <a:spLocks noChangeAspect="1"/>
          </p:cNvSpPr>
          <p:nvPr/>
        </p:nvSpPr>
        <p:spPr>
          <a:xfrm>
            <a:off x="5948426" y="5517764"/>
            <a:ext cx="756000" cy="756000"/>
          </a:xfrm>
          <a:prstGeom prst="ellipse">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598">
              <a:solidFill>
                <a:schemeClr val="accent1"/>
              </a:solidFill>
              <a:latin typeface="Montserrat" panose="00000500000000000000" pitchFamily="2" charset="0"/>
            </a:endParaRPr>
          </a:p>
        </p:txBody>
      </p:sp>
      <p:sp>
        <p:nvSpPr>
          <p:cNvPr id="96" name="Oval 40">
            <a:extLst>
              <a:ext uri="{FF2B5EF4-FFF2-40B4-BE49-F238E27FC236}">
                <a16:creationId xmlns:a16="http://schemas.microsoft.com/office/drawing/2014/main" id="{ACB0F17C-DC0E-4447-A3C1-C725E83F23A6}"/>
              </a:ext>
            </a:extLst>
          </p:cNvPr>
          <p:cNvSpPr>
            <a:spLocks noChangeAspect="1"/>
          </p:cNvSpPr>
          <p:nvPr/>
        </p:nvSpPr>
        <p:spPr>
          <a:xfrm>
            <a:off x="9998904" y="5504311"/>
            <a:ext cx="756000" cy="756000"/>
          </a:xfrm>
          <a:prstGeom prst="ellipse">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598">
              <a:solidFill>
                <a:schemeClr val="accent1"/>
              </a:solidFill>
              <a:latin typeface="Montserrat" panose="00000500000000000000" pitchFamily="2" charset="0"/>
            </a:endParaRPr>
          </a:p>
        </p:txBody>
      </p:sp>
      <p:sp>
        <p:nvSpPr>
          <p:cNvPr id="97" name="Oval 39">
            <a:extLst>
              <a:ext uri="{FF2B5EF4-FFF2-40B4-BE49-F238E27FC236}">
                <a16:creationId xmlns:a16="http://schemas.microsoft.com/office/drawing/2014/main" id="{4A91DA03-912A-490B-B2A5-C32A6B65BD39}"/>
              </a:ext>
            </a:extLst>
          </p:cNvPr>
          <p:cNvSpPr>
            <a:spLocks noChangeAspect="1"/>
          </p:cNvSpPr>
          <p:nvPr/>
        </p:nvSpPr>
        <p:spPr>
          <a:xfrm>
            <a:off x="7982341" y="5517764"/>
            <a:ext cx="756000" cy="756000"/>
          </a:xfrm>
          <a:prstGeom prst="ellipse">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598">
              <a:solidFill>
                <a:schemeClr val="accent1"/>
              </a:solidFill>
              <a:latin typeface="Montserrat" panose="00000500000000000000" pitchFamily="2" charset="0"/>
            </a:endParaRPr>
          </a:p>
        </p:txBody>
      </p:sp>
      <p:pic>
        <p:nvPicPr>
          <p:cNvPr id="98" name="Graphic 72">
            <a:extLst>
              <a:ext uri="{FF2B5EF4-FFF2-40B4-BE49-F238E27FC236}">
                <a16:creationId xmlns:a16="http://schemas.microsoft.com/office/drawing/2014/main" id="{22C08DBD-17BA-4B2E-9A73-E3BE2AE5C20E}"/>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9879914" y="3141964"/>
            <a:ext cx="914400" cy="816428"/>
          </a:xfrm>
          <a:prstGeom prst="rect">
            <a:avLst/>
          </a:prstGeom>
        </p:spPr>
      </p:pic>
      <p:pic>
        <p:nvPicPr>
          <p:cNvPr id="99" name="Graphic 74">
            <a:extLst>
              <a:ext uri="{FF2B5EF4-FFF2-40B4-BE49-F238E27FC236}">
                <a16:creationId xmlns:a16="http://schemas.microsoft.com/office/drawing/2014/main" id="{D5474F94-2CAE-4763-92AF-20513ACA4A5B}"/>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7845839" y="3141964"/>
            <a:ext cx="914400" cy="816428"/>
          </a:xfrm>
          <a:prstGeom prst="rect">
            <a:avLst/>
          </a:prstGeom>
        </p:spPr>
      </p:pic>
      <p:pic>
        <p:nvPicPr>
          <p:cNvPr id="100" name="Graphic 76">
            <a:extLst>
              <a:ext uri="{FF2B5EF4-FFF2-40B4-BE49-F238E27FC236}">
                <a16:creationId xmlns:a16="http://schemas.microsoft.com/office/drawing/2014/main" id="{9E676AA6-2BA9-4E9C-BD16-1A6F50E362D2}"/>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5869224" y="3141964"/>
            <a:ext cx="914400" cy="816428"/>
          </a:xfrm>
          <a:prstGeom prst="rect">
            <a:avLst/>
          </a:prstGeom>
        </p:spPr>
      </p:pic>
      <p:sp>
        <p:nvSpPr>
          <p:cNvPr id="102" name="Rettangolo 5">
            <a:extLst>
              <a:ext uri="{FF2B5EF4-FFF2-40B4-BE49-F238E27FC236}">
                <a16:creationId xmlns:a16="http://schemas.microsoft.com/office/drawing/2014/main" id="{3C19A9AE-65CC-41B7-8489-B23E3B0A7A13}"/>
              </a:ext>
            </a:extLst>
          </p:cNvPr>
          <p:cNvSpPr/>
          <p:nvPr/>
        </p:nvSpPr>
        <p:spPr>
          <a:xfrm>
            <a:off x="563797" y="3010991"/>
            <a:ext cx="3853041" cy="2769989"/>
          </a:xfrm>
          <a:prstGeom prst="rect">
            <a:avLst/>
          </a:prstGeom>
        </p:spPr>
        <p:txBody>
          <a:bodyPr wrap="square" lIns="91440" tIns="45720" rIns="91440" bIns="45720" anchor="t">
            <a:spAutoFit/>
          </a:bodyPr>
          <a:lstStyle/>
          <a:p>
            <a:r>
              <a:rPr lang="en-US" sz="2000" b="1" dirty="0">
                <a:solidFill>
                  <a:schemeClr val="accent1"/>
                </a:solidFill>
                <a:latin typeface="Montserrat" panose="00000500000000000000" pitchFamily="2" charset="0"/>
                <a:ea typeface="Roboto Light" panose="02000000000000000000" pitchFamily="2" charset="0"/>
                <a:cs typeface="Times New Roman" panose="02020603050405020304" pitchFamily="18" charset="0"/>
              </a:rPr>
              <a:t>Digitalisierte Dokumente</a:t>
            </a:r>
            <a:endParaRPr kumimoji="0" lang="en-US" sz="1400" b="0" i="0" u="none" strike="noStrike" kern="1200" cap="none" spc="0" normalizeH="0" baseline="0" noProof="0" dirty="0">
              <a:ln>
                <a:noFill/>
              </a:ln>
              <a:solidFill>
                <a:srgbClr val="CBCCCB">
                  <a:lumMod val="10000"/>
                </a:srgbClr>
              </a:solidFill>
              <a:effectLst/>
              <a:uLnTx/>
              <a:uFillTx/>
              <a:latin typeface="Montserrat" panose="02000505000000020004" pitchFamily="2" charset="0"/>
              <a:ea typeface="Roboto Light" panose="02000000000000000000" pitchFamily="2" charset="0"/>
              <a:cs typeface="+mn-cs"/>
            </a:endParaRPr>
          </a:p>
          <a:p>
            <a:pPr marL="0" marR="0" lvl="0" indent="0" defTabSz="914400" rtl="0" eaLnBrk="0" fontAlgn="base" latinLnBrk="0" hangingPunct="0">
              <a:lnSpc>
                <a:spcPct val="100000"/>
              </a:lnSpc>
              <a:spcBef>
                <a:spcPct val="0"/>
              </a:spcBef>
              <a:spcAft>
                <a:spcPct val="0"/>
              </a:spcAft>
              <a:buClrTx/>
              <a:buSzTx/>
              <a:buFontTx/>
              <a:buNone/>
              <a:tabLst/>
              <a:defRPr/>
            </a:pPr>
            <a:endParaRPr kumimoji="0" lang="de-DE" sz="1400" b="0" i="0" u="none" strike="noStrike" kern="1200" cap="none" spc="0" normalizeH="0" baseline="0" noProof="0" dirty="0">
              <a:ln>
                <a:noFill/>
              </a:ln>
              <a:solidFill>
                <a:srgbClr val="CBCCCB">
                  <a:lumMod val="10000"/>
                </a:srgbClr>
              </a:solidFill>
              <a:effectLst/>
              <a:uLnTx/>
              <a:uFillTx/>
              <a:latin typeface="Montserrat" panose="02000505000000020004" pitchFamily="2" charset="0"/>
              <a:ea typeface="Roboto Light" panose="02000000000000000000" pitchFamily="2" charset="0"/>
              <a:cs typeface="+mn-cs"/>
            </a:endParaRPr>
          </a:p>
          <a:p>
            <a:pPr marL="0" marR="0" lvl="0" indent="0" defTabSz="914400" rtl="0" eaLnBrk="0" fontAlgn="base" latinLnBrk="0" hangingPunct="0">
              <a:lnSpc>
                <a:spcPct val="100000"/>
              </a:lnSpc>
              <a:spcBef>
                <a:spcPct val="0"/>
              </a:spcBef>
              <a:spcAft>
                <a:spcPct val="0"/>
              </a:spcAft>
              <a:buClrTx/>
              <a:buSzTx/>
              <a:buFontTx/>
              <a:buNone/>
              <a:tabLst/>
              <a:defRPr/>
            </a:pPr>
            <a:r>
              <a:rPr kumimoji="0" lang="de-DE" sz="1400" b="0" i="0" u="none" strike="noStrike" kern="1200" cap="none" spc="0" normalizeH="0" baseline="0" noProof="0" dirty="0">
                <a:ln>
                  <a:noFill/>
                </a:ln>
                <a:solidFill>
                  <a:srgbClr val="CBCCCB">
                    <a:lumMod val="10000"/>
                  </a:srgbClr>
                </a:solidFill>
                <a:effectLst/>
                <a:uLnTx/>
                <a:uFillTx/>
                <a:latin typeface="Montserrat" panose="02000505000000020004" pitchFamily="2" charset="0"/>
                <a:ea typeface="Roboto Light" panose="02000000000000000000" pitchFamily="2" charset="0"/>
                <a:cs typeface="+mn-cs"/>
              </a:rPr>
              <a:t>Vom Patienten mitgebrachte oder während der Behandlung erstellte Papierdokumente </a:t>
            </a:r>
          </a:p>
          <a:p>
            <a:pPr marL="0" marR="0" lvl="0" indent="0" defTabSz="914400" rtl="0" eaLnBrk="0" fontAlgn="base" latinLnBrk="0" hangingPunct="0">
              <a:lnSpc>
                <a:spcPct val="100000"/>
              </a:lnSpc>
              <a:spcBef>
                <a:spcPct val="0"/>
              </a:spcBef>
              <a:spcAft>
                <a:spcPct val="0"/>
              </a:spcAft>
              <a:buClrTx/>
              <a:buSzTx/>
              <a:buFontTx/>
              <a:buNone/>
              <a:tabLst/>
              <a:defRPr/>
            </a:pPr>
            <a:endParaRPr kumimoji="0" lang="de-DE" sz="1400" b="0" i="0" u="none" strike="noStrike" kern="1200" cap="none" spc="0" normalizeH="0" baseline="0" noProof="0" dirty="0">
              <a:ln>
                <a:noFill/>
              </a:ln>
              <a:solidFill>
                <a:srgbClr val="CBCCCB">
                  <a:lumMod val="10000"/>
                </a:srgbClr>
              </a:solidFill>
              <a:effectLst/>
              <a:uLnTx/>
              <a:uFillTx/>
              <a:latin typeface="Montserrat" panose="02000505000000020004" pitchFamily="2" charset="0"/>
              <a:ea typeface="Roboto Light" panose="02000000000000000000" pitchFamily="2" charset="0"/>
              <a:cs typeface="+mn-cs"/>
            </a:endParaRPr>
          </a:p>
          <a:p>
            <a:pPr marL="0" marR="0" lvl="0" indent="0" defTabSz="914400" rtl="0" eaLnBrk="0" fontAlgn="base" latinLnBrk="0" hangingPunct="0">
              <a:lnSpc>
                <a:spcPct val="100000"/>
              </a:lnSpc>
              <a:spcBef>
                <a:spcPct val="0"/>
              </a:spcBef>
              <a:spcAft>
                <a:spcPct val="0"/>
              </a:spcAft>
              <a:buClrTx/>
              <a:buSzTx/>
              <a:buFontTx/>
              <a:buNone/>
              <a:tabLst/>
              <a:defRPr/>
            </a:pPr>
            <a:r>
              <a:rPr kumimoji="0" lang="de-DE" sz="1400" b="0" i="0" u="none" strike="noStrike" kern="1200" cap="none" spc="0" normalizeH="0" baseline="0" noProof="0" dirty="0">
                <a:ln>
                  <a:noFill/>
                </a:ln>
                <a:solidFill>
                  <a:srgbClr val="CBCCCB">
                    <a:lumMod val="10000"/>
                  </a:srgbClr>
                </a:solidFill>
                <a:effectLst/>
                <a:uLnTx/>
                <a:uFillTx/>
                <a:latin typeface="Montserrat" panose="02000505000000020004" pitchFamily="2" charset="0"/>
                <a:ea typeface="Roboto Light" panose="02000000000000000000" pitchFamily="2" charset="0"/>
                <a:cs typeface="+mn-cs"/>
              </a:rPr>
              <a:t>Papierdokumente (z.B. Fremdbefunde) werden zeitnah intern/extern eingescannt und sind dann sofort in der elektronischen Patientenakte in Dedalus eVNA verfügbar.</a:t>
            </a:r>
          </a:p>
          <a:p>
            <a:pPr marL="0" marR="0" lvl="0" indent="0" defTabSz="914400" rtl="0" eaLnBrk="0" fontAlgn="base" latinLnBrk="0" hangingPunct="0">
              <a:lnSpc>
                <a:spcPct val="100000"/>
              </a:lnSpc>
              <a:spcBef>
                <a:spcPct val="0"/>
              </a:spcBef>
              <a:spcAft>
                <a:spcPct val="0"/>
              </a:spcAft>
              <a:buClrTx/>
              <a:buSzTx/>
              <a:buFontTx/>
              <a:buNone/>
              <a:tabLst/>
              <a:defRPr/>
            </a:pPr>
            <a:endParaRPr kumimoji="0" lang="de-DE" sz="1400" b="0" i="0" u="none" strike="noStrike" kern="1200" cap="none" spc="0" normalizeH="0" baseline="0" noProof="0" dirty="0">
              <a:ln>
                <a:noFill/>
              </a:ln>
              <a:solidFill>
                <a:srgbClr val="CBCCCB">
                  <a:lumMod val="10000"/>
                </a:srgbClr>
              </a:solidFill>
              <a:effectLst/>
              <a:uLnTx/>
              <a:uFillTx/>
              <a:latin typeface="Montserrat" panose="02000505000000020004" pitchFamily="2" charset="0"/>
              <a:ea typeface="Roboto Light" panose="02000000000000000000" pitchFamily="2" charset="0"/>
              <a:cs typeface="+mn-cs"/>
            </a:endParaRPr>
          </a:p>
        </p:txBody>
      </p:sp>
    </p:spTree>
    <p:extLst>
      <p:ext uri="{BB962C8B-B14F-4D97-AF65-F5344CB8AC3E}">
        <p14:creationId xmlns:p14="http://schemas.microsoft.com/office/powerpoint/2010/main" val="423342328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EB3B0279-2302-40A4-AA57-FFB971E5DA87}"/>
              </a:ext>
            </a:extLst>
          </p:cNvPr>
          <p:cNvSpPr>
            <a:spLocks noGrp="1"/>
          </p:cNvSpPr>
          <p:nvPr>
            <p:ph type="ctrTitle"/>
          </p:nvPr>
        </p:nvSpPr>
        <p:spPr>
          <a:xfrm>
            <a:off x="520377" y="1117526"/>
            <a:ext cx="8952097" cy="456632"/>
          </a:xfrm>
        </p:spPr>
        <p:txBody>
          <a:bodyPr/>
          <a:lstStyle/>
          <a:p>
            <a:r>
              <a:rPr lang="fr-FR" dirty="0"/>
              <a:t>Die </a:t>
            </a:r>
            <a:r>
              <a:rPr lang="fr-FR" dirty="0" err="1"/>
              <a:t>Scanspezialisten</a:t>
            </a:r>
            <a:r>
              <a:rPr lang="fr-FR" dirty="0"/>
              <a:t> – Die </a:t>
            </a:r>
            <a:r>
              <a:rPr lang="fr-FR" dirty="0" err="1"/>
              <a:t>Heydt</a:t>
            </a:r>
            <a:r>
              <a:rPr lang="fr-FR" dirty="0"/>
              <a:t> </a:t>
            </a:r>
            <a:r>
              <a:rPr lang="fr-FR" dirty="0" err="1"/>
              <a:t>Gruppe</a:t>
            </a:r>
            <a:endParaRPr lang="fr-FR" dirty="0"/>
          </a:p>
        </p:txBody>
      </p:sp>
      <p:sp>
        <p:nvSpPr>
          <p:cNvPr id="102" name="Rettangolo 5">
            <a:extLst>
              <a:ext uri="{FF2B5EF4-FFF2-40B4-BE49-F238E27FC236}">
                <a16:creationId xmlns:a16="http://schemas.microsoft.com/office/drawing/2014/main" id="{3C19A9AE-65CC-41B7-8489-B23E3B0A7A13}"/>
              </a:ext>
            </a:extLst>
          </p:cNvPr>
          <p:cNvSpPr/>
          <p:nvPr/>
        </p:nvSpPr>
        <p:spPr>
          <a:xfrm>
            <a:off x="520377" y="1892405"/>
            <a:ext cx="4780560" cy="4493538"/>
          </a:xfrm>
          <a:prstGeom prst="rect">
            <a:avLst/>
          </a:prstGeom>
        </p:spPr>
        <p:txBody>
          <a:bodyPr wrap="square" lIns="91440" tIns="45720" rIns="91440" bIns="45720" anchor="t">
            <a:spAutoFit/>
          </a:bodyPr>
          <a:lstStyle/>
          <a:p>
            <a:r>
              <a:rPr lang="en-US" sz="2000" b="1" dirty="0" err="1">
                <a:solidFill>
                  <a:schemeClr val="accent1"/>
                </a:solidFill>
                <a:latin typeface="Montserrat" panose="00000500000000000000" pitchFamily="2" charset="0"/>
                <a:ea typeface="Roboto Light" panose="02000000000000000000" pitchFamily="2" charset="0"/>
                <a:cs typeface="Times New Roman" panose="02020603050405020304" pitchFamily="18" charset="0"/>
              </a:rPr>
              <a:t>Scanlösungen</a:t>
            </a:r>
            <a:r>
              <a:rPr lang="en-US" sz="2000" b="1" dirty="0">
                <a:solidFill>
                  <a:schemeClr val="accent1"/>
                </a:solidFill>
                <a:latin typeface="Montserrat" panose="00000500000000000000" pitchFamily="2" charset="0"/>
                <a:ea typeface="Roboto Light" panose="02000000000000000000" pitchFamily="2" charset="0"/>
                <a:cs typeface="Times New Roman" panose="02020603050405020304" pitchFamily="18" charset="0"/>
              </a:rPr>
              <a:t> </a:t>
            </a:r>
            <a:r>
              <a:rPr lang="en-US" sz="2000" b="1" dirty="0" err="1">
                <a:solidFill>
                  <a:schemeClr val="accent1"/>
                </a:solidFill>
                <a:latin typeface="Montserrat" panose="00000500000000000000" pitchFamily="2" charset="0"/>
                <a:ea typeface="Roboto Light" panose="02000000000000000000" pitchFamily="2" charset="0"/>
                <a:cs typeface="Times New Roman" panose="02020603050405020304" pitchFamily="18" charset="0"/>
              </a:rPr>
              <a:t>mit</a:t>
            </a:r>
            <a:r>
              <a:rPr lang="en-US" sz="2000" b="1" dirty="0">
                <a:solidFill>
                  <a:schemeClr val="accent1"/>
                </a:solidFill>
                <a:latin typeface="Montserrat" panose="00000500000000000000" pitchFamily="2" charset="0"/>
                <a:ea typeface="Roboto Light" panose="02000000000000000000" pitchFamily="2" charset="0"/>
                <a:cs typeface="Times New Roman" panose="02020603050405020304" pitchFamily="18" charset="0"/>
              </a:rPr>
              <a:t> 24h Service</a:t>
            </a:r>
            <a:endParaRPr kumimoji="0" lang="en-US" sz="1400" b="0" i="0" u="none" strike="noStrike" kern="1200" cap="none" spc="0" normalizeH="0" baseline="0" noProof="0" dirty="0">
              <a:ln>
                <a:noFill/>
              </a:ln>
              <a:solidFill>
                <a:srgbClr val="CBCCCB">
                  <a:lumMod val="10000"/>
                </a:srgbClr>
              </a:solidFill>
              <a:effectLst/>
              <a:uLnTx/>
              <a:uFillTx/>
              <a:latin typeface="Montserrat" panose="02000505000000020004" pitchFamily="2" charset="0"/>
              <a:ea typeface="Roboto Light" panose="02000000000000000000" pitchFamily="2" charset="0"/>
              <a:cs typeface="+mn-cs"/>
            </a:endParaRPr>
          </a:p>
          <a:p>
            <a:pPr marL="0" marR="0" lvl="0" indent="0" defTabSz="914400" rtl="0" eaLnBrk="0" fontAlgn="base" latinLnBrk="0" hangingPunct="0">
              <a:lnSpc>
                <a:spcPct val="100000"/>
              </a:lnSpc>
              <a:spcBef>
                <a:spcPct val="0"/>
              </a:spcBef>
              <a:spcAft>
                <a:spcPct val="0"/>
              </a:spcAft>
              <a:buClrTx/>
              <a:buSzTx/>
              <a:buFontTx/>
              <a:buNone/>
              <a:tabLst/>
              <a:defRPr/>
            </a:pPr>
            <a:endParaRPr kumimoji="0" lang="de-DE" sz="1400" b="0" i="0" u="none" strike="noStrike" kern="1200" cap="none" spc="0" normalizeH="0" baseline="0" noProof="0" dirty="0">
              <a:ln>
                <a:noFill/>
              </a:ln>
              <a:solidFill>
                <a:srgbClr val="CBCCCB">
                  <a:lumMod val="10000"/>
                </a:srgbClr>
              </a:solidFill>
              <a:effectLst/>
              <a:uLnTx/>
              <a:uFillTx/>
              <a:latin typeface="Montserrat" panose="02000505000000020004" pitchFamily="2" charset="0"/>
              <a:ea typeface="Roboto Light" panose="02000000000000000000" pitchFamily="2" charset="0"/>
              <a:cs typeface="+mn-cs"/>
            </a:endParaRPr>
          </a:p>
          <a:p>
            <a:pPr marL="0" marR="0" lvl="0" indent="0" defTabSz="914400" rtl="0" eaLnBrk="0" fontAlgn="base" latinLnBrk="0" hangingPunct="0">
              <a:lnSpc>
                <a:spcPct val="100000"/>
              </a:lnSpc>
              <a:spcBef>
                <a:spcPct val="0"/>
              </a:spcBef>
              <a:spcAft>
                <a:spcPct val="0"/>
              </a:spcAft>
              <a:buClrTx/>
              <a:buSzTx/>
              <a:buFontTx/>
              <a:buNone/>
              <a:tabLst/>
              <a:defRPr/>
            </a:pPr>
            <a:r>
              <a:rPr kumimoji="0" lang="de-DE" sz="1400" b="0" i="0" u="none" strike="noStrike" kern="1200" cap="none" spc="0" normalizeH="0" baseline="0" noProof="0" dirty="0">
                <a:ln>
                  <a:noFill/>
                </a:ln>
                <a:solidFill>
                  <a:srgbClr val="CBCCCB">
                    <a:lumMod val="10000"/>
                  </a:srgbClr>
                </a:solidFill>
                <a:effectLst/>
                <a:uLnTx/>
                <a:uFillTx/>
                <a:latin typeface="Montserrat" panose="02000505000000020004" pitchFamily="2" charset="0"/>
                <a:ea typeface="Roboto Light" panose="02000000000000000000" pitchFamily="2" charset="0"/>
                <a:cs typeface="+mn-cs"/>
              </a:rPr>
              <a:t>DSGVO konforme Aktenlogistik</a:t>
            </a:r>
          </a:p>
          <a:p>
            <a:pPr marL="0" marR="0" lvl="0" indent="0" defTabSz="914400" rtl="0" eaLnBrk="0" fontAlgn="base" latinLnBrk="0" hangingPunct="0">
              <a:lnSpc>
                <a:spcPct val="100000"/>
              </a:lnSpc>
              <a:spcBef>
                <a:spcPct val="0"/>
              </a:spcBef>
              <a:spcAft>
                <a:spcPct val="0"/>
              </a:spcAft>
              <a:buClrTx/>
              <a:buSzTx/>
              <a:buFontTx/>
              <a:buNone/>
              <a:tabLst/>
              <a:defRPr/>
            </a:pPr>
            <a:endParaRPr lang="de-DE" sz="1400" dirty="0">
              <a:solidFill>
                <a:srgbClr val="CBCCCB">
                  <a:lumMod val="10000"/>
                </a:srgbClr>
              </a:solidFill>
              <a:latin typeface="Montserrat" panose="02000505000000020004" pitchFamily="2" charset="0"/>
              <a:ea typeface="Roboto Light" panose="02000000000000000000" pitchFamily="2" charset="0"/>
            </a:endParaRPr>
          </a:p>
          <a:p>
            <a:pPr marL="0" marR="0" lvl="0" indent="0" defTabSz="914400" rtl="0" eaLnBrk="0" fontAlgn="base" latinLnBrk="0" hangingPunct="0">
              <a:lnSpc>
                <a:spcPct val="100000"/>
              </a:lnSpc>
              <a:spcBef>
                <a:spcPct val="0"/>
              </a:spcBef>
              <a:spcAft>
                <a:spcPct val="0"/>
              </a:spcAft>
              <a:buClrTx/>
              <a:buSzTx/>
              <a:buFontTx/>
              <a:buNone/>
              <a:tabLst/>
              <a:defRPr/>
            </a:pPr>
            <a:r>
              <a:rPr kumimoji="0" lang="de-DE" sz="1400" b="0" i="0" u="none" strike="noStrike" kern="1200" cap="none" spc="0" normalizeH="0" baseline="0" noProof="0" dirty="0">
                <a:ln>
                  <a:noFill/>
                </a:ln>
                <a:solidFill>
                  <a:srgbClr val="CBCCCB">
                    <a:lumMod val="10000"/>
                  </a:srgbClr>
                </a:solidFill>
                <a:effectLst/>
                <a:uLnTx/>
                <a:uFillTx/>
                <a:latin typeface="Montserrat" panose="02000505000000020004" pitchFamily="2" charset="0"/>
                <a:ea typeface="Roboto Light" panose="02000000000000000000" pitchFamily="2" charset="0"/>
                <a:cs typeface="+mn-cs"/>
              </a:rPr>
              <a:t>Schnellstmögliche Datenintegration der Papierdaten durch Scannen mit KI Lesung und Klassifikation gemäß IHE Aktenplan.</a:t>
            </a:r>
          </a:p>
          <a:p>
            <a:pPr marL="0" marR="0" lvl="0" indent="0" defTabSz="914400" rtl="0" eaLnBrk="0" fontAlgn="base" latinLnBrk="0" hangingPunct="0">
              <a:lnSpc>
                <a:spcPct val="100000"/>
              </a:lnSpc>
              <a:spcBef>
                <a:spcPct val="0"/>
              </a:spcBef>
              <a:spcAft>
                <a:spcPct val="0"/>
              </a:spcAft>
              <a:buClrTx/>
              <a:buSzTx/>
              <a:buFontTx/>
              <a:buNone/>
              <a:tabLst/>
              <a:defRPr/>
            </a:pPr>
            <a:endParaRPr lang="de-DE" sz="1400" dirty="0">
              <a:solidFill>
                <a:srgbClr val="CBCCCB">
                  <a:lumMod val="10000"/>
                </a:srgbClr>
              </a:solidFill>
              <a:latin typeface="Montserrat" panose="02000505000000020004" pitchFamily="2" charset="0"/>
              <a:ea typeface="Roboto Light" panose="02000000000000000000" pitchFamily="2" charset="0"/>
            </a:endParaRPr>
          </a:p>
          <a:p>
            <a:pPr marL="0" marR="0" lvl="0" indent="0" defTabSz="914400" rtl="0" eaLnBrk="0" fontAlgn="base" latinLnBrk="0" hangingPunct="0">
              <a:lnSpc>
                <a:spcPct val="100000"/>
              </a:lnSpc>
              <a:spcBef>
                <a:spcPct val="0"/>
              </a:spcBef>
              <a:spcAft>
                <a:spcPct val="0"/>
              </a:spcAft>
              <a:buClrTx/>
              <a:buSzTx/>
              <a:buFontTx/>
              <a:buNone/>
              <a:tabLst/>
              <a:defRPr/>
            </a:pPr>
            <a:r>
              <a:rPr kumimoji="0" lang="de-DE" sz="1400" b="0" i="0" u="none" strike="noStrike" kern="1200" cap="none" spc="0" normalizeH="0" baseline="0" noProof="0" dirty="0">
                <a:ln>
                  <a:noFill/>
                </a:ln>
                <a:solidFill>
                  <a:srgbClr val="CBCCCB">
                    <a:lumMod val="10000"/>
                  </a:srgbClr>
                </a:solidFill>
                <a:effectLst/>
                <a:uLnTx/>
                <a:uFillTx/>
                <a:latin typeface="Montserrat" panose="02000505000000020004" pitchFamily="2" charset="0"/>
                <a:ea typeface="Roboto Light" panose="02000000000000000000" pitchFamily="2" charset="0"/>
                <a:cs typeface="+mn-cs"/>
              </a:rPr>
              <a:t>Sichere Infrastrukturen (DIN ISO/IEC 27001 zertifiziert)</a:t>
            </a:r>
          </a:p>
          <a:p>
            <a:pPr marL="0" marR="0" lvl="0" indent="0" defTabSz="914400" rtl="0" eaLnBrk="0" fontAlgn="base" latinLnBrk="0" hangingPunct="0">
              <a:lnSpc>
                <a:spcPct val="100000"/>
              </a:lnSpc>
              <a:spcBef>
                <a:spcPct val="0"/>
              </a:spcBef>
              <a:spcAft>
                <a:spcPct val="0"/>
              </a:spcAft>
              <a:buClrTx/>
              <a:buSzTx/>
              <a:buFontTx/>
              <a:buNone/>
              <a:tabLst/>
              <a:defRPr/>
            </a:pPr>
            <a:endParaRPr lang="de-DE" sz="1400" dirty="0">
              <a:solidFill>
                <a:srgbClr val="CBCCCB">
                  <a:lumMod val="10000"/>
                </a:srgbClr>
              </a:solidFill>
              <a:latin typeface="Montserrat" panose="02000505000000020004" pitchFamily="2" charset="0"/>
              <a:ea typeface="Roboto Light" panose="02000000000000000000" pitchFamily="2" charset="0"/>
            </a:endParaRPr>
          </a:p>
          <a:p>
            <a:pPr marL="0" marR="0" lvl="0" indent="0" defTabSz="914400" rtl="0" eaLnBrk="0" fontAlgn="base" latinLnBrk="0" hangingPunct="0">
              <a:lnSpc>
                <a:spcPct val="100000"/>
              </a:lnSpc>
              <a:spcBef>
                <a:spcPct val="0"/>
              </a:spcBef>
              <a:spcAft>
                <a:spcPct val="0"/>
              </a:spcAft>
              <a:buClrTx/>
              <a:buSzTx/>
              <a:buFontTx/>
              <a:buNone/>
              <a:tabLst/>
              <a:defRPr/>
            </a:pPr>
            <a:r>
              <a:rPr kumimoji="0" lang="de-DE" sz="1400" b="0" i="0" u="none" strike="noStrike" kern="1200" cap="none" spc="0" normalizeH="0" baseline="0" noProof="0" dirty="0">
                <a:ln>
                  <a:noFill/>
                </a:ln>
                <a:solidFill>
                  <a:srgbClr val="CBCCCB">
                    <a:lumMod val="10000"/>
                  </a:srgbClr>
                </a:solidFill>
                <a:effectLst/>
                <a:uLnTx/>
                <a:uFillTx/>
                <a:latin typeface="Montserrat" panose="02000505000000020004" pitchFamily="2" charset="0"/>
                <a:ea typeface="Roboto Light" panose="02000000000000000000" pitchFamily="2" charset="0"/>
                <a:cs typeface="+mn-cs"/>
              </a:rPr>
              <a:t>Protokollierte Prozesse gemäß (DIN ISO 9001)</a:t>
            </a:r>
          </a:p>
          <a:p>
            <a:pPr marL="0" marR="0" lvl="0" indent="0" defTabSz="914400" rtl="0" eaLnBrk="0" fontAlgn="base" latinLnBrk="0" hangingPunct="0">
              <a:lnSpc>
                <a:spcPct val="100000"/>
              </a:lnSpc>
              <a:spcBef>
                <a:spcPct val="0"/>
              </a:spcBef>
              <a:spcAft>
                <a:spcPct val="0"/>
              </a:spcAft>
              <a:buClrTx/>
              <a:buSzTx/>
              <a:buFontTx/>
              <a:buNone/>
              <a:tabLst/>
              <a:defRPr/>
            </a:pPr>
            <a:endParaRPr lang="de-DE" sz="1400" dirty="0">
              <a:solidFill>
                <a:srgbClr val="CBCCCB">
                  <a:lumMod val="10000"/>
                </a:srgbClr>
              </a:solidFill>
              <a:latin typeface="Montserrat" panose="02000505000000020004" pitchFamily="2" charset="0"/>
              <a:ea typeface="Roboto Light" panose="02000000000000000000" pitchFamily="2" charset="0"/>
            </a:endParaRPr>
          </a:p>
          <a:p>
            <a:pPr marL="0" marR="0" lvl="0" indent="0" defTabSz="914400" rtl="0" eaLnBrk="0" fontAlgn="base" latinLnBrk="0" hangingPunct="0">
              <a:lnSpc>
                <a:spcPct val="100000"/>
              </a:lnSpc>
              <a:spcBef>
                <a:spcPct val="0"/>
              </a:spcBef>
              <a:spcAft>
                <a:spcPct val="0"/>
              </a:spcAft>
              <a:buClrTx/>
              <a:buSzTx/>
              <a:buFontTx/>
              <a:buNone/>
              <a:tabLst/>
              <a:defRPr/>
            </a:pPr>
            <a:r>
              <a:rPr kumimoji="0" lang="de-DE" sz="1400" b="0" i="0" u="none" strike="noStrike" kern="1200" cap="none" spc="0" normalizeH="0" baseline="0" noProof="0" dirty="0">
                <a:ln>
                  <a:noFill/>
                </a:ln>
                <a:solidFill>
                  <a:srgbClr val="CBCCCB">
                    <a:lumMod val="10000"/>
                  </a:srgbClr>
                </a:solidFill>
                <a:effectLst/>
                <a:uLnTx/>
                <a:uFillTx/>
                <a:latin typeface="Montserrat" panose="02000505000000020004" pitchFamily="2" charset="0"/>
                <a:ea typeface="Roboto Light" panose="02000000000000000000" pitchFamily="2" charset="0"/>
                <a:cs typeface="+mn-cs"/>
              </a:rPr>
              <a:t>Komplette Entstehungshistorie (BSI TR-03138 </a:t>
            </a:r>
            <a:r>
              <a:rPr kumimoji="0" lang="de-DE" sz="1400" b="0" i="0" u="none" strike="noStrike" kern="1200" cap="none" spc="0" normalizeH="0" baseline="0" noProof="0" dirty="0" err="1">
                <a:ln>
                  <a:noFill/>
                </a:ln>
                <a:solidFill>
                  <a:srgbClr val="CBCCCB">
                    <a:lumMod val="10000"/>
                  </a:srgbClr>
                </a:solidFill>
                <a:effectLst/>
                <a:uLnTx/>
                <a:uFillTx/>
                <a:latin typeface="Montserrat" panose="02000505000000020004" pitchFamily="2" charset="0"/>
                <a:ea typeface="Roboto Light" panose="02000000000000000000" pitchFamily="2" charset="0"/>
                <a:cs typeface="+mn-cs"/>
              </a:rPr>
              <a:t>Resiscan</a:t>
            </a:r>
            <a:r>
              <a:rPr kumimoji="0" lang="de-DE" sz="1400" b="0" i="0" u="none" strike="noStrike" kern="1200" cap="none" spc="0" normalizeH="0" baseline="0" noProof="0" dirty="0">
                <a:ln>
                  <a:noFill/>
                </a:ln>
                <a:solidFill>
                  <a:srgbClr val="CBCCCB">
                    <a:lumMod val="10000"/>
                  </a:srgbClr>
                </a:solidFill>
                <a:effectLst/>
                <a:uLnTx/>
                <a:uFillTx/>
                <a:latin typeface="Montserrat" panose="02000505000000020004" pitchFamily="2" charset="0"/>
                <a:ea typeface="Roboto Light" panose="02000000000000000000" pitchFamily="2" charset="0"/>
                <a:cs typeface="+mn-cs"/>
              </a:rPr>
              <a:t>)</a:t>
            </a:r>
          </a:p>
          <a:p>
            <a:pPr marL="0" marR="0" lvl="0" indent="0" defTabSz="914400" rtl="0" eaLnBrk="0" fontAlgn="base" latinLnBrk="0" hangingPunct="0">
              <a:lnSpc>
                <a:spcPct val="100000"/>
              </a:lnSpc>
              <a:spcBef>
                <a:spcPct val="0"/>
              </a:spcBef>
              <a:spcAft>
                <a:spcPct val="0"/>
              </a:spcAft>
              <a:buClrTx/>
              <a:buSzTx/>
              <a:buFontTx/>
              <a:buNone/>
              <a:tabLst/>
              <a:defRPr/>
            </a:pPr>
            <a:endParaRPr lang="de-DE" sz="1400" dirty="0">
              <a:solidFill>
                <a:srgbClr val="CBCCCB">
                  <a:lumMod val="10000"/>
                </a:srgbClr>
              </a:solidFill>
              <a:latin typeface="Montserrat" panose="02000505000000020004" pitchFamily="2" charset="0"/>
              <a:ea typeface="Roboto Light" panose="02000000000000000000" pitchFamily="2" charset="0"/>
            </a:endParaRPr>
          </a:p>
          <a:p>
            <a:pPr marL="0" marR="0" lvl="0" indent="0" defTabSz="914400" rtl="0" eaLnBrk="0" fontAlgn="base" latinLnBrk="0" hangingPunct="0">
              <a:lnSpc>
                <a:spcPct val="100000"/>
              </a:lnSpc>
              <a:spcBef>
                <a:spcPct val="0"/>
              </a:spcBef>
              <a:spcAft>
                <a:spcPct val="0"/>
              </a:spcAft>
              <a:buClrTx/>
              <a:buSzTx/>
              <a:buFontTx/>
              <a:buNone/>
              <a:tabLst/>
              <a:defRPr/>
            </a:pPr>
            <a:r>
              <a:rPr kumimoji="0" lang="de-DE" sz="1400" b="0" i="0" u="none" strike="noStrike" kern="1200" cap="none" spc="0" normalizeH="0" baseline="0" noProof="0" dirty="0">
                <a:ln>
                  <a:noFill/>
                </a:ln>
                <a:solidFill>
                  <a:srgbClr val="CBCCCB">
                    <a:lumMod val="10000"/>
                  </a:srgbClr>
                </a:solidFill>
                <a:effectLst/>
                <a:uLnTx/>
                <a:uFillTx/>
                <a:latin typeface="Montserrat" panose="02000505000000020004" pitchFamily="2" charset="0"/>
                <a:ea typeface="Roboto Light" panose="02000000000000000000" pitchFamily="2" charset="0"/>
                <a:cs typeface="+mn-cs"/>
              </a:rPr>
              <a:t>Akten Forderungsmanagement C[</a:t>
            </a:r>
            <a:r>
              <a:rPr kumimoji="0" lang="de-DE" sz="1400" b="0" i="0" u="none" strike="noStrike" kern="1200" cap="none" spc="0" normalizeH="0" baseline="0" noProof="0" dirty="0" err="1">
                <a:ln>
                  <a:noFill/>
                </a:ln>
                <a:solidFill>
                  <a:srgbClr val="CBCCCB">
                    <a:lumMod val="10000"/>
                  </a:srgbClr>
                </a:solidFill>
                <a:effectLst/>
                <a:uLnTx/>
                <a:uFillTx/>
                <a:latin typeface="Montserrat" panose="02000505000000020004" pitchFamily="2" charset="0"/>
                <a:ea typeface="Roboto Light" panose="02000000000000000000" pitchFamily="2" charset="0"/>
                <a:cs typeface="+mn-cs"/>
              </a:rPr>
              <a:t>act</a:t>
            </a:r>
            <a:r>
              <a:rPr kumimoji="0" lang="de-DE" sz="1400" b="0" i="0" u="none" strike="noStrike" kern="1200" cap="none" spc="0" normalizeH="0" baseline="0" noProof="0" dirty="0">
                <a:ln>
                  <a:noFill/>
                </a:ln>
                <a:solidFill>
                  <a:srgbClr val="CBCCCB">
                    <a:lumMod val="10000"/>
                  </a:srgbClr>
                </a:solidFill>
                <a:effectLst/>
                <a:uLnTx/>
                <a:uFillTx/>
                <a:latin typeface="Montserrat" panose="02000505000000020004" pitchFamily="2" charset="0"/>
                <a:ea typeface="Roboto Light" panose="02000000000000000000" pitchFamily="2" charset="0"/>
                <a:cs typeface="+mn-cs"/>
              </a:rPr>
              <a:t>]</a:t>
            </a:r>
          </a:p>
          <a:p>
            <a:pPr marL="0" marR="0" lvl="0" indent="0" defTabSz="914400" rtl="0" eaLnBrk="0" fontAlgn="base" latinLnBrk="0" hangingPunct="0">
              <a:lnSpc>
                <a:spcPct val="100000"/>
              </a:lnSpc>
              <a:spcBef>
                <a:spcPct val="0"/>
              </a:spcBef>
              <a:spcAft>
                <a:spcPct val="0"/>
              </a:spcAft>
              <a:buClrTx/>
              <a:buSzTx/>
              <a:buFontTx/>
              <a:buNone/>
              <a:tabLst/>
              <a:defRPr/>
            </a:pPr>
            <a:endParaRPr lang="de-DE" sz="1400" dirty="0">
              <a:solidFill>
                <a:srgbClr val="CBCCCB">
                  <a:lumMod val="10000"/>
                </a:srgbClr>
              </a:solidFill>
              <a:latin typeface="Montserrat" panose="02000505000000020004" pitchFamily="2" charset="0"/>
              <a:ea typeface="Roboto Light" panose="02000000000000000000" pitchFamily="2" charset="0"/>
            </a:endParaRPr>
          </a:p>
          <a:p>
            <a:pPr marL="0" marR="0" lvl="0" indent="0" defTabSz="914400" rtl="0" eaLnBrk="0" fontAlgn="base" latinLnBrk="0" hangingPunct="0">
              <a:lnSpc>
                <a:spcPct val="100000"/>
              </a:lnSpc>
              <a:spcBef>
                <a:spcPct val="0"/>
              </a:spcBef>
              <a:spcAft>
                <a:spcPct val="0"/>
              </a:spcAft>
              <a:buClrTx/>
              <a:buSzTx/>
              <a:buFontTx/>
              <a:buNone/>
              <a:tabLst/>
              <a:defRPr/>
            </a:pPr>
            <a:r>
              <a:rPr kumimoji="0" lang="de-DE" sz="1400" b="0" i="0" u="none" strike="noStrike" kern="1200" cap="none" spc="0" normalizeH="0" baseline="0" noProof="0" dirty="0">
                <a:ln>
                  <a:noFill/>
                </a:ln>
                <a:solidFill>
                  <a:srgbClr val="CBCCCB">
                    <a:lumMod val="10000"/>
                  </a:srgbClr>
                </a:solidFill>
                <a:effectLst/>
                <a:uLnTx/>
                <a:uFillTx/>
                <a:latin typeface="Montserrat" panose="02000505000000020004" pitchFamily="2" charset="0"/>
                <a:ea typeface="Roboto Light" panose="02000000000000000000" pitchFamily="2" charset="0"/>
                <a:cs typeface="+mn-cs"/>
              </a:rPr>
              <a:t>Weitere Informationen: www.heydt.com</a:t>
            </a:r>
          </a:p>
          <a:p>
            <a:pPr marL="0" marR="0" lvl="0" indent="0" defTabSz="914400" rtl="0" eaLnBrk="0" fontAlgn="base" latinLnBrk="0" hangingPunct="0">
              <a:lnSpc>
                <a:spcPct val="100000"/>
              </a:lnSpc>
              <a:spcBef>
                <a:spcPct val="0"/>
              </a:spcBef>
              <a:spcAft>
                <a:spcPct val="0"/>
              </a:spcAft>
              <a:buClrTx/>
              <a:buSzTx/>
              <a:buFontTx/>
              <a:buNone/>
              <a:tabLst/>
              <a:defRPr/>
            </a:pPr>
            <a:endParaRPr kumimoji="0" lang="de-DE" sz="1400" b="0" i="0" u="none" strike="noStrike" kern="1200" cap="none" spc="0" normalizeH="0" baseline="0" noProof="0" dirty="0">
              <a:ln>
                <a:noFill/>
              </a:ln>
              <a:solidFill>
                <a:srgbClr val="CBCCCB">
                  <a:lumMod val="10000"/>
                </a:srgbClr>
              </a:solidFill>
              <a:effectLst/>
              <a:uLnTx/>
              <a:uFillTx/>
              <a:latin typeface="Montserrat" panose="02000505000000020004" pitchFamily="2" charset="0"/>
              <a:ea typeface="Roboto Light" panose="02000000000000000000" pitchFamily="2" charset="0"/>
              <a:cs typeface="+mn-cs"/>
            </a:endParaRPr>
          </a:p>
        </p:txBody>
      </p:sp>
      <p:pic>
        <p:nvPicPr>
          <p:cNvPr id="4" name="Grafik 3">
            <a:extLst>
              <a:ext uri="{FF2B5EF4-FFF2-40B4-BE49-F238E27FC236}">
                <a16:creationId xmlns:a16="http://schemas.microsoft.com/office/drawing/2014/main" id="{33218DD1-06CE-5558-44DC-C505D2B6987A}"/>
              </a:ext>
            </a:extLst>
          </p:cNvPr>
          <p:cNvPicPr>
            <a:picLocks noChangeAspect="1"/>
          </p:cNvPicPr>
          <p:nvPr/>
        </p:nvPicPr>
        <p:blipFill>
          <a:blip r:embed="rId3"/>
          <a:stretch>
            <a:fillRect/>
          </a:stretch>
        </p:blipFill>
        <p:spPr>
          <a:xfrm>
            <a:off x="5019413" y="1968759"/>
            <a:ext cx="6804647" cy="3415003"/>
          </a:xfrm>
          <a:prstGeom prst="rect">
            <a:avLst/>
          </a:prstGeom>
        </p:spPr>
      </p:pic>
      <p:pic>
        <p:nvPicPr>
          <p:cNvPr id="6" name="Grafik 5">
            <a:extLst>
              <a:ext uri="{FF2B5EF4-FFF2-40B4-BE49-F238E27FC236}">
                <a16:creationId xmlns:a16="http://schemas.microsoft.com/office/drawing/2014/main" id="{D362027D-0F31-F67D-E9C2-2F22CF7227A9}"/>
              </a:ext>
            </a:extLst>
          </p:cNvPr>
          <p:cNvPicPr>
            <a:picLocks noChangeAspect="1"/>
          </p:cNvPicPr>
          <p:nvPr/>
        </p:nvPicPr>
        <p:blipFill>
          <a:blip r:embed="rId4"/>
          <a:stretch>
            <a:fillRect/>
          </a:stretch>
        </p:blipFill>
        <p:spPr>
          <a:xfrm>
            <a:off x="5014790" y="2995127"/>
            <a:ext cx="6809270" cy="3607531"/>
          </a:xfrm>
          <a:prstGeom prst="rect">
            <a:avLst/>
          </a:prstGeom>
        </p:spPr>
      </p:pic>
    </p:spTree>
    <p:extLst>
      <p:ext uri="{BB962C8B-B14F-4D97-AF65-F5344CB8AC3E}">
        <p14:creationId xmlns:p14="http://schemas.microsoft.com/office/powerpoint/2010/main" val="32329659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p:cTn id="7" dur="1000" fill="hold"/>
                                        <p:tgtEl>
                                          <p:spTgt spid="6"/>
                                        </p:tgtEl>
                                        <p:attrNameLst>
                                          <p:attrName>ppt_w</p:attrName>
                                        </p:attrNameLst>
                                      </p:cBhvr>
                                      <p:tavLst>
                                        <p:tav tm="0">
                                          <p:val>
                                            <p:fltVal val="0"/>
                                          </p:val>
                                        </p:tav>
                                        <p:tav tm="100000">
                                          <p:val>
                                            <p:strVal val="#ppt_w"/>
                                          </p:val>
                                        </p:tav>
                                      </p:tavLst>
                                    </p:anim>
                                    <p:anim calcmode="lin" valueType="num">
                                      <p:cBhvr>
                                        <p:cTn id="8" dur="1000" fill="hold"/>
                                        <p:tgtEl>
                                          <p:spTgt spid="6"/>
                                        </p:tgtEl>
                                        <p:attrNameLst>
                                          <p:attrName>ppt_h</p:attrName>
                                        </p:attrNameLst>
                                      </p:cBhvr>
                                      <p:tavLst>
                                        <p:tav tm="0">
                                          <p:val>
                                            <p:fltVal val="0"/>
                                          </p:val>
                                        </p:tav>
                                        <p:tav tm="100000">
                                          <p:val>
                                            <p:strVal val="#ppt_h"/>
                                          </p:val>
                                        </p:tav>
                                      </p:tavLst>
                                    </p:anim>
                                    <p:anim calcmode="lin" valueType="num">
                                      <p:cBhvr>
                                        <p:cTn id="9" dur="1000" fill="hold"/>
                                        <p:tgtEl>
                                          <p:spTgt spid="6"/>
                                        </p:tgtEl>
                                        <p:attrNameLst>
                                          <p:attrName>style.rotation</p:attrName>
                                        </p:attrNameLst>
                                      </p:cBhvr>
                                      <p:tavLst>
                                        <p:tav tm="0">
                                          <p:val>
                                            <p:fltVal val="90"/>
                                          </p:val>
                                        </p:tav>
                                        <p:tav tm="100000">
                                          <p:val>
                                            <p:fltVal val="0"/>
                                          </p:val>
                                        </p:tav>
                                      </p:tavLst>
                                    </p:anim>
                                    <p:animEffect transition="in" filter="fade">
                                      <p:cBhvr>
                                        <p:cTn id="10" dur="1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EB3B0279-2302-40A4-AA57-FFB971E5DA87}"/>
              </a:ext>
            </a:extLst>
          </p:cNvPr>
          <p:cNvSpPr>
            <a:spLocks noGrp="1"/>
          </p:cNvSpPr>
          <p:nvPr>
            <p:ph type="ctrTitle"/>
          </p:nvPr>
        </p:nvSpPr>
        <p:spPr>
          <a:xfrm>
            <a:off x="520377" y="1117526"/>
            <a:ext cx="9982160" cy="456632"/>
          </a:xfrm>
        </p:spPr>
        <p:txBody>
          <a:bodyPr/>
          <a:lstStyle/>
          <a:p>
            <a:r>
              <a:rPr lang="fr-FR" dirty="0"/>
              <a:t>BILDARCHIVIERUNGS-VARIANTEN (Radiologie)</a:t>
            </a:r>
          </a:p>
        </p:txBody>
      </p:sp>
      <p:cxnSp>
        <p:nvCxnSpPr>
          <p:cNvPr id="25" name="Straight Arrow Connector 35">
            <a:extLst>
              <a:ext uri="{FF2B5EF4-FFF2-40B4-BE49-F238E27FC236}">
                <a16:creationId xmlns:a16="http://schemas.microsoft.com/office/drawing/2014/main" id="{D4CA018F-45E9-4E35-BCFC-5A46A2507E1D}"/>
              </a:ext>
            </a:extLst>
          </p:cNvPr>
          <p:cNvCxnSpPr>
            <a:cxnSpLocks/>
          </p:cNvCxnSpPr>
          <p:nvPr/>
        </p:nvCxnSpPr>
        <p:spPr>
          <a:xfrm flipH="1">
            <a:off x="0" y="5868023"/>
            <a:ext cx="12192000" cy="0"/>
          </a:xfrm>
          <a:prstGeom prst="straightConnector1">
            <a:avLst/>
          </a:prstGeom>
          <a:ln w="88900" cap="rnd">
            <a:solidFill>
              <a:schemeClr val="accent1">
                <a:lumMod val="50000"/>
              </a:schemeClr>
            </a:solidFill>
            <a:prstDash val="solid"/>
            <a:round/>
            <a:headEnd type="none" w="lg" len="lg"/>
            <a:tailEnd type="none" w="lg" len="lg"/>
          </a:ln>
        </p:spPr>
        <p:style>
          <a:lnRef idx="1">
            <a:schemeClr val="accent1"/>
          </a:lnRef>
          <a:fillRef idx="0">
            <a:schemeClr val="accent1"/>
          </a:fillRef>
          <a:effectRef idx="0">
            <a:schemeClr val="accent1"/>
          </a:effectRef>
          <a:fontRef idx="minor">
            <a:schemeClr val="tx1"/>
          </a:fontRef>
        </p:style>
      </p:cxnSp>
      <p:sp>
        <p:nvSpPr>
          <p:cNvPr id="26" name="Pentagon 24">
            <a:extLst>
              <a:ext uri="{FF2B5EF4-FFF2-40B4-BE49-F238E27FC236}">
                <a16:creationId xmlns:a16="http://schemas.microsoft.com/office/drawing/2014/main" id="{8AF30D2B-3FA1-4BCC-BEDB-E8105CFBBD7E}"/>
              </a:ext>
            </a:extLst>
          </p:cNvPr>
          <p:cNvSpPr/>
          <p:nvPr/>
        </p:nvSpPr>
        <p:spPr>
          <a:xfrm>
            <a:off x="6978246" y="4274863"/>
            <a:ext cx="2011680" cy="640080"/>
          </a:xfrm>
          <a:prstGeom prst="rect">
            <a:avLst/>
          </a:prstGeom>
          <a:solidFill>
            <a:schemeClr val="accent2"/>
          </a:solidFill>
          <a:ln w="317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a:solidFill>
                  <a:srgbClr val="FFFFFF"/>
                </a:solidFill>
                <a:latin typeface="Montserrat" panose="00000500000000000000" pitchFamily="2" charset="0"/>
              </a:rPr>
              <a:t>Import Archive</a:t>
            </a:r>
            <a:endParaRPr lang="en-US" sz="1200" b="1">
              <a:solidFill>
                <a:schemeClr val="bg1"/>
              </a:solidFill>
              <a:latin typeface="Montserrat" panose="00000500000000000000" pitchFamily="2" charset="0"/>
            </a:endParaRPr>
          </a:p>
        </p:txBody>
      </p:sp>
      <p:sp>
        <p:nvSpPr>
          <p:cNvPr id="27" name="Pentagon 21">
            <a:extLst>
              <a:ext uri="{FF2B5EF4-FFF2-40B4-BE49-F238E27FC236}">
                <a16:creationId xmlns:a16="http://schemas.microsoft.com/office/drawing/2014/main" id="{173A87E2-72F4-4858-B4E1-5A86A812A77D}"/>
              </a:ext>
            </a:extLst>
          </p:cNvPr>
          <p:cNvSpPr/>
          <p:nvPr/>
        </p:nvSpPr>
        <p:spPr>
          <a:xfrm>
            <a:off x="4958258" y="4274862"/>
            <a:ext cx="2011680" cy="640080"/>
          </a:xfrm>
          <a:prstGeom prst="rect">
            <a:avLst/>
          </a:prstGeom>
          <a:solidFill>
            <a:schemeClr val="accent3"/>
          </a:solidFill>
          <a:ln w="317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err="1">
                <a:solidFill>
                  <a:srgbClr val="FFFFFF"/>
                </a:solidFill>
                <a:latin typeface="Montserrat" panose="00000500000000000000" pitchFamily="2" charset="0"/>
              </a:rPr>
              <a:t>Teaching</a:t>
            </a:r>
            <a:r>
              <a:rPr lang="fr-FR" sz="1200" b="1">
                <a:solidFill>
                  <a:srgbClr val="FFFFFF"/>
                </a:solidFill>
                <a:latin typeface="Montserrat" panose="00000500000000000000" pitchFamily="2" charset="0"/>
              </a:rPr>
              <a:t> File Archive</a:t>
            </a:r>
            <a:endParaRPr lang="en-US" sz="1200" b="1">
              <a:solidFill>
                <a:schemeClr val="bg1"/>
              </a:solidFill>
              <a:latin typeface="Montserrat" panose="00000500000000000000" pitchFamily="2" charset="0"/>
            </a:endParaRPr>
          </a:p>
        </p:txBody>
      </p:sp>
      <p:sp>
        <p:nvSpPr>
          <p:cNvPr id="28" name="Pentagon 22">
            <a:extLst>
              <a:ext uri="{FF2B5EF4-FFF2-40B4-BE49-F238E27FC236}">
                <a16:creationId xmlns:a16="http://schemas.microsoft.com/office/drawing/2014/main" id="{B68E415D-4EF4-43FD-A0A1-D8EBB3246171}"/>
              </a:ext>
            </a:extLst>
          </p:cNvPr>
          <p:cNvSpPr/>
          <p:nvPr/>
        </p:nvSpPr>
        <p:spPr>
          <a:xfrm>
            <a:off x="2938270" y="4279126"/>
            <a:ext cx="2011680" cy="640080"/>
          </a:xfrm>
          <a:prstGeom prst="rect">
            <a:avLst/>
          </a:prstGeom>
          <a:solidFill>
            <a:schemeClr val="accent1"/>
          </a:solidFill>
          <a:ln w="317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dirty="0">
                <a:solidFill>
                  <a:srgbClr val="FFFFFF"/>
                </a:solidFill>
                <a:latin typeface="Montserrat" panose="00000500000000000000" pitchFamily="2" charset="0"/>
              </a:rPr>
              <a:t>NON- DICOM</a:t>
            </a:r>
            <a:endParaRPr lang="en-US" sz="1200" b="1" dirty="0">
              <a:solidFill>
                <a:schemeClr val="bg1"/>
              </a:solidFill>
              <a:latin typeface="Montserrat" panose="00000500000000000000" pitchFamily="2" charset="0"/>
            </a:endParaRPr>
          </a:p>
        </p:txBody>
      </p:sp>
      <p:sp>
        <p:nvSpPr>
          <p:cNvPr id="29" name="Pentagon 23">
            <a:extLst>
              <a:ext uri="{FF2B5EF4-FFF2-40B4-BE49-F238E27FC236}">
                <a16:creationId xmlns:a16="http://schemas.microsoft.com/office/drawing/2014/main" id="{A117D302-262B-4271-BBC3-D9A82EC651EB}"/>
              </a:ext>
            </a:extLst>
          </p:cNvPr>
          <p:cNvSpPr/>
          <p:nvPr/>
        </p:nvSpPr>
        <p:spPr>
          <a:xfrm>
            <a:off x="918282" y="4274861"/>
            <a:ext cx="2011680" cy="640080"/>
          </a:xfrm>
          <a:prstGeom prst="rect">
            <a:avLst/>
          </a:prstGeom>
          <a:solidFill>
            <a:schemeClr val="accent6"/>
          </a:solidFill>
          <a:ln w="317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dirty="0">
                <a:solidFill>
                  <a:schemeClr val="bg1"/>
                </a:solidFill>
                <a:latin typeface="Montserrat" panose="00000500000000000000" pitchFamily="2" charset="0"/>
              </a:rPr>
              <a:t>DICOM data</a:t>
            </a:r>
            <a:endParaRPr lang="en-US" sz="1200" b="1" dirty="0">
              <a:solidFill>
                <a:schemeClr val="bg1"/>
              </a:solidFill>
              <a:latin typeface="Montserrat" panose="00000500000000000000" pitchFamily="2" charset="0"/>
            </a:endParaRPr>
          </a:p>
        </p:txBody>
      </p:sp>
      <p:cxnSp>
        <p:nvCxnSpPr>
          <p:cNvPr id="30" name="Straight Arrow Connector 38">
            <a:extLst>
              <a:ext uri="{FF2B5EF4-FFF2-40B4-BE49-F238E27FC236}">
                <a16:creationId xmlns:a16="http://schemas.microsoft.com/office/drawing/2014/main" id="{C001E2B8-A442-40FB-99EE-8454024B0241}"/>
              </a:ext>
            </a:extLst>
          </p:cNvPr>
          <p:cNvCxnSpPr>
            <a:cxnSpLocks/>
          </p:cNvCxnSpPr>
          <p:nvPr/>
        </p:nvCxnSpPr>
        <p:spPr>
          <a:xfrm>
            <a:off x="2946432" y="1681379"/>
            <a:ext cx="0" cy="1964496"/>
          </a:xfrm>
          <a:prstGeom prst="straightConnector1">
            <a:avLst/>
          </a:prstGeom>
          <a:ln w="19050" cap="rnd">
            <a:solidFill>
              <a:srgbClr val="525664"/>
            </a:solidFill>
            <a:prstDash val="sysDash"/>
            <a:round/>
            <a:headEnd type="none" w="lg" len="lg"/>
            <a:tailEnd type="none" w="lg" len="lg"/>
          </a:ln>
        </p:spPr>
        <p:style>
          <a:lnRef idx="1">
            <a:schemeClr val="accent1"/>
          </a:lnRef>
          <a:fillRef idx="0">
            <a:schemeClr val="accent1"/>
          </a:fillRef>
          <a:effectRef idx="0">
            <a:schemeClr val="accent1"/>
          </a:effectRef>
          <a:fontRef idx="minor">
            <a:schemeClr val="tx1"/>
          </a:fontRef>
        </p:style>
      </p:cxnSp>
      <p:cxnSp>
        <p:nvCxnSpPr>
          <p:cNvPr id="31" name="Straight Arrow Connector 38">
            <a:extLst>
              <a:ext uri="{FF2B5EF4-FFF2-40B4-BE49-F238E27FC236}">
                <a16:creationId xmlns:a16="http://schemas.microsoft.com/office/drawing/2014/main" id="{8C31E183-1FCF-4F77-B72F-2E2B980FD72E}"/>
              </a:ext>
            </a:extLst>
          </p:cNvPr>
          <p:cNvCxnSpPr>
            <a:cxnSpLocks/>
          </p:cNvCxnSpPr>
          <p:nvPr/>
        </p:nvCxnSpPr>
        <p:spPr>
          <a:xfrm>
            <a:off x="4951163" y="1681379"/>
            <a:ext cx="0" cy="1964496"/>
          </a:xfrm>
          <a:prstGeom prst="straightConnector1">
            <a:avLst/>
          </a:prstGeom>
          <a:ln w="19050" cap="rnd">
            <a:solidFill>
              <a:srgbClr val="525664"/>
            </a:solidFill>
            <a:prstDash val="sysDash"/>
            <a:round/>
            <a:headEnd type="none" w="lg" len="lg"/>
            <a:tailEnd type="none" w="lg" len="lg"/>
          </a:ln>
        </p:spPr>
        <p:style>
          <a:lnRef idx="1">
            <a:schemeClr val="accent1"/>
          </a:lnRef>
          <a:fillRef idx="0">
            <a:schemeClr val="accent1"/>
          </a:fillRef>
          <a:effectRef idx="0">
            <a:schemeClr val="accent1"/>
          </a:effectRef>
          <a:fontRef idx="minor">
            <a:schemeClr val="tx1"/>
          </a:fontRef>
        </p:style>
      </p:cxnSp>
      <p:cxnSp>
        <p:nvCxnSpPr>
          <p:cNvPr id="32" name="Straight Arrow Connector 38">
            <a:extLst>
              <a:ext uri="{FF2B5EF4-FFF2-40B4-BE49-F238E27FC236}">
                <a16:creationId xmlns:a16="http://schemas.microsoft.com/office/drawing/2014/main" id="{82BC42D8-AED2-4E3B-B6A2-AA89B731793F}"/>
              </a:ext>
            </a:extLst>
          </p:cNvPr>
          <p:cNvCxnSpPr>
            <a:cxnSpLocks/>
          </p:cNvCxnSpPr>
          <p:nvPr/>
        </p:nvCxnSpPr>
        <p:spPr>
          <a:xfrm>
            <a:off x="6970489" y="1697712"/>
            <a:ext cx="0" cy="1948163"/>
          </a:xfrm>
          <a:prstGeom prst="straightConnector1">
            <a:avLst/>
          </a:prstGeom>
          <a:ln w="19050" cap="rnd">
            <a:solidFill>
              <a:srgbClr val="525664"/>
            </a:solidFill>
            <a:prstDash val="sysDash"/>
            <a:round/>
            <a:headEnd type="none" w="lg" len="lg"/>
            <a:tailEnd type="none" w="lg" len="lg"/>
          </a:ln>
        </p:spPr>
        <p:style>
          <a:lnRef idx="1">
            <a:schemeClr val="accent1"/>
          </a:lnRef>
          <a:fillRef idx="0">
            <a:schemeClr val="accent1"/>
          </a:fillRef>
          <a:effectRef idx="0">
            <a:schemeClr val="accent1"/>
          </a:effectRef>
          <a:fontRef idx="minor">
            <a:schemeClr val="tx1"/>
          </a:fontRef>
        </p:style>
      </p:cxnSp>
      <p:sp>
        <p:nvSpPr>
          <p:cNvPr id="33" name="TextBox 80">
            <a:extLst>
              <a:ext uri="{FF2B5EF4-FFF2-40B4-BE49-F238E27FC236}">
                <a16:creationId xmlns:a16="http://schemas.microsoft.com/office/drawing/2014/main" id="{254C0BC8-878B-49D2-AF4B-0BDC8D4182DD}"/>
              </a:ext>
            </a:extLst>
          </p:cNvPr>
          <p:cNvSpPr txBox="1"/>
          <p:nvPr/>
        </p:nvSpPr>
        <p:spPr>
          <a:xfrm>
            <a:off x="918282" y="2017734"/>
            <a:ext cx="1858086" cy="760401"/>
          </a:xfrm>
          <a:prstGeom prst="rect">
            <a:avLst/>
          </a:prstGeom>
          <a:noFill/>
        </p:spPr>
        <p:txBody>
          <a:bodyPr wrap="square" lIns="0" tIns="0" rIns="0" bIns="0" rtlCol="0" anchor="ctr">
            <a:spAutoFit/>
          </a:bodyPr>
          <a:lstStyle/>
          <a:p>
            <a:pPr algn="ctr">
              <a:lnSpc>
                <a:spcPct val="120000"/>
              </a:lnSpc>
            </a:pPr>
            <a:r>
              <a:rPr lang="de-DE" sz="1050" dirty="0"/>
              <a:t>Standortübergreifende PACS-Installationen mit Datensynchronisation und mehreren Cache-Servern</a:t>
            </a:r>
          </a:p>
        </p:txBody>
      </p:sp>
      <p:sp>
        <p:nvSpPr>
          <p:cNvPr id="34" name="TextBox 81">
            <a:extLst>
              <a:ext uri="{FF2B5EF4-FFF2-40B4-BE49-F238E27FC236}">
                <a16:creationId xmlns:a16="http://schemas.microsoft.com/office/drawing/2014/main" id="{24503B52-E231-43FB-87D4-AB2B4C15C3F7}"/>
              </a:ext>
            </a:extLst>
          </p:cNvPr>
          <p:cNvSpPr txBox="1"/>
          <p:nvPr/>
        </p:nvSpPr>
        <p:spPr>
          <a:xfrm>
            <a:off x="3038601" y="2041948"/>
            <a:ext cx="1819013" cy="372603"/>
          </a:xfrm>
          <a:prstGeom prst="rect">
            <a:avLst/>
          </a:prstGeom>
          <a:noFill/>
        </p:spPr>
        <p:txBody>
          <a:bodyPr wrap="square" lIns="0" tIns="0" rIns="0" bIns="0" rtlCol="0" anchor="ctr">
            <a:spAutoFit/>
          </a:bodyPr>
          <a:lstStyle/>
          <a:p>
            <a:pPr algn="ctr">
              <a:lnSpc>
                <a:spcPct val="120000"/>
              </a:lnSpc>
            </a:pPr>
            <a:r>
              <a:rPr lang="en-US" sz="1050" dirty="0" err="1">
                <a:ea typeface="Open Sans" panose="020B0606030504020204" pitchFamily="34" charset="0"/>
                <a:cs typeface="Arial Regular" charset="0"/>
              </a:rPr>
              <a:t>Bilder</a:t>
            </a:r>
            <a:r>
              <a:rPr lang="en-US" sz="1050" dirty="0">
                <a:ea typeface="Open Sans" panose="020B0606030504020204" pitchFamily="34" charset="0"/>
                <a:cs typeface="Arial Regular" charset="0"/>
              </a:rPr>
              <a:t>, Videos </a:t>
            </a:r>
          </a:p>
          <a:p>
            <a:pPr algn="ctr">
              <a:lnSpc>
                <a:spcPct val="120000"/>
              </a:lnSpc>
            </a:pPr>
            <a:r>
              <a:rPr lang="en-US" sz="1050" dirty="0">
                <a:ea typeface="Open Sans" panose="020B0606030504020204" pitchFamily="34" charset="0"/>
                <a:cs typeface="Arial Regular" charset="0"/>
              </a:rPr>
              <a:t>Multi-</a:t>
            </a:r>
            <a:r>
              <a:rPr lang="en-US" sz="1050" dirty="0" err="1">
                <a:ea typeface="Open Sans" panose="020B0606030504020204" pitchFamily="34" charset="0"/>
                <a:cs typeface="Arial Regular" charset="0"/>
              </a:rPr>
              <a:t>Ologie</a:t>
            </a:r>
            <a:endParaRPr lang="de-DE" sz="1050" dirty="0">
              <a:ea typeface="Open Sans" panose="020B0606030504020204" pitchFamily="34" charset="0"/>
              <a:cs typeface="Arial Regular" charset="0"/>
            </a:endParaRPr>
          </a:p>
        </p:txBody>
      </p:sp>
      <p:grpSp>
        <p:nvGrpSpPr>
          <p:cNvPr id="35" name="Group 34">
            <a:extLst>
              <a:ext uri="{FF2B5EF4-FFF2-40B4-BE49-F238E27FC236}">
                <a16:creationId xmlns:a16="http://schemas.microsoft.com/office/drawing/2014/main" id="{D779177F-F650-4287-9337-B90200B8968B}"/>
              </a:ext>
            </a:extLst>
          </p:cNvPr>
          <p:cNvGrpSpPr>
            <a:grpSpLocks noChangeAspect="1"/>
          </p:cNvGrpSpPr>
          <p:nvPr/>
        </p:nvGrpSpPr>
        <p:grpSpPr>
          <a:xfrm>
            <a:off x="1756015" y="5051719"/>
            <a:ext cx="348059" cy="360000"/>
            <a:chOff x="2281151" y="2761528"/>
            <a:chExt cx="1657802" cy="1714678"/>
          </a:xfrm>
          <a:solidFill>
            <a:schemeClr val="accent1"/>
          </a:solidFill>
          <a:effectLst>
            <a:outerShdw blurRad="94654" dist="38100" dir="2700000" algn="tl" rotWithShape="0">
              <a:prstClr val="black">
                <a:alpha val="60000"/>
              </a:prstClr>
            </a:outerShdw>
          </a:effectLst>
        </p:grpSpPr>
        <p:sp>
          <p:nvSpPr>
            <p:cNvPr id="36" name="Freeform: Shape 2">
              <a:extLst>
                <a:ext uri="{FF2B5EF4-FFF2-40B4-BE49-F238E27FC236}">
                  <a16:creationId xmlns:a16="http://schemas.microsoft.com/office/drawing/2014/main" id="{78369F8B-BA92-44DB-AE8A-E34524AE6A13}"/>
                </a:ext>
              </a:extLst>
            </p:cNvPr>
            <p:cNvSpPr/>
            <p:nvPr/>
          </p:nvSpPr>
          <p:spPr>
            <a:xfrm>
              <a:off x="2281151" y="3555835"/>
              <a:ext cx="1657802" cy="920371"/>
            </a:xfrm>
            <a:custGeom>
              <a:avLst/>
              <a:gdLst>
                <a:gd name="connsiteX0" fmla="*/ 347165 w 2807077"/>
                <a:gd name="connsiteY0" fmla="*/ 1551769 h 1558421"/>
                <a:gd name="connsiteX1" fmla="*/ 566119 w 2807077"/>
                <a:gd name="connsiteY1" fmla="*/ 1473675 h 1558421"/>
                <a:gd name="connsiteX2" fmla="*/ 1399418 w 2807077"/>
                <a:gd name="connsiteY2" fmla="*/ 794830 h 1558421"/>
                <a:gd name="connsiteX3" fmla="*/ 2240812 w 2807077"/>
                <a:gd name="connsiteY3" fmla="*/ 1480327 h 1558421"/>
                <a:gd name="connsiteX4" fmla="*/ 2459767 w 2807077"/>
                <a:gd name="connsiteY4" fmla="*/ 1558422 h 1558421"/>
                <a:gd name="connsiteX5" fmla="*/ 2729051 w 2807077"/>
                <a:gd name="connsiteY5" fmla="*/ 1430578 h 1558421"/>
                <a:gd name="connsiteX6" fmla="*/ 2679302 w 2807077"/>
                <a:gd name="connsiteY6" fmla="*/ 942342 h 1558421"/>
                <a:gd name="connsiteX7" fmla="*/ 1618661 w 2807077"/>
                <a:gd name="connsiteY7" fmla="*/ 78095 h 1558421"/>
                <a:gd name="connsiteX8" fmla="*/ 1180175 w 2807077"/>
                <a:gd name="connsiteY8" fmla="*/ 78095 h 1558421"/>
                <a:gd name="connsiteX9" fmla="*/ 127922 w 2807077"/>
                <a:gd name="connsiteY9" fmla="*/ 935689 h 1558421"/>
                <a:gd name="connsiteX10" fmla="*/ 77883 w 2807077"/>
                <a:gd name="connsiteY10" fmla="*/ 1423925 h 1558421"/>
                <a:gd name="connsiteX11" fmla="*/ 347165 w 2807077"/>
                <a:gd name="connsiteY11" fmla="*/ 1551769 h 1558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07077" h="1558421">
                  <a:moveTo>
                    <a:pt x="347165" y="1551769"/>
                  </a:moveTo>
                  <a:cubicBezTo>
                    <a:pt x="424103" y="1551769"/>
                    <a:pt x="501908" y="1526313"/>
                    <a:pt x="566119" y="1473675"/>
                  </a:cubicBezTo>
                  <a:lnTo>
                    <a:pt x="1399418" y="794830"/>
                  </a:lnTo>
                  <a:lnTo>
                    <a:pt x="2240812" y="1480327"/>
                  </a:lnTo>
                  <a:cubicBezTo>
                    <a:pt x="2305316" y="1532679"/>
                    <a:pt x="2382832" y="1558422"/>
                    <a:pt x="2459767" y="1558422"/>
                  </a:cubicBezTo>
                  <a:cubicBezTo>
                    <a:pt x="2560422" y="1558422"/>
                    <a:pt x="2660499" y="1514744"/>
                    <a:pt x="2729051" y="1430578"/>
                  </a:cubicBezTo>
                  <a:cubicBezTo>
                    <a:pt x="2850240" y="1281909"/>
                    <a:pt x="2827682" y="1063244"/>
                    <a:pt x="2679302" y="942342"/>
                  </a:cubicBezTo>
                  <a:lnTo>
                    <a:pt x="1618661" y="78095"/>
                  </a:lnTo>
                  <a:cubicBezTo>
                    <a:pt x="1491107" y="-26032"/>
                    <a:pt x="1307729" y="-26032"/>
                    <a:pt x="1180175" y="78095"/>
                  </a:cubicBezTo>
                  <a:lnTo>
                    <a:pt x="127922" y="935689"/>
                  </a:lnTo>
                  <a:cubicBezTo>
                    <a:pt x="-20747" y="1056591"/>
                    <a:pt x="-43019" y="1275253"/>
                    <a:pt x="77883" y="1423925"/>
                  </a:cubicBezTo>
                  <a:cubicBezTo>
                    <a:pt x="146722" y="1508094"/>
                    <a:pt x="246510" y="1551769"/>
                    <a:pt x="347165" y="1551769"/>
                  </a:cubicBezTo>
                  <a:close/>
                </a:path>
              </a:pathLst>
            </a:custGeom>
            <a:solidFill>
              <a:schemeClr val="accent1">
                <a:lumMod val="50000"/>
              </a:schemeClr>
            </a:solidFill>
            <a:ln w="2884" cap="flat">
              <a:noFill/>
              <a:prstDash val="solid"/>
              <a:miter/>
            </a:ln>
          </p:spPr>
          <p:txBody>
            <a:bodyPr rtlCol="0" anchor="ctr"/>
            <a:lstStyle/>
            <a:p>
              <a:endParaRPr lang="id-ID">
                <a:solidFill>
                  <a:schemeClr val="accent1"/>
                </a:solidFill>
                <a:latin typeface="Montserrat" panose="00000500000000000000" pitchFamily="2" charset="0"/>
              </a:endParaRPr>
            </a:p>
          </p:txBody>
        </p:sp>
        <p:sp>
          <p:nvSpPr>
            <p:cNvPr id="37" name="Freeform: Shape 3">
              <a:extLst>
                <a:ext uri="{FF2B5EF4-FFF2-40B4-BE49-F238E27FC236}">
                  <a16:creationId xmlns:a16="http://schemas.microsoft.com/office/drawing/2014/main" id="{644DE4DE-97E5-4411-A6E7-AFE46E95FA65}"/>
                </a:ext>
              </a:extLst>
            </p:cNvPr>
            <p:cNvSpPr/>
            <p:nvPr/>
          </p:nvSpPr>
          <p:spPr>
            <a:xfrm>
              <a:off x="2281151" y="2761528"/>
              <a:ext cx="1657802" cy="920374"/>
            </a:xfrm>
            <a:custGeom>
              <a:avLst/>
              <a:gdLst>
                <a:gd name="connsiteX0" fmla="*/ 347165 w 2807077"/>
                <a:gd name="connsiteY0" fmla="*/ 1551769 h 1558421"/>
                <a:gd name="connsiteX1" fmla="*/ 566119 w 2807077"/>
                <a:gd name="connsiteY1" fmla="*/ 1473674 h 1558421"/>
                <a:gd name="connsiteX2" fmla="*/ 1399418 w 2807077"/>
                <a:gd name="connsiteY2" fmla="*/ 794830 h 1558421"/>
                <a:gd name="connsiteX3" fmla="*/ 2240812 w 2807077"/>
                <a:gd name="connsiteY3" fmla="*/ 1480327 h 1558421"/>
                <a:gd name="connsiteX4" fmla="*/ 2459767 w 2807077"/>
                <a:gd name="connsiteY4" fmla="*/ 1558422 h 1558421"/>
                <a:gd name="connsiteX5" fmla="*/ 2729051 w 2807077"/>
                <a:gd name="connsiteY5" fmla="*/ 1430578 h 1558421"/>
                <a:gd name="connsiteX6" fmla="*/ 2679302 w 2807077"/>
                <a:gd name="connsiteY6" fmla="*/ 942342 h 1558421"/>
                <a:gd name="connsiteX7" fmla="*/ 1618661 w 2807077"/>
                <a:gd name="connsiteY7" fmla="*/ 78095 h 1558421"/>
                <a:gd name="connsiteX8" fmla="*/ 1180175 w 2807077"/>
                <a:gd name="connsiteY8" fmla="*/ 78095 h 1558421"/>
                <a:gd name="connsiteX9" fmla="*/ 127922 w 2807077"/>
                <a:gd name="connsiteY9" fmla="*/ 935400 h 1558421"/>
                <a:gd name="connsiteX10" fmla="*/ 77883 w 2807077"/>
                <a:gd name="connsiteY10" fmla="*/ 1423925 h 1558421"/>
                <a:gd name="connsiteX11" fmla="*/ 347165 w 2807077"/>
                <a:gd name="connsiteY11" fmla="*/ 1551769 h 1558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07077" h="1558421">
                  <a:moveTo>
                    <a:pt x="347165" y="1551769"/>
                  </a:moveTo>
                  <a:cubicBezTo>
                    <a:pt x="424103" y="1551769"/>
                    <a:pt x="501908" y="1526316"/>
                    <a:pt x="566119" y="1473674"/>
                  </a:cubicBezTo>
                  <a:lnTo>
                    <a:pt x="1399418" y="794830"/>
                  </a:lnTo>
                  <a:lnTo>
                    <a:pt x="2240812" y="1480327"/>
                  </a:lnTo>
                  <a:cubicBezTo>
                    <a:pt x="2305316" y="1532682"/>
                    <a:pt x="2382832" y="1558422"/>
                    <a:pt x="2459767" y="1558422"/>
                  </a:cubicBezTo>
                  <a:cubicBezTo>
                    <a:pt x="2560422" y="1558422"/>
                    <a:pt x="2660499" y="1514746"/>
                    <a:pt x="2729051" y="1430578"/>
                  </a:cubicBezTo>
                  <a:cubicBezTo>
                    <a:pt x="2850240" y="1281912"/>
                    <a:pt x="2827682" y="1063244"/>
                    <a:pt x="2679302" y="942342"/>
                  </a:cubicBezTo>
                  <a:lnTo>
                    <a:pt x="1618661" y="78095"/>
                  </a:lnTo>
                  <a:cubicBezTo>
                    <a:pt x="1491107" y="-26032"/>
                    <a:pt x="1307729" y="-26032"/>
                    <a:pt x="1180175" y="78095"/>
                  </a:cubicBezTo>
                  <a:lnTo>
                    <a:pt x="127922" y="935400"/>
                  </a:lnTo>
                  <a:cubicBezTo>
                    <a:pt x="-20747" y="1056591"/>
                    <a:pt x="-43019" y="1275256"/>
                    <a:pt x="77883" y="1423925"/>
                  </a:cubicBezTo>
                  <a:cubicBezTo>
                    <a:pt x="146722" y="1508094"/>
                    <a:pt x="246510" y="1551769"/>
                    <a:pt x="347165" y="1551769"/>
                  </a:cubicBezTo>
                  <a:close/>
                </a:path>
              </a:pathLst>
            </a:custGeom>
            <a:solidFill>
              <a:schemeClr val="accent1">
                <a:lumMod val="50000"/>
              </a:schemeClr>
            </a:solidFill>
            <a:ln w="2884" cap="flat">
              <a:noFill/>
              <a:prstDash val="solid"/>
              <a:miter/>
            </a:ln>
          </p:spPr>
          <p:txBody>
            <a:bodyPr rtlCol="0" anchor="ctr"/>
            <a:lstStyle/>
            <a:p>
              <a:endParaRPr lang="id-ID">
                <a:solidFill>
                  <a:schemeClr val="accent1"/>
                </a:solidFill>
                <a:latin typeface="Montserrat" panose="00000500000000000000" pitchFamily="2" charset="0"/>
              </a:endParaRPr>
            </a:p>
          </p:txBody>
        </p:sp>
      </p:grpSp>
      <p:grpSp>
        <p:nvGrpSpPr>
          <p:cNvPr id="38" name="Group 44">
            <a:extLst>
              <a:ext uri="{FF2B5EF4-FFF2-40B4-BE49-F238E27FC236}">
                <a16:creationId xmlns:a16="http://schemas.microsoft.com/office/drawing/2014/main" id="{1422E161-49CB-4DEB-A853-0DC61383A40F}"/>
              </a:ext>
            </a:extLst>
          </p:cNvPr>
          <p:cNvGrpSpPr>
            <a:grpSpLocks noChangeAspect="1"/>
          </p:cNvGrpSpPr>
          <p:nvPr/>
        </p:nvGrpSpPr>
        <p:grpSpPr>
          <a:xfrm>
            <a:off x="3788827" y="5038485"/>
            <a:ext cx="348059" cy="360000"/>
            <a:chOff x="2281151" y="2761528"/>
            <a:chExt cx="1657802" cy="1714678"/>
          </a:xfrm>
          <a:solidFill>
            <a:schemeClr val="accent1"/>
          </a:solidFill>
          <a:effectLst>
            <a:outerShdw blurRad="94654" dist="38100" dir="2700000" algn="tl" rotWithShape="0">
              <a:prstClr val="black">
                <a:alpha val="60000"/>
              </a:prstClr>
            </a:outerShdw>
          </a:effectLst>
        </p:grpSpPr>
        <p:sp>
          <p:nvSpPr>
            <p:cNvPr id="39" name="Freeform: Shape 2">
              <a:extLst>
                <a:ext uri="{FF2B5EF4-FFF2-40B4-BE49-F238E27FC236}">
                  <a16:creationId xmlns:a16="http://schemas.microsoft.com/office/drawing/2014/main" id="{09EAD9E0-D6CC-436C-AE82-489DC02E19B0}"/>
                </a:ext>
              </a:extLst>
            </p:cNvPr>
            <p:cNvSpPr/>
            <p:nvPr/>
          </p:nvSpPr>
          <p:spPr>
            <a:xfrm>
              <a:off x="2281151" y="3555835"/>
              <a:ext cx="1657802" cy="920371"/>
            </a:xfrm>
            <a:custGeom>
              <a:avLst/>
              <a:gdLst>
                <a:gd name="connsiteX0" fmla="*/ 347165 w 2807077"/>
                <a:gd name="connsiteY0" fmla="*/ 1551769 h 1558421"/>
                <a:gd name="connsiteX1" fmla="*/ 566119 w 2807077"/>
                <a:gd name="connsiteY1" fmla="*/ 1473675 h 1558421"/>
                <a:gd name="connsiteX2" fmla="*/ 1399418 w 2807077"/>
                <a:gd name="connsiteY2" fmla="*/ 794830 h 1558421"/>
                <a:gd name="connsiteX3" fmla="*/ 2240812 w 2807077"/>
                <a:gd name="connsiteY3" fmla="*/ 1480327 h 1558421"/>
                <a:gd name="connsiteX4" fmla="*/ 2459767 w 2807077"/>
                <a:gd name="connsiteY4" fmla="*/ 1558422 h 1558421"/>
                <a:gd name="connsiteX5" fmla="*/ 2729051 w 2807077"/>
                <a:gd name="connsiteY5" fmla="*/ 1430578 h 1558421"/>
                <a:gd name="connsiteX6" fmla="*/ 2679302 w 2807077"/>
                <a:gd name="connsiteY6" fmla="*/ 942342 h 1558421"/>
                <a:gd name="connsiteX7" fmla="*/ 1618661 w 2807077"/>
                <a:gd name="connsiteY7" fmla="*/ 78095 h 1558421"/>
                <a:gd name="connsiteX8" fmla="*/ 1180175 w 2807077"/>
                <a:gd name="connsiteY8" fmla="*/ 78095 h 1558421"/>
                <a:gd name="connsiteX9" fmla="*/ 127922 w 2807077"/>
                <a:gd name="connsiteY9" fmla="*/ 935689 h 1558421"/>
                <a:gd name="connsiteX10" fmla="*/ 77883 w 2807077"/>
                <a:gd name="connsiteY10" fmla="*/ 1423925 h 1558421"/>
                <a:gd name="connsiteX11" fmla="*/ 347165 w 2807077"/>
                <a:gd name="connsiteY11" fmla="*/ 1551769 h 1558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07077" h="1558421">
                  <a:moveTo>
                    <a:pt x="347165" y="1551769"/>
                  </a:moveTo>
                  <a:cubicBezTo>
                    <a:pt x="424103" y="1551769"/>
                    <a:pt x="501908" y="1526313"/>
                    <a:pt x="566119" y="1473675"/>
                  </a:cubicBezTo>
                  <a:lnTo>
                    <a:pt x="1399418" y="794830"/>
                  </a:lnTo>
                  <a:lnTo>
                    <a:pt x="2240812" y="1480327"/>
                  </a:lnTo>
                  <a:cubicBezTo>
                    <a:pt x="2305316" y="1532679"/>
                    <a:pt x="2382832" y="1558422"/>
                    <a:pt x="2459767" y="1558422"/>
                  </a:cubicBezTo>
                  <a:cubicBezTo>
                    <a:pt x="2560422" y="1558422"/>
                    <a:pt x="2660499" y="1514744"/>
                    <a:pt x="2729051" y="1430578"/>
                  </a:cubicBezTo>
                  <a:cubicBezTo>
                    <a:pt x="2850240" y="1281909"/>
                    <a:pt x="2827682" y="1063244"/>
                    <a:pt x="2679302" y="942342"/>
                  </a:cubicBezTo>
                  <a:lnTo>
                    <a:pt x="1618661" y="78095"/>
                  </a:lnTo>
                  <a:cubicBezTo>
                    <a:pt x="1491107" y="-26032"/>
                    <a:pt x="1307729" y="-26032"/>
                    <a:pt x="1180175" y="78095"/>
                  </a:cubicBezTo>
                  <a:lnTo>
                    <a:pt x="127922" y="935689"/>
                  </a:lnTo>
                  <a:cubicBezTo>
                    <a:pt x="-20747" y="1056591"/>
                    <a:pt x="-43019" y="1275253"/>
                    <a:pt x="77883" y="1423925"/>
                  </a:cubicBezTo>
                  <a:cubicBezTo>
                    <a:pt x="146722" y="1508094"/>
                    <a:pt x="246510" y="1551769"/>
                    <a:pt x="347165" y="1551769"/>
                  </a:cubicBezTo>
                  <a:close/>
                </a:path>
              </a:pathLst>
            </a:custGeom>
            <a:solidFill>
              <a:schemeClr val="accent1">
                <a:lumMod val="50000"/>
              </a:schemeClr>
            </a:solidFill>
            <a:ln w="2884" cap="flat">
              <a:noFill/>
              <a:prstDash val="solid"/>
              <a:miter/>
            </a:ln>
          </p:spPr>
          <p:txBody>
            <a:bodyPr rtlCol="0" anchor="ctr"/>
            <a:lstStyle/>
            <a:p>
              <a:endParaRPr lang="id-ID">
                <a:solidFill>
                  <a:schemeClr val="accent1"/>
                </a:solidFill>
                <a:latin typeface="Montserrat" panose="00000500000000000000" pitchFamily="2" charset="0"/>
              </a:endParaRPr>
            </a:p>
          </p:txBody>
        </p:sp>
        <p:sp>
          <p:nvSpPr>
            <p:cNvPr id="40" name="Freeform: Shape 3">
              <a:extLst>
                <a:ext uri="{FF2B5EF4-FFF2-40B4-BE49-F238E27FC236}">
                  <a16:creationId xmlns:a16="http://schemas.microsoft.com/office/drawing/2014/main" id="{067EB8C6-5004-4764-BD02-3ED578A08509}"/>
                </a:ext>
              </a:extLst>
            </p:cNvPr>
            <p:cNvSpPr/>
            <p:nvPr/>
          </p:nvSpPr>
          <p:spPr>
            <a:xfrm>
              <a:off x="2281151" y="2761528"/>
              <a:ext cx="1657802" cy="920374"/>
            </a:xfrm>
            <a:custGeom>
              <a:avLst/>
              <a:gdLst>
                <a:gd name="connsiteX0" fmla="*/ 347165 w 2807077"/>
                <a:gd name="connsiteY0" fmla="*/ 1551769 h 1558421"/>
                <a:gd name="connsiteX1" fmla="*/ 566119 w 2807077"/>
                <a:gd name="connsiteY1" fmla="*/ 1473674 h 1558421"/>
                <a:gd name="connsiteX2" fmla="*/ 1399418 w 2807077"/>
                <a:gd name="connsiteY2" fmla="*/ 794830 h 1558421"/>
                <a:gd name="connsiteX3" fmla="*/ 2240812 w 2807077"/>
                <a:gd name="connsiteY3" fmla="*/ 1480327 h 1558421"/>
                <a:gd name="connsiteX4" fmla="*/ 2459767 w 2807077"/>
                <a:gd name="connsiteY4" fmla="*/ 1558422 h 1558421"/>
                <a:gd name="connsiteX5" fmla="*/ 2729051 w 2807077"/>
                <a:gd name="connsiteY5" fmla="*/ 1430578 h 1558421"/>
                <a:gd name="connsiteX6" fmla="*/ 2679302 w 2807077"/>
                <a:gd name="connsiteY6" fmla="*/ 942342 h 1558421"/>
                <a:gd name="connsiteX7" fmla="*/ 1618661 w 2807077"/>
                <a:gd name="connsiteY7" fmla="*/ 78095 h 1558421"/>
                <a:gd name="connsiteX8" fmla="*/ 1180175 w 2807077"/>
                <a:gd name="connsiteY8" fmla="*/ 78095 h 1558421"/>
                <a:gd name="connsiteX9" fmla="*/ 127922 w 2807077"/>
                <a:gd name="connsiteY9" fmla="*/ 935400 h 1558421"/>
                <a:gd name="connsiteX10" fmla="*/ 77883 w 2807077"/>
                <a:gd name="connsiteY10" fmla="*/ 1423925 h 1558421"/>
                <a:gd name="connsiteX11" fmla="*/ 347165 w 2807077"/>
                <a:gd name="connsiteY11" fmla="*/ 1551769 h 1558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07077" h="1558421">
                  <a:moveTo>
                    <a:pt x="347165" y="1551769"/>
                  </a:moveTo>
                  <a:cubicBezTo>
                    <a:pt x="424103" y="1551769"/>
                    <a:pt x="501908" y="1526316"/>
                    <a:pt x="566119" y="1473674"/>
                  </a:cubicBezTo>
                  <a:lnTo>
                    <a:pt x="1399418" y="794830"/>
                  </a:lnTo>
                  <a:lnTo>
                    <a:pt x="2240812" y="1480327"/>
                  </a:lnTo>
                  <a:cubicBezTo>
                    <a:pt x="2305316" y="1532682"/>
                    <a:pt x="2382832" y="1558422"/>
                    <a:pt x="2459767" y="1558422"/>
                  </a:cubicBezTo>
                  <a:cubicBezTo>
                    <a:pt x="2560422" y="1558422"/>
                    <a:pt x="2660499" y="1514746"/>
                    <a:pt x="2729051" y="1430578"/>
                  </a:cubicBezTo>
                  <a:cubicBezTo>
                    <a:pt x="2850240" y="1281912"/>
                    <a:pt x="2827682" y="1063244"/>
                    <a:pt x="2679302" y="942342"/>
                  </a:cubicBezTo>
                  <a:lnTo>
                    <a:pt x="1618661" y="78095"/>
                  </a:lnTo>
                  <a:cubicBezTo>
                    <a:pt x="1491107" y="-26032"/>
                    <a:pt x="1307729" y="-26032"/>
                    <a:pt x="1180175" y="78095"/>
                  </a:cubicBezTo>
                  <a:lnTo>
                    <a:pt x="127922" y="935400"/>
                  </a:lnTo>
                  <a:cubicBezTo>
                    <a:pt x="-20747" y="1056591"/>
                    <a:pt x="-43019" y="1275256"/>
                    <a:pt x="77883" y="1423925"/>
                  </a:cubicBezTo>
                  <a:cubicBezTo>
                    <a:pt x="146722" y="1508094"/>
                    <a:pt x="246510" y="1551769"/>
                    <a:pt x="347165" y="1551769"/>
                  </a:cubicBezTo>
                  <a:close/>
                </a:path>
              </a:pathLst>
            </a:custGeom>
            <a:solidFill>
              <a:schemeClr val="accent1">
                <a:lumMod val="50000"/>
              </a:schemeClr>
            </a:solidFill>
            <a:ln w="2884" cap="flat">
              <a:noFill/>
              <a:prstDash val="solid"/>
              <a:miter/>
            </a:ln>
          </p:spPr>
          <p:txBody>
            <a:bodyPr rtlCol="0" anchor="ctr"/>
            <a:lstStyle/>
            <a:p>
              <a:endParaRPr lang="id-ID">
                <a:solidFill>
                  <a:schemeClr val="accent1"/>
                </a:solidFill>
                <a:latin typeface="Montserrat" panose="00000500000000000000" pitchFamily="2" charset="0"/>
              </a:endParaRPr>
            </a:p>
          </p:txBody>
        </p:sp>
      </p:grpSp>
      <p:grpSp>
        <p:nvGrpSpPr>
          <p:cNvPr id="41" name="Group 48">
            <a:extLst>
              <a:ext uri="{FF2B5EF4-FFF2-40B4-BE49-F238E27FC236}">
                <a16:creationId xmlns:a16="http://schemas.microsoft.com/office/drawing/2014/main" id="{FE4248D8-B668-470B-94B1-C78D63D94F2A}"/>
              </a:ext>
            </a:extLst>
          </p:cNvPr>
          <p:cNvGrpSpPr>
            <a:grpSpLocks noChangeAspect="1"/>
          </p:cNvGrpSpPr>
          <p:nvPr/>
        </p:nvGrpSpPr>
        <p:grpSpPr>
          <a:xfrm>
            <a:off x="5809412" y="5038485"/>
            <a:ext cx="348059" cy="360000"/>
            <a:chOff x="2281151" y="2761528"/>
            <a:chExt cx="1657802" cy="1714678"/>
          </a:xfrm>
          <a:solidFill>
            <a:schemeClr val="accent1"/>
          </a:solidFill>
          <a:effectLst>
            <a:outerShdw blurRad="94654" dist="38100" dir="2700000" algn="tl" rotWithShape="0">
              <a:prstClr val="black">
                <a:alpha val="60000"/>
              </a:prstClr>
            </a:outerShdw>
          </a:effectLst>
        </p:grpSpPr>
        <p:sp>
          <p:nvSpPr>
            <p:cNvPr id="42" name="Freeform: Shape 2">
              <a:extLst>
                <a:ext uri="{FF2B5EF4-FFF2-40B4-BE49-F238E27FC236}">
                  <a16:creationId xmlns:a16="http://schemas.microsoft.com/office/drawing/2014/main" id="{8733A7C2-E223-4C71-9AF1-BC84CCD012B1}"/>
                </a:ext>
              </a:extLst>
            </p:cNvPr>
            <p:cNvSpPr/>
            <p:nvPr/>
          </p:nvSpPr>
          <p:spPr>
            <a:xfrm>
              <a:off x="2281151" y="3555835"/>
              <a:ext cx="1657802" cy="920371"/>
            </a:xfrm>
            <a:custGeom>
              <a:avLst/>
              <a:gdLst>
                <a:gd name="connsiteX0" fmla="*/ 347165 w 2807077"/>
                <a:gd name="connsiteY0" fmla="*/ 1551769 h 1558421"/>
                <a:gd name="connsiteX1" fmla="*/ 566119 w 2807077"/>
                <a:gd name="connsiteY1" fmla="*/ 1473675 h 1558421"/>
                <a:gd name="connsiteX2" fmla="*/ 1399418 w 2807077"/>
                <a:gd name="connsiteY2" fmla="*/ 794830 h 1558421"/>
                <a:gd name="connsiteX3" fmla="*/ 2240812 w 2807077"/>
                <a:gd name="connsiteY3" fmla="*/ 1480327 h 1558421"/>
                <a:gd name="connsiteX4" fmla="*/ 2459767 w 2807077"/>
                <a:gd name="connsiteY4" fmla="*/ 1558422 h 1558421"/>
                <a:gd name="connsiteX5" fmla="*/ 2729051 w 2807077"/>
                <a:gd name="connsiteY5" fmla="*/ 1430578 h 1558421"/>
                <a:gd name="connsiteX6" fmla="*/ 2679302 w 2807077"/>
                <a:gd name="connsiteY6" fmla="*/ 942342 h 1558421"/>
                <a:gd name="connsiteX7" fmla="*/ 1618661 w 2807077"/>
                <a:gd name="connsiteY7" fmla="*/ 78095 h 1558421"/>
                <a:gd name="connsiteX8" fmla="*/ 1180175 w 2807077"/>
                <a:gd name="connsiteY8" fmla="*/ 78095 h 1558421"/>
                <a:gd name="connsiteX9" fmla="*/ 127922 w 2807077"/>
                <a:gd name="connsiteY9" fmla="*/ 935689 h 1558421"/>
                <a:gd name="connsiteX10" fmla="*/ 77883 w 2807077"/>
                <a:gd name="connsiteY10" fmla="*/ 1423925 h 1558421"/>
                <a:gd name="connsiteX11" fmla="*/ 347165 w 2807077"/>
                <a:gd name="connsiteY11" fmla="*/ 1551769 h 1558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07077" h="1558421">
                  <a:moveTo>
                    <a:pt x="347165" y="1551769"/>
                  </a:moveTo>
                  <a:cubicBezTo>
                    <a:pt x="424103" y="1551769"/>
                    <a:pt x="501908" y="1526313"/>
                    <a:pt x="566119" y="1473675"/>
                  </a:cubicBezTo>
                  <a:lnTo>
                    <a:pt x="1399418" y="794830"/>
                  </a:lnTo>
                  <a:lnTo>
                    <a:pt x="2240812" y="1480327"/>
                  </a:lnTo>
                  <a:cubicBezTo>
                    <a:pt x="2305316" y="1532679"/>
                    <a:pt x="2382832" y="1558422"/>
                    <a:pt x="2459767" y="1558422"/>
                  </a:cubicBezTo>
                  <a:cubicBezTo>
                    <a:pt x="2560422" y="1558422"/>
                    <a:pt x="2660499" y="1514744"/>
                    <a:pt x="2729051" y="1430578"/>
                  </a:cubicBezTo>
                  <a:cubicBezTo>
                    <a:pt x="2850240" y="1281909"/>
                    <a:pt x="2827682" y="1063244"/>
                    <a:pt x="2679302" y="942342"/>
                  </a:cubicBezTo>
                  <a:lnTo>
                    <a:pt x="1618661" y="78095"/>
                  </a:lnTo>
                  <a:cubicBezTo>
                    <a:pt x="1491107" y="-26032"/>
                    <a:pt x="1307729" y="-26032"/>
                    <a:pt x="1180175" y="78095"/>
                  </a:cubicBezTo>
                  <a:lnTo>
                    <a:pt x="127922" y="935689"/>
                  </a:lnTo>
                  <a:cubicBezTo>
                    <a:pt x="-20747" y="1056591"/>
                    <a:pt x="-43019" y="1275253"/>
                    <a:pt x="77883" y="1423925"/>
                  </a:cubicBezTo>
                  <a:cubicBezTo>
                    <a:pt x="146722" y="1508094"/>
                    <a:pt x="246510" y="1551769"/>
                    <a:pt x="347165" y="1551769"/>
                  </a:cubicBezTo>
                  <a:close/>
                </a:path>
              </a:pathLst>
            </a:custGeom>
            <a:solidFill>
              <a:schemeClr val="accent1">
                <a:lumMod val="50000"/>
              </a:schemeClr>
            </a:solidFill>
            <a:ln w="2884" cap="flat">
              <a:noFill/>
              <a:prstDash val="solid"/>
              <a:miter/>
            </a:ln>
          </p:spPr>
          <p:txBody>
            <a:bodyPr rtlCol="0" anchor="ctr"/>
            <a:lstStyle/>
            <a:p>
              <a:endParaRPr lang="id-ID">
                <a:solidFill>
                  <a:schemeClr val="accent1"/>
                </a:solidFill>
                <a:latin typeface="Montserrat" panose="00000500000000000000" pitchFamily="2" charset="0"/>
              </a:endParaRPr>
            </a:p>
          </p:txBody>
        </p:sp>
        <p:sp>
          <p:nvSpPr>
            <p:cNvPr id="43" name="Freeform: Shape 3">
              <a:extLst>
                <a:ext uri="{FF2B5EF4-FFF2-40B4-BE49-F238E27FC236}">
                  <a16:creationId xmlns:a16="http://schemas.microsoft.com/office/drawing/2014/main" id="{A9EB7585-6C19-4CC4-95D8-F5184AB5C537}"/>
                </a:ext>
              </a:extLst>
            </p:cNvPr>
            <p:cNvSpPr/>
            <p:nvPr/>
          </p:nvSpPr>
          <p:spPr>
            <a:xfrm>
              <a:off x="2281151" y="2761528"/>
              <a:ext cx="1657802" cy="920374"/>
            </a:xfrm>
            <a:custGeom>
              <a:avLst/>
              <a:gdLst>
                <a:gd name="connsiteX0" fmla="*/ 347165 w 2807077"/>
                <a:gd name="connsiteY0" fmla="*/ 1551769 h 1558421"/>
                <a:gd name="connsiteX1" fmla="*/ 566119 w 2807077"/>
                <a:gd name="connsiteY1" fmla="*/ 1473674 h 1558421"/>
                <a:gd name="connsiteX2" fmla="*/ 1399418 w 2807077"/>
                <a:gd name="connsiteY2" fmla="*/ 794830 h 1558421"/>
                <a:gd name="connsiteX3" fmla="*/ 2240812 w 2807077"/>
                <a:gd name="connsiteY3" fmla="*/ 1480327 h 1558421"/>
                <a:gd name="connsiteX4" fmla="*/ 2459767 w 2807077"/>
                <a:gd name="connsiteY4" fmla="*/ 1558422 h 1558421"/>
                <a:gd name="connsiteX5" fmla="*/ 2729051 w 2807077"/>
                <a:gd name="connsiteY5" fmla="*/ 1430578 h 1558421"/>
                <a:gd name="connsiteX6" fmla="*/ 2679302 w 2807077"/>
                <a:gd name="connsiteY6" fmla="*/ 942342 h 1558421"/>
                <a:gd name="connsiteX7" fmla="*/ 1618661 w 2807077"/>
                <a:gd name="connsiteY7" fmla="*/ 78095 h 1558421"/>
                <a:gd name="connsiteX8" fmla="*/ 1180175 w 2807077"/>
                <a:gd name="connsiteY8" fmla="*/ 78095 h 1558421"/>
                <a:gd name="connsiteX9" fmla="*/ 127922 w 2807077"/>
                <a:gd name="connsiteY9" fmla="*/ 935400 h 1558421"/>
                <a:gd name="connsiteX10" fmla="*/ 77883 w 2807077"/>
                <a:gd name="connsiteY10" fmla="*/ 1423925 h 1558421"/>
                <a:gd name="connsiteX11" fmla="*/ 347165 w 2807077"/>
                <a:gd name="connsiteY11" fmla="*/ 1551769 h 1558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07077" h="1558421">
                  <a:moveTo>
                    <a:pt x="347165" y="1551769"/>
                  </a:moveTo>
                  <a:cubicBezTo>
                    <a:pt x="424103" y="1551769"/>
                    <a:pt x="501908" y="1526316"/>
                    <a:pt x="566119" y="1473674"/>
                  </a:cubicBezTo>
                  <a:lnTo>
                    <a:pt x="1399418" y="794830"/>
                  </a:lnTo>
                  <a:lnTo>
                    <a:pt x="2240812" y="1480327"/>
                  </a:lnTo>
                  <a:cubicBezTo>
                    <a:pt x="2305316" y="1532682"/>
                    <a:pt x="2382832" y="1558422"/>
                    <a:pt x="2459767" y="1558422"/>
                  </a:cubicBezTo>
                  <a:cubicBezTo>
                    <a:pt x="2560422" y="1558422"/>
                    <a:pt x="2660499" y="1514746"/>
                    <a:pt x="2729051" y="1430578"/>
                  </a:cubicBezTo>
                  <a:cubicBezTo>
                    <a:pt x="2850240" y="1281912"/>
                    <a:pt x="2827682" y="1063244"/>
                    <a:pt x="2679302" y="942342"/>
                  </a:cubicBezTo>
                  <a:lnTo>
                    <a:pt x="1618661" y="78095"/>
                  </a:lnTo>
                  <a:cubicBezTo>
                    <a:pt x="1491107" y="-26032"/>
                    <a:pt x="1307729" y="-26032"/>
                    <a:pt x="1180175" y="78095"/>
                  </a:cubicBezTo>
                  <a:lnTo>
                    <a:pt x="127922" y="935400"/>
                  </a:lnTo>
                  <a:cubicBezTo>
                    <a:pt x="-20747" y="1056591"/>
                    <a:pt x="-43019" y="1275256"/>
                    <a:pt x="77883" y="1423925"/>
                  </a:cubicBezTo>
                  <a:cubicBezTo>
                    <a:pt x="146722" y="1508094"/>
                    <a:pt x="246510" y="1551769"/>
                    <a:pt x="347165" y="1551769"/>
                  </a:cubicBezTo>
                  <a:close/>
                </a:path>
              </a:pathLst>
            </a:custGeom>
            <a:solidFill>
              <a:schemeClr val="accent1">
                <a:lumMod val="50000"/>
              </a:schemeClr>
            </a:solidFill>
            <a:ln w="2884" cap="flat">
              <a:noFill/>
              <a:prstDash val="solid"/>
              <a:miter/>
            </a:ln>
          </p:spPr>
          <p:txBody>
            <a:bodyPr rtlCol="0" anchor="ctr"/>
            <a:lstStyle/>
            <a:p>
              <a:endParaRPr lang="id-ID">
                <a:solidFill>
                  <a:schemeClr val="accent1"/>
                </a:solidFill>
                <a:latin typeface="Montserrat" panose="00000500000000000000" pitchFamily="2" charset="0"/>
              </a:endParaRPr>
            </a:p>
          </p:txBody>
        </p:sp>
      </p:grpSp>
      <p:grpSp>
        <p:nvGrpSpPr>
          <p:cNvPr id="44" name="Group 52">
            <a:extLst>
              <a:ext uri="{FF2B5EF4-FFF2-40B4-BE49-F238E27FC236}">
                <a16:creationId xmlns:a16="http://schemas.microsoft.com/office/drawing/2014/main" id="{83340131-C5B6-496B-9B45-50E57F39D482}"/>
              </a:ext>
            </a:extLst>
          </p:cNvPr>
          <p:cNvGrpSpPr>
            <a:grpSpLocks noChangeAspect="1"/>
          </p:cNvGrpSpPr>
          <p:nvPr/>
        </p:nvGrpSpPr>
        <p:grpSpPr>
          <a:xfrm>
            <a:off x="7829997" y="5038485"/>
            <a:ext cx="348059" cy="360000"/>
            <a:chOff x="2281151" y="2761528"/>
            <a:chExt cx="1657802" cy="1714678"/>
          </a:xfrm>
          <a:solidFill>
            <a:schemeClr val="accent1"/>
          </a:solidFill>
          <a:effectLst>
            <a:outerShdw blurRad="94654" dist="38100" dir="2700000" algn="tl" rotWithShape="0">
              <a:prstClr val="black">
                <a:alpha val="60000"/>
              </a:prstClr>
            </a:outerShdw>
          </a:effectLst>
        </p:grpSpPr>
        <p:sp>
          <p:nvSpPr>
            <p:cNvPr id="45" name="Freeform: Shape 2">
              <a:extLst>
                <a:ext uri="{FF2B5EF4-FFF2-40B4-BE49-F238E27FC236}">
                  <a16:creationId xmlns:a16="http://schemas.microsoft.com/office/drawing/2014/main" id="{C1B37901-AF68-4102-8091-007719E0D020}"/>
                </a:ext>
              </a:extLst>
            </p:cNvPr>
            <p:cNvSpPr/>
            <p:nvPr/>
          </p:nvSpPr>
          <p:spPr>
            <a:xfrm>
              <a:off x="2281151" y="3555835"/>
              <a:ext cx="1657802" cy="920371"/>
            </a:xfrm>
            <a:custGeom>
              <a:avLst/>
              <a:gdLst>
                <a:gd name="connsiteX0" fmla="*/ 347165 w 2807077"/>
                <a:gd name="connsiteY0" fmla="*/ 1551769 h 1558421"/>
                <a:gd name="connsiteX1" fmla="*/ 566119 w 2807077"/>
                <a:gd name="connsiteY1" fmla="*/ 1473675 h 1558421"/>
                <a:gd name="connsiteX2" fmla="*/ 1399418 w 2807077"/>
                <a:gd name="connsiteY2" fmla="*/ 794830 h 1558421"/>
                <a:gd name="connsiteX3" fmla="*/ 2240812 w 2807077"/>
                <a:gd name="connsiteY3" fmla="*/ 1480327 h 1558421"/>
                <a:gd name="connsiteX4" fmla="*/ 2459767 w 2807077"/>
                <a:gd name="connsiteY4" fmla="*/ 1558422 h 1558421"/>
                <a:gd name="connsiteX5" fmla="*/ 2729051 w 2807077"/>
                <a:gd name="connsiteY5" fmla="*/ 1430578 h 1558421"/>
                <a:gd name="connsiteX6" fmla="*/ 2679302 w 2807077"/>
                <a:gd name="connsiteY6" fmla="*/ 942342 h 1558421"/>
                <a:gd name="connsiteX7" fmla="*/ 1618661 w 2807077"/>
                <a:gd name="connsiteY7" fmla="*/ 78095 h 1558421"/>
                <a:gd name="connsiteX8" fmla="*/ 1180175 w 2807077"/>
                <a:gd name="connsiteY8" fmla="*/ 78095 h 1558421"/>
                <a:gd name="connsiteX9" fmla="*/ 127922 w 2807077"/>
                <a:gd name="connsiteY9" fmla="*/ 935689 h 1558421"/>
                <a:gd name="connsiteX10" fmla="*/ 77883 w 2807077"/>
                <a:gd name="connsiteY10" fmla="*/ 1423925 h 1558421"/>
                <a:gd name="connsiteX11" fmla="*/ 347165 w 2807077"/>
                <a:gd name="connsiteY11" fmla="*/ 1551769 h 1558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07077" h="1558421">
                  <a:moveTo>
                    <a:pt x="347165" y="1551769"/>
                  </a:moveTo>
                  <a:cubicBezTo>
                    <a:pt x="424103" y="1551769"/>
                    <a:pt x="501908" y="1526313"/>
                    <a:pt x="566119" y="1473675"/>
                  </a:cubicBezTo>
                  <a:lnTo>
                    <a:pt x="1399418" y="794830"/>
                  </a:lnTo>
                  <a:lnTo>
                    <a:pt x="2240812" y="1480327"/>
                  </a:lnTo>
                  <a:cubicBezTo>
                    <a:pt x="2305316" y="1532679"/>
                    <a:pt x="2382832" y="1558422"/>
                    <a:pt x="2459767" y="1558422"/>
                  </a:cubicBezTo>
                  <a:cubicBezTo>
                    <a:pt x="2560422" y="1558422"/>
                    <a:pt x="2660499" y="1514744"/>
                    <a:pt x="2729051" y="1430578"/>
                  </a:cubicBezTo>
                  <a:cubicBezTo>
                    <a:pt x="2850240" y="1281909"/>
                    <a:pt x="2827682" y="1063244"/>
                    <a:pt x="2679302" y="942342"/>
                  </a:cubicBezTo>
                  <a:lnTo>
                    <a:pt x="1618661" y="78095"/>
                  </a:lnTo>
                  <a:cubicBezTo>
                    <a:pt x="1491107" y="-26032"/>
                    <a:pt x="1307729" y="-26032"/>
                    <a:pt x="1180175" y="78095"/>
                  </a:cubicBezTo>
                  <a:lnTo>
                    <a:pt x="127922" y="935689"/>
                  </a:lnTo>
                  <a:cubicBezTo>
                    <a:pt x="-20747" y="1056591"/>
                    <a:pt x="-43019" y="1275253"/>
                    <a:pt x="77883" y="1423925"/>
                  </a:cubicBezTo>
                  <a:cubicBezTo>
                    <a:pt x="146722" y="1508094"/>
                    <a:pt x="246510" y="1551769"/>
                    <a:pt x="347165" y="1551769"/>
                  </a:cubicBezTo>
                  <a:close/>
                </a:path>
              </a:pathLst>
            </a:custGeom>
            <a:solidFill>
              <a:schemeClr val="accent1">
                <a:lumMod val="50000"/>
              </a:schemeClr>
            </a:solidFill>
            <a:ln w="2884" cap="flat">
              <a:noFill/>
              <a:prstDash val="solid"/>
              <a:miter/>
            </a:ln>
          </p:spPr>
          <p:txBody>
            <a:bodyPr rtlCol="0" anchor="ctr"/>
            <a:lstStyle/>
            <a:p>
              <a:endParaRPr lang="id-ID">
                <a:solidFill>
                  <a:schemeClr val="accent1"/>
                </a:solidFill>
                <a:latin typeface="Montserrat" panose="00000500000000000000" pitchFamily="2" charset="0"/>
              </a:endParaRPr>
            </a:p>
          </p:txBody>
        </p:sp>
        <p:sp>
          <p:nvSpPr>
            <p:cNvPr id="46" name="Freeform: Shape 3">
              <a:extLst>
                <a:ext uri="{FF2B5EF4-FFF2-40B4-BE49-F238E27FC236}">
                  <a16:creationId xmlns:a16="http://schemas.microsoft.com/office/drawing/2014/main" id="{330C9E2A-DD54-4CE6-BF68-C208DC7C182B}"/>
                </a:ext>
              </a:extLst>
            </p:cNvPr>
            <p:cNvSpPr/>
            <p:nvPr/>
          </p:nvSpPr>
          <p:spPr>
            <a:xfrm>
              <a:off x="2281151" y="2761528"/>
              <a:ext cx="1657802" cy="920374"/>
            </a:xfrm>
            <a:custGeom>
              <a:avLst/>
              <a:gdLst>
                <a:gd name="connsiteX0" fmla="*/ 347165 w 2807077"/>
                <a:gd name="connsiteY0" fmla="*/ 1551769 h 1558421"/>
                <a:gd name="connsiteX1" fmla="*/ 566119 w 2807077"/>
                <a:gd name="connsiteY1" fmla="*/ 1473674 h 1558421"/>
                <a:gd name="connsiteX2" fmla="*/ 1399418 w 2807077"/>
                <a:gd name="connsiteY2" fmla="*/ 794830 h 1558421"/>
                <a:gd name="connsiteX3" fmla="*/ 2240812 w 2807077"/>
                <a:gd name="connsiteY3" fmla="*/ 1480327 h 1558421"/>
                <a:gd name="connsiteX4" fmla="*/ 2459767 w 2807077"/>
                <a:gd name="connsiteY4" fmla="*/ 1558422 h 1558421"/>
                <a:gd name="connsiteX5" fmla="*/ 2729051 w 2807077"/>
                <a:gd name="connsiteY5" fmla="*/ 1430578 h 1558421"/>
                <a:gd name="connsiteX6" fmla="*/ 2679302 w 2807077"/>
                <a:gd name="connsiteY6" fmla="*/ 942342 h 1558421"/>
                <a:gd name="connsiteX7" fmla="*/ 1618661 w 2807077"/>
                <a:gd name="connsiteY7" fmla="*/ 78095 h 1558421"/>
                <a:gd name="connsiteX8" fmla="*/ 1180175 w 2807077"/>
                <a:gd name="connsiteY8" fmla="*/ 78095 h 1558421"/>
                <a:gd name="connsiteX9" fmla="*/ 127922 w 2807077"/>
                <a:gd name="connsiteY9" fmla="*/ 935400 h 1558421"/>
                <a:gd name="connsiteX10" fmla="*/ 77883 w 2807077"/>
                <a:gd name="connsiteY10" fmla="*/ 1423925 h 1558421"/>
                <a:gd name="connsiteX11" fmla="*/ 347165 w 2807077"/>
                <a:gd name="connsiteY11" fmla="*/ 1551769 h 1558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07077" h="1558421">
                  <a:moveTo>
                    <a:pt x="347165" y="1551769"/>
                  </a:moveTo>
                  <a:cubicBezTo>
                    <a:pt x="424103" y="1551769"/>
                    <a:pt x="501908" y="1526316"/>
                    <a:pt x="566119" y="1473674"/>
                  </a:cubicBezTo>
                  <a:lnTo>
                    <a:pt x="1399418" y="794830"/>
                  </a:lnTo>
                  <a:lnTo>
                    <a:pt x="2240812" y="1480327"/>
                  </a:lnTo>
                  <a:cubicBezTo>
                    <a:pt x="2305316" y="1532682"/>
                    <a:pt x="2382832" y="1558422"/>
                    <a:pt x="2459767" y="1558422"/>
                  </a:cubicBezTo>
                  <a:cubicBezTo>
                    <a:pt x="2560422" y="1558422"/>
                    <a:pt x="2660499" y="1514746"/>
                    <a:pt x="2729051" y="1430578"/>
                  </a:cubicBezTo>
                  <a:cubicBezTo>
                    <a:pt x="2850240" y="1281912"/>
                    <a:pt x="2827682" y="1063244"/>
                    <a:pt x="2679302" y="942342"/>
                  </a:cubicBezTo>
                  <a:lnTo>
                    <a:pt x="1618661" y="78095"/>
                  </a:lnTo>
                  <a:cubicBezTo>
                    <a:pt x="1491107" y="-26032"/>
                    <a:pt x="1307729" y="-26032"/>
                    <a:pt x="1180175" y="78095"/>
                  </a:cubicBezTo>
                  <a:lnTo>
                    <a:pt x="127922" y="935400"/>
                  </a:lnTo>
                  <a:cubicBezTo>
                    <a:pt x="-20747" y="1056591"/>
                    <a:pt x="-43019" y="1275256"/>
                    <a:pt x="77883" y="1423925"/>
                  </a:cubicBezTo>
                  <a:cubicBezTo>
                    <a:pt x="146722" y="1508094"/>
                    <a:pt x="246510" y="1551769"/>
                    <a:pt x="347165" y="1551769"/>
                  </a:cubicBezTo>
                  <a:close/>
                </a:path>
              </a:pathLst>
            </a:custGeom>
            <a:solidFill>
              <a:schemeClr val="accent1">
                <a:lumMod val="50000"/>
              </a:schemeClr>
            </a:solidFill>
            <a:ln w="2884" cap="flat">
              <a:noFill/>
              <a:prstDash val="solid"/>
              <a:miter/>
            </a:ln>
          </p:spPr>
          <p:txBody>
            <a:bodyPr rtlCol="0" anchor="ctr"/>
            <a:lstStyle/>
            <a:p>
              <a:endParaRPr lang="id-ID">
                <a:solidFill>
                  <a:schemeClr val="accent1"/>
                </a:solidFill>
                <a:latin typeface="Montserrat" panose="00000500000000000000" pitchFamily="2" charset="0"/>
              </a:endParaRPr>
            </a:p>
          </p:txBody>
        </p:sp>
      </p:grpSp>
      <p:sp>
        <p:nvSpPr>
          <p:cNvPr id="47" name="Pentagon 23">
            <a:extLst>
              <a:ext uri="{FF2B5EF4-FFF2-40B4-BE49-F238E27FC236}">
                <a16:creationId xmlns:a16="http://schemas.microsoft.com/office/drawing/2014/main" id="{87023826-6745-4003-AA08-991C35A635F8}"/>
              </a:ext>
            </a:extLst>
          </p:cNvPr>
          <p:cNvSpPr/>
          <p:nvPr/>
        </p:nvSpPr>
        <p:spPr>
          <a:xfrm>
            <a:off x="962875" y="3456809"/>
            <a:ext cx="1920240" cy="640080"/>
          </a:xfrm>
          <a:prstGeom prst="roundRect">
            <a:avLst/>
          </a:prstGeom>
          <a:noFill/>
          <a:ln w="19050">
            <a:gradFill>
              <a:gsLst>
                <a:gs pos="0">
                  <a:schemeClr val="accent4"/>
                </a:gs>
                <a:gs pos="69000">
                  <a:schemeClr val="accent6"/>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a:solidFill>
                <a:schemeClr val="accent1"/>
              </a:solidFill>
              <a:latin typeface="Montserrat" panose="00000500000000000000" pitchFamily="2" charset="0"/>
            </a:endParaRPr>
          </a:p>
        </p:txBody>
      </p:sp>
      <p:grpSp>
        <p:nvGrpSpPr>
          <p:cNvPr id="48" name="Group 31">
            <a:extLst>
              <a:ext uri="{FF2B5EF4-FFF2-40B4-BE49-F238E27FC236}">
                <a16:creationId xmlns:a16="http://schemas.microsoft.com/office/drawing/2014/main" id="{D83F9519-30AA-4C17-AB00-7D01DF3C2DCE}"/>
              </a:ext>
            </a:extLst>
          </p:cNvPr>
          <p:cNvGrpSpPr/>
          <p:nvPr/>
        </p:nvGrpSpPr>
        <p:grpSpPr>
          <a:xfrm>
            <a:off x="2981844" y="3456809"/>
            <a:ext cx="1920240" cy="640080"/>
            <a:chOff x="3081071" y="3505256"/>
            <a:chExt cx="1920240" cy="640080"/>
          </a:xfrm>
        </p:grpSpPr>
        <p:sp>
          <p:nvSpPr>
            <p:cNvPr id="49" name="TextBox 76">
              <a:extLst>
                <a:ext uri="{FF2B5EF4-FFF2-40B4-BE49-F238E27FC236}">
                  <a16:creationId xmlns:a16="http://schemas.microsoft.com/office/drawing/2014/main" id="{2CF810F3-7052-41A9-98DE-1C16E8E02D09}"/>
                </a:ext>
              </a:extLst>
            </p:cNvPr>
            <p:cNvSpPr txBox="1"/>
            <p:nvPr/>
          </p:nvSpPr>
          <p:spPr>
            <a:xfrm>
              <a:off x="4039037" y="3756796"/>
              <a:ext cx="65" cy="184666"/>
            </a:xfrm>
            <a:prstGeom prst="rect">
              <a:avLst/>
            </a:prstGeom>
            <a:noFill/>
          </p:spPr>
          <p:txBody>
            <a:bodyPr wrap="none" lIns="0" tIns="0" rIns="0" bIns="0" rtlCol="0" anchor="ctr">
              <a:spAutoFit/>
            </a:bodyPr>
            <a:lstStyle/>
            <a:p>
              <a:pPr algn="ctr"/>
              <a:endParaRPr lang="vi-VN" sz="1200" b="1" spc="40">
                <a:solidFill>
                  <a:schemeClr val="accent1"/>
                </a:solidFill>
                <a:latin typeface="Montserrat" panose="00000500000000000000" pitchFamily="2" charset="0"/>
                <a:cs typeface="Poppins" panose="00000500000000000000" pitchFamily="2" charset="0"/>
              </a:endParaRPr>
            </a:p>
          </p:txBody>
        </p:sp>
        <p:sp>
          <p:nvSpPr>
            <p:cNvPr id="50" name="Pentagon 23">
              <a:extLst>
                <a:ext uri="{FF2B5EF4-FFF2-40B4-BE49-F238E27FC236}">
                  <a16:creationId xmlns:a16="http://schemas.microsoft.com/office/drawing/2014/main" id="{18942E1D-BFB1-4122-803D-2A3ACFCD20A9}"/>
                </a:ext>
              </a:extLst>
            </p:cNvPr>
            <p:cNvSpPr/>
            <p:nvPr/>
          </p:nvSpPr>
          <p:spPr>
            <a:xfrm>
              <a:off x="3081071" y="3505256"/>
              <a:ext cx="1920240" cy="640080"/>
            </a:xfrm>
            <a:prstGeom prst="roundRect">
              <a:avLst/>
            </a:prstGeom>
            <a:noFill/>
            <a:ln w="19050">
              <a:gradFill>
                <a:gsLst>
                  <a:gs pos="0">
                    <a:schemeClr val="accent4"/>
                  </a:gs>
                  <a:gs pos="69000">
                    <a:schemeClr val="accent6"/>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a:solidFill>
                  <a:schemeClr val="accent1"/>
                </a:solidFill>
                <a:latin typeface="Montserrat" panose="00000500000000000000" pitchFamily="2" charset="0"/>
              </a:endParaRPr>
            </a:p>
          </p:txBody>
        </p:sp>
      </p:grpSp>
      <p:sp>
        <p:nvSpPr>
          <p:cNvPr id="51" name="Pentagon 23">
            <a:extLst>
              <a:ext uri="{FF2B5EF4-FFF2-40B4-BE49-F238E27FC236}">
                <a16:creationId xmlns:a16="http://schemas.microsoft.com/office/drawing/2014/main" id="{294D266D-9AA1-4FEC-BBCD-151153DE6E45}"/>
              </a:ext>
            </a:extLst>
          </p:cNvPr>
          <p:cNvSpPr/>
          <p:nvPr/>
        </p:nvSpPr>
        <p:spPr>
          <a:xfrm>
            <a:off x="4993938" y="3460324"/>
            <a:ext cx="1920240" cy="640080"/>
          </a:xfrm>
          <a:prstGeom prst="roundRect">
            <a:avLst/>
          </a:prstGeom>
          <a:noFill/>
          <a:ln w="19050">
            <a:gradFill>
              <a:gsLst>
                <a:gs pos="0">
                  <a:schemeClr val="accent4"/>
                </a:gs>
                <a:gs pos="69000">
                  <a:schemeClr val="accent6"/>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a:solidFill>
                <a:schemeClr val="accent1"/>
              </a:solidFill>
              <a:latin typeface="Montserrat" panose="00000500000000000000" pitchFamily="2" charset="0"/>
            </a:endParaRPr>
          </a:p>
        </p:txBody>
      </p:sp>
      <p:sp>
        <p:nvSpPr>
          <p:cNvPr id="52" name="Pentagon 23">
            <a:extLst>
              <a:ext uri="{FF2B5EF4-FFF2-40B4-BE49-F238E27FC236}">
                <a16:creationId xmlns:a16="http://schemas.microsoft.com/office/drawing/2014/main" id="{8594C689-74B5-47F2-98C8-0E1D1D8D994B}"/>
              </a:ext>
            </a:extLst>
          </p:cNvPr>
          <p:cNvSpPr/>
          <p:nvPr/>
        </p:nvSpPr>
        <p:spPr>
          <a:xfrm>
            <a:off x="7013426" y="3457780"/>
            <a:ext cx="1920240" cy="640080"/>
          </a:xfrm>
          <a:prstGeom prst="roundRect">
            <a:avLst/>
          </a:prstGeom>
          <a:noFill/>
          <a:ln w="19050">
            <a:gradFill>
              <a:gsLst>
                <a:gs pos="0">
                  <a:schemeClr val="accent4"/>
                </a:gs>
                <a:gs pos="69000">
                  <a:schemeClr val="accent6"/>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a:solidFill>
                <a:schemeClr val="accent1"/>
              </a:solidFill>
              <a:latin typeface="Montserrat" panose="00000500000000000000" pitchFamily="2" charset="0"/>
            </a:endParaRPr>
          </a:p>
        </p:txBody>
      </p:sp>
      <p:sp>
        <p:nvSpPr>
          <p:cNvPr id="53" name="Oval 37">
            <a:extLst>
              <a:ext uri="{FF2B5EF4-FFF2-40B4-BE49-F238E27FC236}">
                <a16:creationId xmlns:a16="http://schemas.microsoft.com/office/drawing/2014/main" id="{61B453C2-84E1-4354-B5CF-47BBD28E4448}"/>
              </a:ext>
            </a:extLst>
          </p:cNvPr>
          <p:cNvSpPr>
            <a:spLocks noChangeAspect="1"/>
          </p:cNvSpPr>
          <p:nvPr/>
        </p:nvSpPr>
        <p:spPr>
          <a:xfrm>
            <a:off x="1554357" y="5504311"/>
            <a:ext cx="756000" cy="756000"/>
          </a:xfrm>
          <a:prstGeom prst="ellipse">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598">
              <a:solidFill>
                <a:schemeClr val="accent1"/>
              </a:solidFill>
              <a:latin typeface="Montserrat" panose="00000500000000000000" pitchFamily="2" charset="0"/>
            </a:endParaRPr>
          </a:p>
        </p:txBody>
      </p:sp>
      <p:sp>
        <p:nvSpPr>
          <p:cNvPr id="54" name="Oval 38">
            <a:extLst>
              <a:ext uri="{FF2B5EF4-FFF2-40B4-BE49-F238E27FC236}">
                <a16:creationId xmlns:a16="http://schemas.microsoft.com/office/drawing/2014/main" id="{312BEB39-2956-4DFA-9E76-E2B76D27E8AB}"/>
              </a:ext>
            </a:extLst>
          </p:cNvPr>
          <p:cNvSpPr>
            <a:spLocks noChangeAspect="1"/>
          </p:cNvSpPr>
          <p:nvPr/>
        </p:nvSpPr>
        <p:spPr>
          <a:xfrm>
            <a:off x="3584858" y="5517764"/>
            <a:ext cx="756000" cy="756000"/>
          </a:xfrm>
          <a:prstGeom prst="ellipse">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598">
              <a:solidFill>
                <a:schemeClr val="accent1"/>
              </a:solidFill>
              <a:latin typeface="Montserrat" panose="00000500000000000000" pitchFamily="2" charset="0"/>
            </a:endParaRPr>
          </a:p>
        </p:txBody>
      </p:sp>
      <p:sp>
        <p:nvSpPr>
          <p:cNvPr id="55" name="Oval 40">
            <a:extLst>
              <a:ext uri="{FF2B5EF4-FFF2-40B4-BE49-F238E27FC236}">
                <a16:creationId xmlns:a16="http://schemas.microsoft.com/office/drawing/2014/main" id="{4C78F09C-D4FC-402D-A833-E0FF1318EEBB}"/>
              </a:ext>
            </a:extLst>
          </p:cNvPr>
          <p:cNvSpPr>
            <a:spLocks noChangeAspect="1"/>
          </p:cNvSpPr>
          <p:nvPr/>
        </p:nvSpPr>
        <p:spPr>
          <a:xfrm>
            <a:off x="7635336" y="5504311"/>
            <a:ext cx="756000" cy="756000"/>
          </a:xfrm>
          <a:prstGeom prst="ellipse">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598">
              <a:solidFill>
                <a:schemeClr val="accent1"/>
              </a:solidFill>
              <a:latin typeface="Montserrat" panose="00000500000000000000" pitchFamily="2" charset="0"/>
            </a:endParaRPr>
          </a:p>
        </p:txBody>
      </p:sp>
      <p:sp>
        <p:nvSpPr>
          <p:cNvPr id="56" name="Oval 39">
            <a:extLst>
              <a:ext uri="{FF2B5EF4-FFF2-40B4-BE49-F238E27FC236}">
                <a16:creationId xmlns:a16="http://schemas.microsoft.com/office/drawing/2014/main" id="{8031006B-63E2-4030-AB3F-43E3C0324E91}"/>
              </a:ext>
            </a:extLst>
          </p:cNvPr>
          <p:cNvSpPr>
            <a:spLocks noChangeAspect="1"/>
          </p:cNvSpPr>
          <p:nvPr/>
        </p:nvSpPr>
        <p:spPr>
          <a:xfrm>
            <a:off x="5618773" y="5517764"/>
            <a:ext cx="756000" cy="756000"/>
          </a:xfrm>
          <a:prstGeom prst="ellipse">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598">
              <a:solidFill>
                <a:schemeClr val="accent1"/>
              </a:solidFill>
              <a:latin typeface="Montserrat" panose="00000500000000000000" pitchFamily="2" charset="0"/>
            </a:endParaRPr>
          </a:p>
        </p:txBody>
      </p:sp>
      <p:sp>
        <p:nvSpPr>
          <p:cNvPr id="57" name="TextBox 81">
            <a:extLst>
              <a:ext uri="{FF2B5EF4-FFF2-40B4-BE49-F238E27FC236}">
                <a16:creationId xmlns:a16="http://schemas.microsoft.com/office/drawing/2014/main" id="{29802ACE-CF56-485E-B8FA-2FD2E95AE839}"/>
              </a:ext>
            </a:extLst>
          </p:cNvPr>
          <p:cNvSpPr txBox="1"/>
          <p:nvPr/>
        </p:nvSpPr>
        <p:spPr>
          <a:xfrm>
            <a:off x="5011769" y="2024697"/>
            <a:ext cx="1819013" cy="760401"/>
          </a:xfrm>
          <a:prstGeom prst="rect">
            <a:avLst/>
          </a:prstGeom>
          <a:noFill/>
        </p:spPr>
        <p:txBody>
          <a:bodyPr wrap="square" lIns="0" tIns="0" rIns="0" bIns="0" rtlCol="0" anchor="ctr">
            <a:spAutoFit/>
          </a:bodyPr>
          <a:lstStyle/>
          <a:p>
            <a:pPr algn="ctr">
              <a:lnSpc>
                <a:spcPct val="120000"/>
              </a:lnSpc>
            </a:pPr>
            <a:r>
              <a:rPr lang="de-DE" sz="1050" dirty="0">
                <a:ea typeface="Open Sans" panose="020B0606030504020204" pitchFamily="34" charset="0"/>
                <a:cs typeface="Arial Regular" charset="0"/>
              </a:rPr>
              <a:t>IHE TCE-konformes Lehrarchiv mit automatischer Anonymisierung</a:t>
            </a:r>
          </a:p>
        </p:txBody>
      </p:sp>
      <p:sp>
        <p:nvSpPr>
          <p:cNvPr id="58" name="TextBox 81">
            <a:extLst>
              <a:ext uri="{FF2B5EF4-FFF2-40B4-BE49-F238E27FC236}">
                <a16:creationId xmlns:a16="http://schemas.microsoft.com/office/drawing/2014/main" id="{FDDF162E-32EB-42C9-B3E7-8B64D0ABF0B8}"/>
              </a:ext>
            </a:extLst>
          </p:cNvPr>
          <p:cNvSpPr txBox="1"/>
          <p:nvPr/>
        </p:nvSpPr>
        <p:spPr>
          <a:xfrm>
            <a:off x="7064039" y="1993524"/>
            <a:ext cx="1920240" cy="954300"/>
          </a:xfrm>
          <a:prstGeom prst="rect">
            <a:avLst/>
          </a:prstGeom>
          <a:noFill/>
        </p:spPr>
        <p:txBody>
          <a:bodyPr wrap="square" lIns="0" tIns="0" rIns="0" bIns="0" rtlCol="0" anchor="ctr">
            <a:spAutoFit/>
          </a:bodyPr>
          <a:lstStyle/>
          <a:p>
            <a:pPr algn="ctr">
              <a:lnSpc>
                <a:spcPct val="120000"/>
              </a:lnSpc>
            </a:pPr>
            <a:r>
              <a:rPr lang="de-DE" sz="1050" dirty="0">
                <a:ea typeface="Open Sans" panose="020B0606030504020204" pitchFamily="34" charset="0"/>
                <a:cs typeface="Arial Regular" charset="0"/>
              </a:rPr>
              <a:t>Für externe Untersuchungen ohne Langzeitarchivierung z.B. CD-Importe und Teleradiologie</a:t>
            </a:r>
          </a:p>
        </p:txBody>
      </p:sp>
      <p:pic>
        <p:nvPicPr>
          <p:cNvPr id="59" name="Graphic 72" descr="Download with solid fill">
            <a:extLst>
              <a:ext uri="{FF2B5EF4-FFF2-40B4-BE49-F238E27FC236}">
                <a16:creationId xmlns:a16="http://schemas.microsoft.com/office/drawing/2014/main" id="{04F8FE6F-3C1D-4CD7-B82C-F367D7420FB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16346" y="3092978"/>
            <a:ext cx="914400" cy="914400"/>
          </a:xfrm>
          <a:prstGeom prst="rect">
            <a:avLst/>
          </a:prstGeom>
        </p:spPr>
      </p:pic>
      <p:pic>
        <p:nvPicPr>
          <p:cNvPr id="82" name="Graphic 74" descr="Classroom with solid fill">
            <a:extLst>
              <a:ext uri="{FF2B5EF4-FFF2-40B4-BE49-F238E27FC236}">
                <a16:creationId xmlns:a16="http://schemas.microsoft.com/office/drawing/2014/main" id="{75F737C0-9A45-49E9-BF0F-E79667923BB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482271" y="3092978"/>
            <a:ext cx="914400" cy="914400"/>
          </a:xfrm>
          <a:prstGeom prst="rect">
            <a:avLst/>
          </a:prstGeom>
        </p:spPr>
      </p:pic>
      <p:pic>
        <p:nvPicPr>
          <p:cNvPr id="83" name="Graphic 76" descr="Images with solid fill">
            <a:extLst>
              <a:ext uri="{FF2B5EF4-FFF2-40B4-BE49-F238E27FC236}">
                <a16:creationId xmlns:a16="http://schemas.microsoft.com/office/drawing/2014/main" id="{BD800BE4-EEA7-48C3-9F15-427F2F61D74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505656" y="3092978"/>
            <a:ext cx="914400" cy="914400"/>
          </a:xfrm>
          <a:prstGeom prst="rect">
            <a:avLst/>
          </a:prstGeom>
        </p:spPr>
      </p:pic>
      <p:pic>
        <p:nvPicPr>
          <p:cNvPr id="84" name="Graphic 78" descr="Database with solid fill">
            <a:extLst>
              <a:ext uri="{FF2B5EF4-FFF2-40B4-BE49-F238E27FC236}">
                <a16:creationId xmlns:a16="http://schemas.microsoft.com/office/drawing/2014/main" id="{D02E3780-AFE4-469A-9908-99F6424B1F1F}"/>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446802" y="3092978"/>
            <a:ext cx="914400" cy="914400"/>
          </a:xfrm>
          <a:prstGeom prst="rect">
            <a:avLst/>
          </a:prstGeom>
        </p:spPr>
      </p:pic>
      <p:sp>
        <p:nvSpPr>
          <p:cNvPr id="60" name="Pentagon 24">
            <a:extLst>
              <a:ext uri="{FF2B5EF4-FFF2-40B4-BE49-F238E27FC236}">
                <a16:creationId xmlns:a16="http://schemas.microsoft.com/office/drawing/2014/main" id="{661C28D2-B91F-435A-8945-3CCA6CD90499}"/>
              </a:ext>
            </a:extLst>
          </p:cNvPr>
          <p:cNvSpPr/>
          <p:nvPr/>
        </p:nvSpPr>
        <p:spPr>
          <a:xfrm>
            <a:off x="8996261" y="4274863"/>
            <a:ext cx="2011680" cy="640080"/>
          </a:xfrm>
          <a:prstGeom prst="rect">
            <a:avLst/>
          </a:prstGeom>
          <a:solidFill>
            <a:schemeClr val="tx1">
              <a:lumMod val="65000"/>
              <a:lumOff val="35000"/>
            </a:schemeClr>
          </a:solidFill>
          <a:ln w="317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dirty="0" err="1">
                <a:solidFill>
                  <a:srgbClr val="FFFFFF"/>
                </a:solidFill>
                <a:latin typeface="Montserrat" panose="00000500000000000000" pitchFamily="2" charset="0"/>
              </a:rPr>
              <a:t>Pathology</a:t>
            </a:r>
            <a:r>
              <a:rPr lang="fr-FR" sz="1200" b="1" dirty="0">
                <a:solidFill>
                  <a:srgbClr val="FFFFFF"/>
                </a:solidFill>
                <a:latin typeface="Montserrat" panose="00000500000000000000" pitchFamily="2" charset="0"/>
              </a:rPr>
              <a:t> Archive</a:t>
            </a:r>
            <a:endParaRPr lang="en-US" sz="1200" b="1" dirty="0">
              <a:solidFill>
                <a:schemeClr val="bg1"/>
              </a:solidFill>
              <a:latin typeface="Montserrat" panose="00000500000000000000" pitchFamily="2" charset="0"/>
            </a:endParaRPr>
          </a:p>
        </p:txBody>
      </p:sp>
      <p:cxnSp>
        <p:nvCxnSpPr>
          <p:cNvPr id="61" name="Straight Arrow Connector 38">
            <a:extLst>
              <a:ext uri="{FF2B5EF4-FFF2-40B4-BE49-F238E27FC236}">
                <a16:creationId xmlns:a16="http://schemas.microsoft.com/office/drawing/2014/main" id="{9D1FB4B2-26EC-4300-95E4-3461DE4272EB}"/>
              </a:ext>
            </a:extLst>
          </p:cNvPr>
          <p:cNvCxnSpPr>
            <a:cxnSpLocks/>
          </p:cNvCxnSpPr>
          <p:nvPr/>
        </p:nvCxnSpPr>
        <p:spPr>
          <a:xfrm>
            <a:off x="8988502" y="1697712"/>
            <a:ext cx="0" cy="1948163"/>
          </a:xfrm>
          <a:prstGeom prst="straightConnector1">
            <a:avLst/>
          </a:prstGeom>
          <a:ln w="19050" cap="rnd">
            <a:solidFill>
              <a:srgbClr val="525664"/>
            </a:solidFill>
            <a:prstDash val="sysDash"/>
            <a:round/>
            <a:headEnd type="none" w="lg" len="lg"/>
            <a:tailEnd type="none" w="lg" len="lg"/>
          </a:ln>
        </p:spPr>
        <p:style>
          <a:lnRef idx="1">
            <a:schemeClr val="accent1"/>
          </a:lnRef>
          <a:fillRef idx="0">
            <a:schemeClr val="accent1"/>
          </a:fillRef>
          <a:effectRef idx="0">
            <a:schemeClr val="accent1"/>
          </a:effectRef>
          <a:fontRef idx="minor">
            <a:schemeClr val="tx1"/>
          </a:fontRef>
        </p:style>
      </p:cxnSp>
      <p:grpSp>
        <p:nvGrpSpPr>
          <p:cNvPr id="62" name="Group 52">
            <a:extLst>
              <a:ext uri="{FF2B5EF4-FFF2-40B4-BE49-F238E27FC236}">
                <a16:creationId xmlns:a16="http://schemas.microsoft.com/office/drawing/2014/main" id="{2DA40178-2E08-4CD6-932D-C52C02382308}"/>
              </a:ext>
            </a:extLst>
          </p:cNvPr>
          <p:cNvGrpSpPr>
            <a:grpSpLocks noChangeAspect="1"/>
          </p:cNvGrpSpPr>
          <p:nvPr/>
        </p:nvGrpSpPr>
        <p:grpSpPr>
          <a:xfrm>
            <a:off x="9848012" y="5038485"/>
            <a:ext cx="348059" cy="360000"/>
            <a:chOff x="2281151" y="2761528"/>
            <a:chExt cx="1657802" cy="1714678"/>
          </a:xfrm>
          <a:solidFill>
            <a:schemeClr val="accent1"/>
          </a:solidFill>
          <a:effectLst>
            <a:outerShdw blurRad="94654" dist="38100" dir="2700000" algn="tl" rotWithShape="0">
              <a:prstClr val="black">
                <a:alpha val="60000"/>
              </a:prstClr>
            </a:outerShdw>
          </a:effectLst>
        </p:grpSpPr>
        <p:sp>
          <p:nvSpPr>
            <p:cNvPr id="63" name="Freeform: Shape 2">
              <a:extLst>
                <a:ext uri="{FF2B5EF4-FFF2-40B4-BE49-F238E27FC236}">
                  <a16:creationId xmlns:a16="http://schemas.microsoft.com/office/drawing/2014/main" id="{3B1F769E-69A1-4227-B4FD-4B2CE4E401A5}"/>
                </a:ext>
              </a:extLst>
            </p:cNvPr>
            <p:cNvSpPr/>
            <p:nvPr/>
          </p:nvSpPr>
          <p:spPr>
            <a:xfrm>
              <a:off x="2281151" y="3555835"/>
              <a:ext cx="1657802" cy="920371"/>
            </a:xfrm>
            <a:custGeom>
              <a:avLst/>
              <a:gdLst>
                <a:gd name="connsiteX0" fmla="*/ 347165 w 2807077"/>
                <a:gd name="connsiteY0" fmla="*/ 1551769 h 1558421"/>
                <a:gd name="connsiteX1" fmla="*/ 566119 w 2807077"/>
                <a:gd name="connsiteY1" fmla="*/ 1473675 h 1558421"/>
                <a:gd name="connsiteX2" fmla="*/ 1399418 w 2807077"/>
                <a:gd name="connsiteY2" fmla="*/ 794830 h 1558421"/>
                <a:gd name="connsiteX3" fmla="*/ 2240812 w 2807077"/>
                <a:gd name="connsiteY3" fmla="*/ 1480327 h 1558421"/>
                <a:gd name="connsiteX4" fmla="*/ 2459767 w 2807077"/>
                <a:gd name="connsiteY4" fmla="*/ 1558422 h 1558421"/>
                <a:gd name="connsiteX5" fmla="*/ 2729051 w 2807077"/>
                <a:gd name="connsiteY5" fmla="*/ 1430578 h 1558421"/>
                <a:gd name="connsiteX6" fmla="*/ 2679302 w 2807077"/>
                <a:gd name="connsiteY6" fmla="*/ 942342 h 1558421"/>
                <a:gd name="connsiteX7" fmla="*/ 1618661 w 2807077"/>
                <a:gd name="connsiteY7" fmla="*/ 78095 h 1558421"/>
                <a:gd name="connsiteX8" fmla="*/ 1180175 w 2807077"/>
                <a:gd name="connsiteY8" fmla="*/ 78095 h 1558421"/>
                <a:gd name="connsiteX9" fmla="*/ 127922 w 2807077"/>
                <a:gd name="connsiteY9" fmla="*/ 935689 h 1558421"/>
                <a:gd name="connsiteX10" fmla="*/ 77883 w 2807077"/>
                <a:gd name="connsiteY10" fmla="*/ 1423925 h 1558421"/>
                <a:gd name="connsiteX11" fmla="*/ 347165 w 2807077"/>
                <a:gd name="connsiteY11" fmla="*/ 1551769 h 1558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07077" h="1558421">
                  <a:moveTo>
                    <a:pt x="347165" y="1551769"/>
                  </a:moveTo>
                  <a:cubicBezTo>
                    <a:pt x="424103" y="1551769"/>
                    <a:pt x="501908" y="1526313"/>
                    <a:pt x="566119" y="1473675"/>
                  </a:cubicBezTo>
                  <a:lnTo>
                    <a:pt x="1399418" y="794830"/>
                  </a:lnTo>
                  <a:lnTo>
                    <a:pt x="2240812" y="1480327"/>
                  </a:lnTo>
                  <a:cubicBezTo>
                    <a:pt x="2305316" y="1532679"/>
                    <a:pt x="2382832" y="1558422"/>
                    <a:pt x="2459767" y="1558422"/>
                  </a:cubicBezTo>
                  <a:cubicBezTo>
                    <a:pt x="2560422" y="1558422"/>
                    <a:pt x="2660499" y="1514744"/>
                    <a:pt x="2729051" y="1430578"/>
                  </a:cubicBezTo>
                  <a:cubicBezTo>
                    <a:pt x="2850240" y="1281909"/>
                    <a:pt x="2827682" y="1063244"/>
                    <a:pt x="2679302" y="942342"/>
                  </a:cubicBezTo>
                  <a:lnTo>
                    <a:pt x="1618661" y="78095"/>
                  </a:lnTo>
                  <a:cubicBezTo>
                    <a:pt x="1491107" y="-26032"/>
                    <a:pt x="1307729" y="-26032"/>
                    <a:pt x="1180175" y="78095"/>
                  </a:cubicBezTo>
                  <a:lnTo>
                    <a:pt x="127922" y="935689"/>
                  </a:lnTo>
                  <a:cubicBezTo>
                    <a:pt x="-20747" y="1056591"/>
                    <a:pt x="-43019" y="1275253"/>
                    <a:pt x="77883" y="1423925"/>
                  </a:cubicBezTo>
                  <a:cubicBezTo>
                    <a:pt x="146722" y="1508094"/>
                    <a:pt x="246510" y="1551769"/>
                    <a:pt x="347165" y="1551769"/>
                  </a:cubicBezTo>
                  <a:close/>
                </a:path>
              </a:pathLst>
            </a:custGeom>
            <a:solidFill>
              <a:schemeClr val="accent1">
                <a:lumMod val="50000"/>
              </a:schemeClr>
            </a:solidFill>
            <a:ln w="2884" cap="flat">
              <a:noFill/>
              <a:prstDash val="solid"/>
              <a:miter/>
            </a:ln>
          </p:spPr>
          <p:txBody>
            <a:bodyPr rtlCol="0" anchor="ctr"/>
            <a:lstStyle/>
            <a:p>
              <a:endParaRPr lang="id-ID">
                <a:solidFill>
                  <a:schemeClr val="accent1"/>
                </a:solidFill>
                <a:latin typeface="Montserrat" panose="00000500000000000000" pitchFamily="2" charset="0"/>
              </a:endParaRPr>
            </a:p>
          </p:txBody>
        </p:sp>
        <p:sp>
          <p:nvSpPr>
            <p:cNvPr id="64" name="Freeform: Shape 3">
              <a:extLst>
                <a:ext uri="{FF2B5EF4-FFF2-40B4-BE49-F238E27FC236}">
                  <a16:creationId xmlns:a16="http://schemas.microsoft.com/office/drawing/2014/main" id="{6DC05708-4D29-4A84-A969-9856F3CE07F7}"/>
                </a:ext>
              </a:extLst>
            </p:cNvPr>
            <p:cNvSpPr/>
            <p:nvPr/>
          </p:nvSpPr>
          <p:spPr>
            <a:xfrm>
              <a:off x="2281151" y="2761528"/>
              <a:ext cx="1657802" cy="920374"/>
            </a:xfrm>
            <a:custGeom>
              <a:avLst/>
              <a:gdLst>
                <a:gd name="connsiteX0" fmla="*/ 347165 w 2807077"/>
                <a:gd name="connsiteY0" fmla="*/ 1551769 h 1558421"/>
                <a:gd name="connsiteX1" fmla="*/ 566119 w 2807077"/>
                <a:gd name="connsiteY1" fmla="*/ 1473674 h 1558421"/>
                <a:gd name="connsiteX2" fmla="*/ 1399418 w 2807077"/>
                <a:gd name="connsiteY2" fmla="*/ 794830 h 1558421"/>
                <a:gd name="connsiteX3" fmla="*/ 2240812 w 2807077"/>
                <a:gd name="connsiteY3" fmla="*/ 1480327 h 1558421"/>
                <a:gd name="connsiteX4" fmla="*/ 2459767 w 2807077"/>
                <a:gd name="connsiteY4" fmla="*/ 1558422 h 1558421"/>
                <a:gd name="connsiteX5" fmla="*/ 2729051 w 2807077"/>
                <a:gd name="connsiteY5" fmla="*/ 1430578 h 1558421"/>
                <a:gd name="connsiteX6" fmla="*/ 2679302 w 2807077"/>
                <a:gd name="connsiteY6" fmla="*/ 942342 h 1558421"/>
                <a:gd name="connsiteX7" fmla="*/ 1618661 w 2807077"/>
                <a:gd name="connsiteY7" fmla="*/ 78095 h 1558421"/>
                <a:gd name="connsiteX8" fmla="*/ 1180175 w 2807077"/>
                <a:gd name="connsiteY8" fmla="*/ 78095 h 1558421"/>
                <a:gd name="connsiteX9" fmla="*/ 127922 w 2807077"/>
                <a:gd name="connsiteY9" fmla="*/ 935400 h 1558421"/>
                <a:gd name="connsiteX10" fmla="*/ 77883 w 2807077"/>
                <a:gd name="connsiteY10" fmla="*/ 1423925 h 1558421"/>
                <a:gd name="connsiteX11" fmla="*/ 347165 w 2807077"/>
                <a:gd name="connsiteY11" fmla="*/ 1551769 h 1558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07077" h="1558421">
                  <a:moveTo>
                    <a:pt x="347165" y="1551769"/>
                  </a:moveTo>
                  <a:cubicBezTo>
                    <a:pt x="424103" y="1551769"/>
                    <a:pt x="501908" y="1526316"/>
                    <a:pt x="566119" y="1473674"/>
                  </a:cubicBezTo>
                  <a:lnTo>
                    <a:pt x="1399418" y="794830"/>
                  </a:lnTo>
                  <a:lnTo>
                    <a:pt x="2240812" y="1480327"/>
                  </a:lnTo>
                  <a:cubicBezTo>
                    <a:pt x="2305316" y="1532682"/>
                    <a:pt x="2382832" y="1558422"/>
                    <a:pt x="2459767" y="1558422"/>
                  </a:cubicBezTo>
                  <a:cubicBezTo>
                    <a:pt x="2560422" y="1558422"/>
                    <a:pt x="2660499" y="1514746"/>
                    <a:pt x="2729051" y="1430578"/>
                  </a:cubicBezTo>
                  <a:cubicBezTo>
                    <a:pt x="2850240" y="1281912"/>
                    <a:pt x="2827682" y="1063244"/>
                    <a:pt x="2679302" y="942342"/>
                  </a:cubicBezTo>
                  <a:lnTo>
                    <a:pt x="1618661" y="78095"/>
                  </a:lnTo>
                  <a:cubicBezTo>
                    <a:pt x="1491107" y="-26032"/>
                    <a:pt x="1307729" y="-26032"/>
                    <a:pt x="1180175" y="78095"/>
                  </a:cubicBezTo>
                  <a:lnTo>
                    <a:pt x="127922" y="935400"/>
                  </a:lnTo>
                  <a:cubicBezTo>
                    <a:pt x="-20747" y="1056591"/>
                    <a:pt x="-43019" y="1275256"/>
                    <a:pt x="77883" y="1423925"/>
                  </a:cubicBezTo>
                  <a:cubicBezTo>
                    <a:pt x="146722" y="1508094"/>
                    <a:pt x="246510" y="1551769"/>
                    <a:pt x="347165" y="1551769"/>
                  </a:cubicBezTo>
                  <a:close/>
                </a:path>
              </a:pathLst>
            </a:custGeom>
            <a:solidFill>
              <a:schemeClr val="accent1">
                <a:lumMod val="50000"/>
              </a:schemeClr>
            </a:solidFill>
            <a:ln w="2884" cap="flat">
              <a:noFill/>
              <a:prstDash val="solid"/>
              <a:miter/>
            </a:ln>
          </p:spPr>
          <p:txBody>
            <a:bodyPr rtlCol="0" anchor="ctr"/>
            <a:lstStyle/>
            <a:p>
              <a:endParaRPr lang="id-ID">
                <a:solidFill>
                  <a:schemeClr val="accent1"/>
                </a:solidFill>
                <a:latin typeface="Montserrat" panose="00000500000000000000" pitchFamily="2" charset="0"/>
              </a:endParaRPr>
            </a:p>
          </p:txBody>
        </p:sp>
      </p:grpSp>
      <p:sp>
        <p:nvSpPr>
          <p:cNvPr id="65" name="Pentagon 23">
            <a:extLst>
              <a:ext uri="{FF2B5EF4-FFF2-40B4-BE49-F238E27FC236}">
                <a16:creationId xmlns:a16="http://schemas.microsoft.com/office/drawing/2014/main" id="{769369E9-E1C3-4B1C-965D-D6D533624F43}"/>
              </a:ext>
            </a:extLst>
          </p:cNvPr>
          <p:cNvSpPr/>
          <p:nvPr/>
        </p:nvSpPr>
        <p:spPr>
          <a:xfrm>
            <a:off x="9031441" y="3457780"/>
            <a:ext cx="1920240" cy="640080"/>
          </a:xfrm>
          <a:prstGeom prst="roundRect">
            <a:avLst/>
          </a:prstGeom>
          <a:noFill/>
          <a:ln w="19050">
            <a:gradFill>
              <a:gsLst>
                <a:gs pos="0">
                  <a:schemeClr val="accent4"/>
                </a:gs>
                <a:gs pos="69000">
                  <a:schemeClr val="accent6"/>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a:solidFill>
                <a:schemeClr val="accent1"/>
              </a:solidFill>
              <a:latin typeface="Montserrat" panose="00000500000000000000" pitchFamily="2" charset="0"/>
            </a:endParaRPr>
          </a:p>
        </p:txBody>
      </p:sp>
      <p:sp>
        <p:nvSpPr>
          <p:cNvPr id="66" name="Oval 40">
            <a:extLst>
              <a:ext uri="{FF2B5EF4-FFF2-40B4-BE49-F238E27FC236}">
                <a16:creationId xmlns:a16="http://schemas.microsoft.com/office/drawing/2014/main" id="{2B4340A6-2D6E-4851-AB19-F26664BCA699}"/>
              </a:ext>
            </a:extLst>
          </p:cNvPr>
          <p:cNvSpPr>
            <a:spLocks noChangeAspect="1"/>
          </p:cNvSpPr>
          <p:nvPr/>
        </p:nvSpPr>
        <p:spPr>
          <a:xfrm>
            <a:off x="9653351" y="5504311"/>
            <a:ext cx="756000" cy="756000"/>
          </a:xfrm>
          <a:prstGeom prst="ellipse">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598">
              <a:solidFill>
                <a:schemeClr val="accent1"/>
              </a:solidFill>
              <a:latin typeface="Montserrat" panose="00000500000000000000" pitchFamily="2" charset="0"/>
            </a:endParaRPr>
          </a:p>
        </p:txBody>
      </p:sp>
      <p:sp>
        <p:nvSpPr>
          <p:cNvPr id="67" name="TextBox 81">
            <a:extLst>
              <a:ext uri="{FF2B5EF4-FFF2-40B4-BE49-F238E27FC236}">
                <a16:creationId xmlns:a16="http://schemas.microsoft.com/office/drawing/2014/main" id="{2B9CD295-48C7-44AC-83A6-DE99EF686829}"/>
              </a:ext>
            </a:extLst>
          </p:cNvPr>
          <p:cNvSpPr txBox="1"/>
          <p:nvPr/>
        </p:nvSpPr>
        <p:spPr>
          <a:xfrm>
            <a:off x="9082054" y="2003915"/>
            <a:ext cx="1869625" cy="566502"/>
          </a:xfrm>
          <a:prstGeom prst="rect">
            <a:avLst/>
          </a:prstGeom>
          <a:noFill/>
        </p:spPr>
        <p:txBody>
          <a:bodyPr wrap="square" lIns="0" tIns="0" rIns="0" bIns="0" rtlCol="0" anchor="ctr">
            <a:spAutoFit/>
          </a:bodyPr>
          <a:lstStyle/>
          <a:p>
            <a:pPr algn="ctr">
              <a:lnSpc>
                <a:spcPct val="120000"/>
              </a:lnSpc>
            </a:pPr>
            <a:r>
              <a:rPr lang="de-DE" sz="1050" dirty="0">
                <a:ea typeface="Open Sans" panose="020B0606030504020204" pitchFamily="34" charset="0"/>
                <a:cs typeface="Arial Regular" charset="0"/>
              </a:rPr>
              <a:t>Spezieller Speicher für alle Ganzdia-Bilder (DICOM WSI)</a:t>
            </a:r>
          </a:p>
        </p:txBody>
      </p:sp>
      <p:pic>
        <p:nvPicPr>
          <p:cNvPr id="7" name="Grafik 6" descr="Mikroskop mit einfarbiger Füllung">
            <a:extLst>
              <a:ext uri="{FF2B5EF4-FFF2-40B4-BE49-F238E27FC236}">
                <a16:creationId xmlns:a16="http://schemas.microsoft.com/office/drawing/2014/main" id="{46454B85-0162-4C92-8823-951812E9B964}"/>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9494951" y="3013011"/>
            <a:ext cx="914400" cy="914400"/>
          </a:xfrm>
          <a:prstGeom prst="rect">
            <a:avLst/>
          </a:prstGeom>
        </p:spPr>
      </p:pic>
    </p:spTree>
    <p:extLst>
      <p:ext uri="{BB962C8B-B14F-4D97-AF65-F5344CB8AC3E}">
        <p14:creationId xmlns:p14="http://schemas.microsoft.com/office/powerpoint/2010/main" val="25313749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nodeType="after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barn(outVertical)">
                                      <p:cBhvr>
                                        <p:cTn id="7" dur="1000"/>
                                        <p:tgtEl>
                                          <p:spTgt spid="25"/>
                                        </p:tgtEl>
                                      </p:cBhvr>
                                    </p:animEffect>
                                  </p:childTnLst>
                                </p:cTn>
                              </p:par>
                              <p:par>
                                <p:cTn id="8" presetID="17" presetClass="entr" presetSubtype="4" fill="hold" nodeType="withEffect">
                                  <p:stCondLst>
                                    <p:cond delay="1500"/>
                                  </p:stCondLst>
                                  <p:childTnLst>
                                    <p:set>
                                      <p:cBhvr>
                                        <p:cTn id="9" dur="1" fill="hold">
                                          <p:stCondLst>
                                            <p:cond delay="0"/>
                                          </p:stCondLst>
                                        </p:cTn>
                                        <p:tgtEl>
                                          <p:spTgt spid="35"/>
                                        </p:tgtEl>
                                        <p:attrNameLst>
                                          <p:attrName>style.visibility</p:attrName>
                                        </p:attrNameLst>
                                      </p:cBhvr>
                                      <p:to>
                                        <p:strVal val="visible"/>
                                      </p:to>
                                    </p:set>
                                    <p:anim calcmode="lin" valueType="num">
                                      <p:cBhvr>
                                        <p:cTn id="10" dur="1000" fill="hold"/>
                                        <p:tgtEl>
                                          <p:spTgt spid="35"/>
                                        </p:tgtEl>
                                        <p:attrNameLst>
                                          <p:attrName>ppt_x</p:attrName>
                                        </p:attrNameLst>
                                      </p:cBhvr>
                                      <p:tavLst>
                                        <p:tav tm="0">
                                          <p:val>
                                            <p:strVal val="#ppt_x"/>
                                          </p:val>
                                        </p:tav>
                                        <p:tav tm="100000">
                                          <p:val>
                                            <p:strVal val="#ppt_x"/>
                                          </p:val>
                                        </p:tav>
                                      </p:tavLst>
                                    </p:anim>
                                    <p:anim calcmode="lin" valueType="num">
                                      <p:cBhvr>
                                        <p:cTn id="11" dur="1000" fill="hold"/>
                                        <p:tgtEl>
                                          <p:spTgt spid="35"/>
                                        </p:tgtEl>
                                        <p:attrNameLst>
                                          <p:attrName>ppt_y</p:attrName>
                                        </p:attrNameLst>
                                      </p:cBhvr>
                                      <p:tavLst>
                                        <p:tav tm="0">
                                          <p:val>
                                            <p:strVal val="#ppt_y+#ppt_h/2"/>
                                          </p:val>
                                        </p:tav>
                                        <p:tav tm="100000">
                                          <p:val>
                                            <p:strVal val="#ppt_y"/>
                                          </p:val>
                                        </p:tav>
                                      </p:tavLst>
                                    </p:anim>
                                    <p:anim calcmode="lin" valueType="num">
                                      <p:cBhvr>
                                        <p:cTn id="12" dur="1000" fill="hold"/>
                                        <p:tgtEl>
                                          <p:spTgt spid="35"/>
                                        </p:tgtEl>
                                        <p:attrNameLst>
                                          <p:attrName>ppt_w</p:attrName>
                                        </p:attrNameLst>
                                      </p:cBhvr>
                                      <p:tavLst>
                                        <p:tav tm="0">
                                          <p:val>
                                            <p:strVal val="#ppt_w"/>
                                          </p:val>
                                        </p:tav>
                                        <p:tav tm="100000">
                                          <p:val>
                                            <p:strVal val="#ppt_w"/>
                                          </p:val>
                                        </p:tav>
                                      </p:tavLst>
                                    </p:anim>
                                    <p:anim calcmode="lin" valueType="num">
                                      <p:cBhvr>
                                        <p:cTn id="13" dur="1000" fill="hold"/>
                                        <p:tgtEl>
                                          <p:spTgt spid="35"/>
                                        </p:tgtEl>
                                        <p:attrNameLst>
                                          <p:attrName>ppt_h</p:attrName>
                                        </p:attrNameLst>
                                      </p:cBhvr>
                                      <p:tavLst>
                                        <p:tav tm="0">
                                          <p:val>
                                            <p:fltVal val="0"/>
                                          </p:val>
                                        </p:tav>
                                        <p:tav tm="100000">
                                          <p:val>
                                            <p:strVal val="#ppt_h"/>
                                          </p:val>
                                        </p:tav>
                                      </p:tavLst>
                                    </p:anim>
                                  </p:childTnLst>
                                </p:cTn>
                              </p:par>
                              <p:par>
                                <p:cTn id="14" presetID="17" presetClass="entr" presetSubtype="4" fill="hold" nodeType="withEffect">
                                  <p:stCondLst>
                                    <p:cond delay="1500"/>
                                  </p:stCondLst>
                                  <p:childTnLst>
                                    <p:set>
                                      <p:cBhvr>
                                        <p:cTn id="15" dur="1" fill="hold">
                                          <p:stCondLst>
                                            <p:cond delay="0"/>
                                          </p:stCondLst>
                                        </p:cTn>
                                        <p:tgtEl>
                                          <p:spTgt spid="38"/>
                                        </p:tgtEl>
                                        <p:attrNameLst>
                                          <p:attrName>style.visibility</p:attrName>
                                        </p:attrNameLst>
                                      </p:cBhvr>
                                      <p:to>
                                        <p:strVal val="visible"/>
                                      </p:to>
                                    </p:set>
                                    <p:anim calcmode="lin" valueType="num">
                                      <p:cBhvr>
                                        <p:cTn id="16" dur="1000" fill="hold"/>
                                        <p:tgtEl>
                                          <p:spTgt spid="38"/>
                                        </p:tgtEl>
                                        <p:attrNameLst>
                                          <p:attrName>ppt_x</p:attrName>
                                        </p:attrNameLst>
                                      </p:cBhvr>
                                      <p:tavLst>
                                        <p:tav tm="0">
                                          <p:val>
                                            <p:strVal val="#ppt_x"/>
                                          </p:val>
                                        </p:tav>
                                        <p:tav tm="100000">
                                          <p:val>
                                            <p:strVal val="#ppt_x"/>
                                          </p:val>
                                        </p:tav>
                                      </p:tavLst>
                                    </p:anim>
                                    <p:anim calcmode="lin" valueType="num">
                                      <p:cBhvr>
                                        <p:cTn id="17" dur="1000" fill="hold"/>
                                        <p:tgtEl>
                                          <p:spTgt spid="38"/>
                                        </p:tgtEl>
                                        <p:attrNameLst>
                                          <p:attrName>ppt_y</p:attrName>
                                        </p:attrNameLst>
                                      </p:cBhvr>
                                      <p:tavLst>
                                        <p:tav tm="0">
                                          <p:val>
                                            <p:strVal val="#ppt_y+#ppt_h/2"/>
                                          </p:val>
                                        </p:tav>
                                        <p:tav tm="100000">
                                          <p:val>
                                            <p:strVal val="#ppt_y"/>
                                          </p:val>
                                        </p:tav>
                                      </p:tavLst>
                                    </p:anim>
                                    <p:anim calcmode="lin" valueType="num">
                                      <p:cBhvr>
                                        <p:cTn id="18" dur="1000" fill="hold"/>
                                        <p:tgtEl>
                                          <p:spTgt spid="38"/>
                                        </p:tgtEl>
                                        <p:attrNameLst>
                                          <p:attrName>ppt_w</p:attrName>
                                        </p:attrNameLst>
                                      </p:cBhvr>
                                      <p:tavLst>
                                        <p:tav tm="0">
                                          <p:val>
                                            <p:strVal val="#ppt_w"/>
                                          </p:val>
                                        </p:tav>
                                        <p:tav tm="100000">
                                          <p:val>
                                            <p:strVal val="#ppt_w"/>
                                          </p:val>
                                        </p:tav>
                                      </p:tavLst>
                                    </p:anim>
                                    <p:anim calcmode="lin" valueType="num">
                                      <p:cBhvr>
                                        <p:cTn id="19" dur="1000" fill="hold"/>
                                        <p:tgtEl>
                                          <p:spTgt spid="38"/>
                                        </p:tgtEl>
                                        <p:attrNameLst>
                                          <p:attrName>ppt_h</p:attrName>
                                        </p:attrNameLst>
                                      </p:cBhvr>
                                      <p:tavLst>
                                        <p:tav tm="0">
                                          <p:val>
                                            <p:fltVal val="0"/>
                                          </p:val>
                                        </p:tav>
                                        <p:tav tm="100000">
                                          <p:val>
                                            <p:strVal val="#ppt_h"/>
                                          </p:val>
                                        </p:tav>
                                      </p:tavLst>
                                    </p:anim>
                                  </p:childTnLst>
                                </p:cTn>
                              </p:par>
                              <p:par>
                                <p:cTn id="20" presetID="17" presetClass="entr" presetSubtype="4" fill="hold" nodeType="withEffect">
                                  <p:stCondLst>
                                    <p:cond delay="1500"/>
                                  </p:stCondLst>
                                  <p:childTnLst>
                                    <p:set>
                                      <p:cBhvr>
                                        <p:cTn id="21" dur="1" fill="hold">
                                          <p:stCondLst>
                                            <p:cond delay="0"/>
                                          </p:stCondLst>
                                        </p:cTn>
                                        <p:tgtEl>
                                          <p:spTgt spid="41"/>
                                        </p:tgtEl>
                                        <p:attrNameLst>
                                          <p:attrName>style.visibility</p:attrName>
                                        </p:attrNameLst>
                                      </p:cBhvr>
                                      <p:to>
                                        <p:strVal val="visible"/>
                                      </p:to>
                                    </p:set>
                                    <p:anim calcmode="lin" valueType="num">
                                      <p:cBhvr>
                                        <p:cTn id="22" dur="1000" fill="hold"/>
                                        <p:tgtEl>
                                          <p:spTgt spid="41"/>
                                        </p:tgtEl>
                                        <p:attrNameLst>
                                          <p:attrName>ppt_x</p:attrName>
                                        </p:attrNameLst>
                                      </p:cBhvr>
                                      <p:tavLst>
                                        <p:tav tm="0">
                                          <p:val>
                                            <p:strVal val="#ppt_x"/>
                                          </p:val>
                                        </p:tav>
                                        <p:tav tm="100000">
                                          <p:val>
                                            <p:strVal val="#ppt_x"/>
                                          </p:val>
                                        </p:tav>
                                      </p:tavLst>
                                    </p:anim>
                                    <p:anim calcmode="lin" valueType="num">
                                      <p:cBhvr>
                                        <p:cTn id="23" dur="1000" fill="hold"/>
                                        <p:tgtEl>
                                          <p:spTgt spid="41"/>
                                        </p:tgtEl>
                                        <p:attrNameLst>
                                          <p:attrName>ppt_y</p:attrName>
                                        </p:attrNameLst>
                                      </p:cBhvr>
                                      <p:tavLst>
                                        <p:tav tm="0">
                                          <p:val>
                                            <p:strVal val="#ppt_y+#ppt_h/2"/>
                                          </p:val>
                                        </p:tav>
                                        <p:tav tm="100000">
                                          <p:val>
                                            <p:strVal val="#ppt_y"/>
                                          </p:val>
                                        </p:tav>
                                      </p:tavLst>
                                    </p:anim>
                                    <p:anim calcmode="lin" valueType="num">
                                      <p:cBhvr>
                                        <p:cTn id="24" dur="1000" fill="hold"/>
                                        <p:tgtEl>
                                          <p:spTgt spid="41"/>
                                        </p:tgtEl>
                                        <p:attrNameLst>
                                          <p:attrName>ppt_w</p:attrName>
                                        </p:attrNameLst>
                                      </p:cBhvr>
                                      <p:tavLst>
                                        <p:tav tm="0">
                                          <p:val>
                                            <p:strVal val="#ppt_w"/>
                                          </p:val>
                                        </p:tav>
                                        <p:tav tm="100000">
                                          <p:val>
                                            <p:strVal val="#ppt_w"/>
                                          </p:val>
                                        </p:tav>
                                      </p:tavLst>
                                    </p:anim>
                                    <p:anim calcmode="lin" valueType="num">
                                      <p:cBhvr>
                                        <p:cTn id="25" dur="1000" fill="hold"/>
                                        <p:tgtEl>
                                          <p:spTgt spid="41"/>
                                        </p:tgtEl>
                                        <p:attrNameLst>
                                          <p:attrName>ppt_h</p:attrName>
                                        </p:attrNameLst>
                                      </p:cBhvr>
                                      <p:tavLst>
                                        <p:tav tm="0">
                                          <p:val>
                                            <p:fltVal val="0"/>
                                          </p:val>
                                        </p:tav>
                                        <p:tav tm="100000">
                                          <p:val>
                                            <p:strVal val="#ppt_h"/>
                                          </p:val>
                                        </p:tav>
                                      </p:tavLst>
                                    </p:anim>
                                  </p:childTnLst>
                                </p:cTn>
                              </p:par>
                              <p:par>
                                <p:cTn id="26" presetID="17" presetClass="entr" presetSubtype="4" fill="hold" nodeType="withEffect">
                                  <p:stCondLst>
                                    <p:cond delay="1500"/>
                                  </p:stCondLst>
                                  <p:childTnLst>
                                    <p:set>
                                      <p:cBhvr>
                                        <p:cTn id="27" dur="1" fill="hold">
                                          <p:stCondLst>
                                            <p:cond delay="0"/>
                                          </p:stCondLst>
                                        </p:cTn>
                                        <p:tgtEl>
                                          <p:spTgt spid="44"/>
                                        </p:tgtEl>
                                        <p:attrNameLst>
                                          <p:attrName>style.visibility</p:attrName>
                                        </p:attrNameLst>
                                      </p:cBhvr>
                                      <p:to>
                                        <p:strVal val="visible"/>
                                      </p:to>
                                    </p:set>
                                    <p:anim calcmode="lin" valueType="num">
                                      <p:cBhvr>
                                        <p:cTn id="28" dur="1000" fill="hold"/>
                                        <p:tgtEl>
                                          <p:spTgt spid="44"/>
                                        </p:tgtEl>
                                        <p:attrNameLst>
                                          <p:attrName>ppt_x</p:attrName>
                                        </p:attrNameLst>
                                      </p:cBhvr>
                                      <p:tavLst>
                                        <p:tav tm="0">
                                          <p:val>
                                            <p:strVal val="#ppt_x"/>
                                          </p:val>
                                        </p:tav>
                                        <p:tav tm="100000">
                                          <p:val>
                                            <p:strVal val="#ppt_x"/>
                                          </p:val>
                                        </p:tav>
                                      </p:tavLst>
                                    </p:anim>
                                    <p:anim calcmode="lin" valueType="num">
                                      <p:cBhvr>
                                        <p:cTn id="29" dur="1000" fill="hold"/>
                                        <p:tgtEl>
                                          <p:spTgt spid="44"/>
                                        </p:tgtEl>
                                        <p:attrNameLst>
                                          <p:attrName>ppt_y</p:attrName>
                                        </p:attrNameLst>
                                      </p:cBhvr>
                                      <p:tavLst>
                                        <p:tav tm="0">
                                          <p:val>
                                            <p:strVal val="#ppt_y+#ppt_h/2"/>
                                          </p:val>
                                        </p:tav>
                                        <p:tav tm="100000">
                                          <p:val>
                                            <p:strVal val="#ppt_y"/>
                                          </p:val>
                                        </p:tav>
                                      </p:tavLst>
                                    </p:anim>
                                    <p:anim calcmode="lin" valueType="num">
                                      <p:cBhvr>
                                        <p:cTn id="30" dur="1000" fill="hold"/>
                                        <p:tgtEl>
                                          <p:spTgt spid="44"/>
                                        </p:tgtEl>
                                        <p:attrNameLst>
                                          <p:attrName>ppt_w</p:attrName>
                                        </p:attrNameLst>
                                      </p:cBhvr>
                                      <p:tavLst>
                                        <p:tav tm="0">
                                          <p:val>
                                            <p:strVal val="#ppt_w"/>
                                          </p:val>
                                        </p:tav>
                                        <p:tav tm="100000">
                                          <p:val>
                                            <p:strVal val="#ppt_w"/>
                                          </p:val>
                                        </p:tav>
                                      </p:tavLst>
                                    </p:anim>
                                    <p:anim calcmode="lin" valueType="num">
                                      <p:cBhvr>
                                        <p:cTn id="31" dur="1000" fill="hold"/>
                                        <p:tgtEl>
                                          <p:spTgt spid="44"/>
                                        </p:tgtEl>
                                        <p:attrNameLst>
                                          <p:attrName>ppt_h</p:attrName>
                                        </p:attrNameLst>
                                      </p:cBhvr>
                                      <p:tavLst>
                                        <p:tav tm="0">
                                          <p:val>
                                            <p:fltVal val="0"/>
                                          </p:val>
                                        </p:tav>
                                        <p:tav tm="100000">
                                          <p:val>
                                            <p:strVal val="#ppt_h"/>
                                          </p:val>
                                        </p:tav>
                                      </p:tavLst>
                                    </p:anim>
                                  </p:childTnLst>
                                </p:cTn>
                              </p:par>
                              <p:par>
                                <p:cTn id="32" presetID="17" presetClass="entr" presetSubtype="4" fill="hold" nodeType="withEffect">
                                  <p:stCondLst>
                                    <p:cond delay="1500"/>
                                  </p:stCondLst>
                                  <p:childTnLst>
                                    <p:set>
                                      <p:cBhvr>
                                        <p:cTn id="33" dur="1" fill="hold">
                                          <p:stCondLst>
                                            <p:cond delay="0"/>
                                          </p:stCondLst>
                                        </p:cTn>
                                        <p:tgtEl>
                                          <p:spTgt spid="62"/>
                                        </p:tgtEl>
                                        <p:attrNameLst>
                                          <p:attrName>style.visibility</p:attrName>
                                        </p:attrNameLst>
                                      </p:cBhvr>
                                      <p:to>
                                        <p:strVal val="visible"/>
                                      </p:to>
                                    </p:set>
                                    <p:anim calcmode="lin" valueType="num">
                                      <p:cBhvr>
                                        <p:cTn id="34" dur="1000" fill="hold"/>
                                        <p:tgtEl>
                                          <p:spTgt spid="62"/>
                                        </p:tgtEl>
                                        <p:attrNameLst>
                                          <p:attrName>ppt_x</p:attrName>
                                        </p:attrNameLst>
                                      </p:cBhvr>
                                      <p:tavLst>
                                        <p:tav tm="0">
                                          <p:val>
                                            <p:strVal val="#ppt_x"/>
                                          </p:val>
                                        </p:tav>
                                        <p:tav tm="100000">
                                          <p:val>
                                            <p:strVal val="#ppt_x"/>
                                          </p:val>
                                        </p:tav>
                                      </p:tavLst>
                                    </p:anim>
                                    <p:anim calcmode="lin" valueType="num">
                                      <p:cBhvr>
                                        <p:cTn id="35" dur="1000" fill="hold"/>
                                        <p:tgtEl>
                                          <p:spTgt spid="62"/>
                                        </p:tgtEl>
                                        <p:attrNameLst>
                                          <p:attrName>ppt_y</p:attrName>
                                        </p:attrNameLst>
                                      </p:cBhvr>
                                      <p:tavLst>
                                        <p:tav tm="0">
                                          <p:val>
                                            <p:strVal val="#ppt_y+#ppt_h/2"/>
                                          </p:val>
                                        </p:tav>
                                        <p:tav tm="100000">
                                          <p:val>
                                            <p:strVal val="#ppt_y"/>
                                          </p:val>
                                        </p:tav>
                                      </p:tavLst>
                                    </p:anim>
                                    <p:anim calcmode="lin" valueType="num">
                                      <p:cBhvr>
                                        <p:cTn id="36" dur="1000" fill="hold"/>
                                        <p:tgtEl>
                                          <p:spTgt spid="62"/>
                                        </p:tgtEl>
                                        <p:attrNameLst>
                                          <p:attrName>ppt_w</p:attrName>
                                        </p:attrNameLst>
                                      </p:cBhvr>
                                      <p:tavLst>
                                        <p:tav tm="0">
                                          <p:val>
                                            <p:strVal val="#ppt_w"/>
                                          </p:val>
                                        </p:tav>
                                        <p:tav tm="100000">
                                          <p:val>
                                            <p:strVal val="#ppt_w"/>
                                          </p:val>
                                        </p:tav>
                                      </p:tavLst>
                                    </p:anim>
                                    <p:anim calcmode="lin" valueType="num">
                                      <p:cBhvr>
                                        <p:cTn id="37" dur="1000" fill="hold"/>
                                        <p:tgtEl>
                                          <p:spTgt spid="62"/>
                                        </p:tgtEl>
                                        <p:attrNameLst>
                                          <p:attrName>ppt_h</p:attrName>
                                        </p:attrNameLst>
                                      </p:cBhvr>
                                      <p:tavLst>
                                        <p:tav tm="0">
                                          <p:val>
                                            <p:fltVal val="0"/>
                                          </p:val>
                                        </p:tav>
                                        <p:tav tm="100000">
                                          <p:val>
                                            <p:strVal val="#ppt_h"/>
                                          </p:val>
                                        </p:tav>
                                      </p:tavLst>
                                    </p:anim>
                                  </p:childTnLst>
                                </p:cTn>
                              </p:par>
                              <p:par>
                                <p:cTn id="38" presetID="10" presetClass="entr" presetSubtype="0" fill="hold" grpId="0" nodeType="withEffect">
                                  <p:stCondLst>
                                    <p:cond delay="2000"/>
                                  </p:stCondLst>
                                  <p:childTnLst>
                                    <p:set>
                                      <p:cBhvr>
                                        <p:cTn id="39" dur="1" fill="hold">
                                          <p:stCondLst>
                                            <p:cond delay="0"/>
                                          </p:stCondLst>
                                        </p:cTn>
                                        <p:tgtEl>
                                          <p:spTgt spid="29"/>
                                        </p:tgtEl>
                                        <p:attrNameLst>
                                          <p:attrName>style.visibility</p:attrName>
                                        </p:attrNameLst>
                                      </p:cBhvr>
                                      <p:to>
                                        <p:strVal val="visible"/>
                                      </p:to>
                                    </p:set>
                                    <p:animEffect transition="in" filter="fade">
                                      <p:cBhvr>
                                        <p:cTn id="40" dur="1000"/>
                                        <p:tgtEl>
                                          <p:spTgt spid="29"/>
                                        </p:tgtEl>
                                      </p:cBhvr>
                                    </p:animEffect>
                                  </p:childTnLst>
                                </p:cTn>
                              </p:par>
                              <p:par>
                                <p:cTn id="41" presetID="10" presetClass="entr" presetSubtype="0" fill="hold" grpId="0" nodeType="withEffect">
                                  <p:stCondLst>
                                    <p:cond delay="2000"/>
                                  </p:stCondLst>
                                  <p:childTnLst>
                                    <p:set>
                                      <p:cBhvr>
                                        <p:cTn id="42" dur="1" fill="hold">
                                          <p:stCondLst>
                                            <p:cond delay="0"/>
                                          </p:stCondLst>
                                        </p:cTn>
                                        <p:tgtEl>
                                          <p:spTgt spid="28"/>
                                        </p:tgtEl>
                                        <p:attrNameLst>
                                          <p:attrName>style.visibility</p:attrName>
                                        </p:attrNameLst>
                                      </p:cBhvr>
                                      <p:to>
                                        <p:strVal val="visible"/>
                                      </p:to>
                                    </p:set>
                                    <p:animEffect transition="in" filter="fade">
                                      <p:cBhvr>
                                        <p:cTn id="43" dur="1000"/>
                                        <p:tgtEl>
                                          <p:spTgt spid="28"/>
                                        </p:tgtEl>
                                      </p:cBhvr>
                                    </p:animEffect>
                                  </p:childTnLst>
                                </p:cTn>
                              </p:par>
                              <p:par>
                                <p:cTn id="44" presetID="10" presetClass="entr" presetSubtype="0" fill="hold" grpId="0" nodeType="withEffect">
                                  <p:stCondLst>
                                    <p:cond delay="2000"/>
                                  </p:stCondLst>
                                  <p:childTnLst>
                                    <p:set>
                                      <p:cBhvr>
                                        <p:cTn id="45" dur="1" fill="hold">
                                          <p:stCondLst>
                                            <p:cond delay="0"/>
                                          </p:stCondLst>
                                        </p:cTn>
                                        <p:tgtEl>
                                          <p:spTgt spid="27"/>
                                        </p:tgtEl>
                                        <p:attrNameLst>
                                          <p:attrName>style.visibility</p:attrName>
                                        </p:attrNameLst>
                                      </p:cBhvr>
                                      <p:to>
                                        <p:strVal val="visible"/>
                                      </p:to>
                                    </p:set>
                                    <p:animEffect transition="in" filter="fade">
                                      <p:cBhvr>
                                        <p:cTn id="46" dur="1000"/>
                                        <p:tgtEl>
                                          <p:spTgt spid="27"/>
                                        </p:tgtEl>
                                      </p:cBhvr>
                                    </p:animEffect>
                                  </p:childTnLst>
                                </p:cTn>
                              </p:par>
                              <p:par>
                                <p:cTn id="47" presetID="10" presetClass="entr" presetSubtype="0" fill="hold" grpId="0" nodeType="withEffect">
                                  <p:stCondLst>
                                    <p:cond delay="2000"/>
                                  </p:stCondLst>
                                  <p:childTnLst>
                                    <p:set>
                                      <p:cBhvr>
                                        <p:cTn id="48" dur="1" fill="hold">
                                          <p:stCondLst>
                                            <p:cond delay="0"/>
                                          </p:stCondLst>
                                        </p:cTn>
                                        <p:tgtEl>
                                          <p:spTgt spid="26"/>
                                        </p:tgtEl>
                                        <p:attrNameLst>
                                          <p:attrName>style.visibility</p:attrName>
                                        </p:attrNameLst>
                                      </p:cBhvr>
                                      <p:to>
                                        <p:strVal val="visible"/>
                                      </p:to>
                                    </p:set>
                                    <p:animEffect transition="in" filter="fade">
                                      <p:cBhvr>
                                        <p:cTn id="49" dur="1000"/>
                                        <p:tgtEl>
                                          <p:spTgt spid="26"/>
                                        </p:tgtEl>
                                      </p:cBhvr>
                                    </p:animEffect>
                                  </p:childTnLst>
                                </p:cTn>
                              </p:par>
                              <p:par>
                                <p:cTn id="50" presetID="12" presetClass="entr" presetSubtype="4" fill="hold" nodeType="withEffect">
                                  <p:stCondLst>
                                    <p:cond delay="2000"/>
                                  </p:stCondLst>
                                  <p:childTnLst>
                                    <p:set>
                                      <p:cBhvr>
                                        <p:cTn id="51" dur="1" fill="hold">
                                          <p:stCondLst>
                                            <p:cond delay="0"/>
                                          </p:stCondLst>
                                        </p:cTn>
                                        <p:tgtEl>
                                          <p:spTgt spid="48"/>
                                        </p:tgtEl>
                                        <p:attrNameLst>
                                          <p:attrName>style.visibility</p:attrName>
                                        </p:attrNameLst>
                                      </p:cBhvr>
                                      <p:to>
                                        <p:strVal val="visible"/>
                                      </p:to>
                                    </p:set>
                                    <p:anim calcmode="lin" valueType="num">
                                      <p:cBhvr additive="base">
                                        <p:cTn id="52" dur="1500"/>
                                        <p:tgtEl>
                                          <p:spTgt spid="48"/>
                                        </p:tgtEl>
                                        <p:attrNameLst>
                                          <p:attrName>ppt_y</p:attrName>
                                        </p:attrNameLst>
                                      </p:cBhvr>
                                      <p:tavLst>
                                        <p:tav tm="0">
                                          <p:val>
                                            <p:strVal val="#ppt_y+#ppt_h*1.125000"/>
                                          </p:val>
                                        </p:tav>
                                        <p:tav tm="100000">
                                          <p:val>
                                            <p:strVal val="#ppt_y"/>
                                          </p:val>
                                        </p:tav>
                                      </p:tavLst>
                                    </p:anim>
                                    <p:animEffect transition="in" filter="wipe(up)">
                                      <p:cBhvr>
                                        <p:cTn id="53" dur="1500"/>
                                        <p:tgtEl>
                                          <p:spTgt spid="48"/>
                                        </p:tgtEl>
                                      </p:cBhvr>
                                    </p:animEffect>
                                  </p:childTnLst>
                                </p:cTn>
                              </p:par>
                              <p:par>
                                <p:cTn id="54" presetID="12" presetClass="entr" presetSubtype="4" fill="hold" grpId="0" nodeType="withEffect">
                                  <p:stCondLst>
                                    <p:cond delay="2000"/>
                                  </p:stCondLst>
                                  <p:childTnLst>
                                    <p:set>
                                      <p:cBhvr>
                                        <p:cTn id="55" dur="1" fill="hold">
                                          <p:stCondLst>
                                            <p:cond delay="0"/>
                                          </p:stCondLst>
                                        </p:cTn>
                                        <p:tgtEl>
                                          <p:spTgt spid="47"/>
                                        </p:tgtEl>
                                        <p:attrNameLst>
                                          <p:attrName>style.visibility</p:attrName>
                                        </p:attrNameLst>
                                      </p:cBhvr>
                                      <p:to>
                                        <p:strVal val="visible"/>
                                      </p:to>
                                    </p:set>
                                    <p:anim calcmode="lin" valueType="num">
                                      <p:cBhvr additive="base">
                                        <p:cTn id="56" dur="1500"/>
                                        <p:tgtEl>
                                          <p:spTgt spid="47"/>
                                        </p:tgtEl>
                                        <p:attrNameLst>
                                          <p:attrName>ppt_y</p:attrName>
                                        </p:attrNameLst>
                                      </p:cBhvr>
                                      <p:tavLst>
                                        <p:tav tm="0">
                                          <p:val>
                                            <p:strVal val="#ppt_y+#ppt_h*1.125000"/>
                                          </p:val>
                                        </p:tav>
                                        <p:tav tm="100000">
                                          <p:val>
                                            <p:strVal val="#ppt_y"/>
                                          </p:val>
                                        </p:tav>
                                      </p:tavLst>
                                    </p:anim>
                                    <p:animEffect transition="in" filter="wipe(up)">
                                      <p:cBhvr>
                                        <p:cTn id="57" dur="1500"/>
                                        <p:tgtEl>
                                          <p:spTgt spid="47"/>
                                        </p:tgtEl>
                                      </p:cBhvr>
                                    </p:animEffect>
                                  </p:childTnLst>
                                </p:cTn>
                              </p:par>
                              <p:par>
                                <p:cTn id="58" presetID="12" presetClass="entr" presetSubtype="4" fill="hold" grpId="0" nodeType="withEffect">
                                  <p:stCondLst>
                                    <p:cond delay="2000"/>
                                  </p:stCondLst>
                                  <p:childTnLst>
                                    <p:set>
                                      <p:cBhvr>
                                        <p:cTn id="59" dur="1" fill="hold">
                                          <p:stCondLst>
                                            <p:cond delay="0"/>
                                          </p:stCondLst>
                                        </p:cTn>
                                        <p:tgtEl>
                                          <p:spTgt spid="51"/>
                                        </p:tgtEl>
                                        <p:attrNameLst>
                                          <p:attrName>style.visibility</p:attrName>
                                        </p:attrNameLst>
                                      </p:cBhvr>
                                      <p:to>
                                        <p:strVal val="visible"/>
                                      </p:to>
                                    </p:set>
                                    <p:anim calcmode="lin" valueType="num">
                                      <p:cBhvr additive="base">
                                        <p:cTn id="60" dur="1500"/>
                                        <p:tgtEl>
                                          <p:spTgt spid="51"/>
                                        </p:tgtEl>
                                        <p:attrNameLst>
                                          <p:attrName>ppt_y</p:attrName>
                                        </p:attrNameLst>
                                      </p:cBhvr>
                                      <p:tavLst>
                                        <p:tav tm="0">
                                          <p:val>
                                            <p:strVal val="#ppt_y+#ppt_h*1.125000"/>
                                          </p:val>
                                        </p:tav>
                                        <p:tav tm="100000">
                                          <p:val>
                                            <p:strVal val="#ppt_y"/>
                                          </p:val>
                                        </p:tav>
                                      </p:tavLst>
                                    </p:anim>
                                    <p:animEffect transition="in" filter="wipe(up)">
                                      <p:cBhvr>
                                        <p:cTn id="61" dur="1500"/>
                                        <p:tgtEl>
                                          <p:spTgt spid="51"/>
                                        </p:tgtEl>
                                      </p:cBhvr>
                                    </p:animEffect>
                                  </p:childTnLst>
                                </p:cTn>
                              </p:par>
                              <p:par>
                                <p:cTn id="62" presetID="12" presetClass="entr" presetSubtype="4" fill="hold" grpId="0" nodeType="withEffect">
                                  <p:stCondLst>
                                    <p:cond delay="2000"/>
                                  </p:stCondLst>
                                  <p:childTnLst>
                                    <p:set>
                                      <p:cBhvr>
                                        <p:cTn id="63" dur="1" fill="hold">
                                          <p:stCondLst>
                                            <p:cond delay="0"/>
                                          </p:stCondLst>
                                        </p:cTn>
                                        <p:tgtEl>
                                          <p:spTgt spid="52"/>
                                        </p:tgtEl>
                                        <p:attrNameLst>
                                          <p:attrName>style.visibility</p:attrName>
                                        </p:attrNameLst>
                                      </p:cBhvr>
                                      <p:to>
                                        <p:strVal val="visible"/>
                                      </p:to>
                                    </p:set>
                                    <p:anim calcmode="lin" valueType="num">
                                      <p:cBhvr additive="base">
                                        <p:cTn id="64" dur="1500"/>
                                        <p:tgtEl>
                                          <p:spTgt spid="52"/>
                                        </p:tgtEl>
                                        <p:attrNameLst>
                                          <p:attrName>ppt_y</p:attrName>
                                        </p:attrNameLst>
                                      </p:cBhvr>
                                      <p:tavLst>
                                        <p:tav tm="0">
                                          <p:val>
                                            <p:strVal val="#ppt_y+#ppt_h*1.125000"/>
                                          </p:val>
                                        </p:tav>
                                        <p:tav tm="100000">
                                          <p:val>
                                            <p:strVal val="#ppt_y"/>
                                          </p:val>
                                        </p:tav>
                                      </p:tavLst>
                                    </p:anim>
                                    <p:animEffect transition="in" filter="wipe(up)">
                                      <p:cBhvr>
                                        <p:cTn id="65" dur="1500"/>
                                        <p:tgtEl>
                                          <p:spTgt spid="52"/>
                                        </p:tgtEl>
                                      </p:cBhvr>
                                    </p:animEffect>
                                  </p:childTnLst>
                                </p:cTn>
                              </p:par>
                              <p:par>
                                <p:cTn id="66" presetID="10" presetClass="entr" presetSubtype="0" fill="hold" grpId="0" nodeType="withEffect">
                                  <p:stCondLst>
                                    <p:cond delay="2000"/>
                                  </p:stCondLst>
                                  <p:childTnLst>
                                    <p:set>
                                      <p:cBhvr>
                                        <p:cTn id="67" dur="1" fill="hold">
                                          <p:stCondLst>
                                            <p:cond delay="0"/>
                                          </p:stCondLst>
                                        </p:cTn>
                                        <p:tgtEl>
                                          <p:spTgt spid="60"/>
                                        </p:tgtEl>
                                        <p:attrNameLst>
                                          <p:attrName>style.visibility</p:attrName>
                                        </p:attrNameLst>
                                      </p:cBhvr>
                                      <p:to>
                                        <p:strVal val="visible"/>
                                      </p:to>
                                    </p:set>
                                    <p:animEffect transition="in" filter="fade">
                                      <p:cBhvr>
                                        <p:cTn id="68" dur="1500"/>
                                        <p:tgtEl>
                                          <p:spTgt spid="60"/>
                                        </p:tgtEl>
                                      </p:cBhvr>
                                    </p:animEffect>
                                  </p:childTnLst>
                                </p:cTn>
                              </p:par>
                              <p:par>
                                <p:cTn id="69" presetID="12" presetClass="entr" presetSubtype="4" fill="hold" grpId="0" nodeType="withEffect">
                                  <p:stCondLst>
                                    <p:cond delay="2000"/>
                                  </p:stCondLst>
                                  <p:childTnLst>
                                    <p:set>
                                      <p:cBhvr>
                                        <p:cTn id="70" dur="1" fill="hold">
                                          <p:stCondLst>
                                            <p:cond delay="0"/>
                                          </p:stCondLst>
                                        </p:cTn>
                                        <p:tgtEl>
                                          <p:spTgt spid="65"/>
                                        </p:tgtEl>
                                        <p:attrNameLst>
                                          <p:attrName>style.visibility</p:attrName>
                                        </p:attrNameLst>
                                      </p:cBhvr>
                                      <p:to>
                                        <p:strVal val="visible"/>
                                      </p:to>
                                    </p:set>
                                    <p:anim calcmode="lin" valueType="num">
                                      <p:cBhvr additive="base">
                                        <p:cTn id="71" dur="1500"/>
                                        <p:tgtEl>
                                          <p:spTgt spid="65"/>
                                        </p:tgtEl>
                                        <p:attrNameLst>
                                          <p:attrName>ppt_y</p:attrName>
                                        </p:attrNameLst>
                                      </p:cBhvr>
                                      <p:tavLst>
                                        <p:tav tm="0">
                                          <p:val>
                                            <p:strVal val="#ppt_y+#ppt_h*1.125000"/>
                                          </p:val>
                                        </p:tav>
                                        <p:tav tm="100000">
                                          <p:val>
                                            <p:strVal val="#ppt_y"/>
                                          </p:val>
                                        </p:tav>
                                      </p:tavLst>
                                    </p:anim>
                                    <p:animEffect transition="in" filter="wipe(up)">
                                      <p:cBhvr>
                                        <p:cTn id="72" dur="1500"/>
                                        <p:tgtEl>
                                          <p:spTgt spid="65"/>
                                        </p:tgtEl>
                                      </p:cBhvr>
                                    </p:animEffect>
                                  </p:childTnLst>
                                </p:cTn>
                              </p:par>
                            </p:childTnLst>
                          </p:cTn>
                        </p:par>
                        <p:par>
                          <p:cTn id="73" fill="hold">
                            <p:stCondLst>
                              <p:cond delay="3500"/>
                            </p:stCondLst>
                            <p:childTnLst>
                              <p:par>
                                <p:cTn id="74" presetID="1" presetClass="entr" presetSubtype="0" fill="hold" nodeType="afterEffect">
                                  <p:stCondLst>
                                    <p:cond delay="0"/>
                                  </p:stCondLst>
                                  <p:childTnLst>
                                    <p:set>
                                      <p:cBhvr>
                                        <p:cTn id="75" dur="1" fill="hold">
                                          <p:stCondLst>
                                            <p:cond delay="0"/>
                                          </p:stCondLst>
                                        </p:cTn>
                                        <p:tgtEl>
                                          <p:spTgt spid="84"/>
                                        </p:tgtEl>
                                        <p:attrNameLst>
                                          <p:attrName>style.visibility</p:attrName>
                                        </p:attrNameLst>
                                      </p:cBhvr>
                                      <p:to>
                                        <p:strVal val="visible"/>
                                      </p:to>
                                    </p:set>
                                  </p:childTnLst>
                                </p:cTn>
                              </p:par>
                            </p:childTnLst>
                          </p:cTn>
                        </p:par>
                        <p:par>
                          <p:cTn id="76" fill="hold">
                            <p:stCondLst>
                              <p:cond delay="3500"/>
                            </p:stCondLst>
                            <p:childTnLst>
                              <p:par>
                                <p:cTn id="77" presetID="1" presetClass="entr" presetSubtype="0" fill="hold" nodeType="afterEffect">
                                  <p:stCondLst>
                                    <p:cond delay="0"/>
                                  </p:stCondLst>
                                  <p:childTnLst>
                                    <p:set>
                                      <p:cBhvr>
                                        <p:cTn id="78" dur="1" fill="hold">
                                          <p:stCondLst>
                                            <p:cond delay="0"/>
                                          </p:stCondLst>
                                        </p:cTn>
                                        <p:tgtEl>
                                          <p:spTgt spid="83"/>
                                        </p:tgtEl>
                                        <p:attrNameLst>
                                          <p:attrName>style.visibility</p:attrName>
                                        </p:attrNameLst>
                                      </p:cBhvr>
                                      <p:to>
                                        <p:strVal val="visible"/>
                                      </p:to>
                                    </p:set>
                                  </p:childTnLst>
                                </p:cTn>
                              </p:par>
                            </p:childTnLst>
                          </p:cTn>
                        </p:par>
                        <p:par>
                          <p:cTn id="79" fill="hold">
                            <p:stCondLst>
                              <p:cond delay="3500"/>
                            </p:stCondLst>
                            <p:childTnLst>
                              <p:par>
                                <p:cTn id="80" presetID="1" presetClass="entr" presetSubtype="0" fill="hold" nodeType="afterEffect">
                                  <p:stCondLst>
                                    <p:cond delay="0"/>
                                  </p:stCondLst>
                                  <p:childTnLst>
                                    <p:set>
                                      <p:cBhvr>
                                        <p:cTn id="81" dur="1" fill="hold">
                                          <p:stCondLst>
                                            <p:cond delay="0"/>
                                          </p:stCondLst>
                                        </p:cTn>
                                        <p:tgtEl>
                                          <p:spTgt spid="82"/>
                                        </p:tgtEl>
                                        <p:attrNameLst>
                                          <p:attrName>style.visibility</p:attrName>
                                        </p:attrNameLst>
                                      </p:cBhvr>
                                      <p:to>
                                        <p:strVal val="visible"/>
                                      </p:to>
                                    </p:set>
                                  </p:childTnLst>
                                </p:cTn>
                              </p:par>
                            </p:childTnLst>
                          </p:cTn>
                        </p:par>
                        <p:par>
                          <p:cTn id="82" fill="hold">
                            <p:stCondLst>
                              <p:cond delay="3500"/>
                            </p:stCondLst>
                            <p:childTnLst>
                              <p:par>
                                <p:cTn id="83" presetID="1" presetClass="entr" presetSubtype="0" fill="hold" nodeType="afterEffect">
                                  <p:stCondLst>
                                    <p:cond delay="0"/>
                                  </p:stCondLst>
                                  <p:childTnLst>
                                    <p:set>
                                      <p:cBhvr>
                                        <p:cTn id="84" dur="1" fill="hold">
                                          <p:stCondLst>
                                            <p:cond delay="0"/>
                                          </p:stCondLst>
                                        </p:cTn>
                                        <p:tgtEl>
                                          <p:spTgt spid="59"/>
                                        </p:tgtEl>
                                        <p:attrNameLst>
                                          <p:attrName>style.visibility</p:attrName>
                                        </p:attrNameLst>
                                      </p:cBhvr>
                                      <p:to>
                                        <p:strVal val="visible"/>
                                      </p:to>
                                    </p:set>
                                  </p:childTnLst>
                                </p:cTn>
                              </p:par>
                            </p:childTnLst>
                          </p:cTn>
                        </p:par>
                        <p:par>
                          <p:cTn id="85" fill="hold">
                            <p:stCondLst>
                              <p:cond delay="3500"/>
                            </p:stCondLst>
                            <p:childTnLst>
                              <p:par>
                                <p:cTn id="86" presetID="1" presetClass="entr" presetSubtype="0" fill="hold" nodeType="afterEffect">
                                  <p:stCondLst>
                                    <p:cond delay="0"/>
                                  </p:stCondLst>
                                  <p:childTnLst>
                                    <p:set>
                                      <p:cBhvr>
                                        <p:cTn id="87" dur="1" fill="hold">
                                          <p:stCondLst>
                                            <p:cond delay="0"/>
                                          </p:stCondLst>
                                        </p:cTn>
                                        <p:tgtEl>
                                          <p:spTgt spid="7"/>
                                        </p:tgtEl>
                                        <p:attrNameLst>
                                          <p:attrName>style.visibility</p:attrName>
                                        </p:attrNameLst>
                                      </p:cBhvr>
                                      <p:to>
                                        <p:strVal val="visible"/>
                                      </p:to>
                                    </p:set>
                                  </p:childTnLst>
                                </p:cTn>
                              </p:par>
                              <p:par>
                                <p:cTn id="88" presetID="22" presetClass="entr" presetSubtype="4" fill="hold" nodeType="withEffect">
                                  <p:stCondLst>
                                    <p:cond delay="3000"/>
                                  </p:stCondLst>
                                  <p:childTnLst>
                                    <p:set>
                                      <p:cBhvr>
                                        <p:cTn id="89" dur="1" fill="hold">
                                          <p:stCondLst>
                                            <p:cond delay="0"/>
                                          </p:stCondLst>
                                        </p:cTn>
                                        <p:tgtEl>
                                          <p:spTgt spid="30"/>
                                        </p:tgtEl>
                                        <p:attrNameLst>
                                          <p:attrName>style.visibility</p:attrName>
                                        </p:attrNameLst>
                                      </p:cBhvr>
                                      <p:to>
                                        <p:strVal val="visible"/>
                                      </p:to>
                                    </p:set>
                                    <p:animEffect transition="in" filter="wipe(down)">
                                      <p:cBhvr>
                                        <p:cTn id="90" dur="1000"/>
                                        <p:tgtEl>
                                          <p:spTgt spid="30"/>
                                        </p:tgtEl>
                                      </p:cBhvr>
                                    </p:animEffect>
                                  </p:childTnLst>
                                </p:cTn>
                              </p:par>
                              <p:par>
                                <p:cTn id="91" presetID="22" presetClass="entr" presetSubtype="4" fill="hold" nodeType="withEffect">
                                  <p:stCondLst>
                                    <p:cond delay="3000"/>
                                  </p:stCondLst>
                                  <p:childTnLst>
                                    <p:set>
                                      <p:cBhvr>
                                        <p:cTn id="92" dur="1" fill="hold">
                                          <p:stCondLst>
                                            <p:cond delay="0"/>
                                          </p:stCondLst>
                                        </p:cTn>
                                        <p:tgtEl>
                                          <p:spTgt spid="31"/>
                                        </p:tgtEl>
                                        <p:attrNameLst>
                                          <p:attrName>style.visibility</p:attrName>
                                        </p:attrNameLst>
                                      </p:cBhvr>
                                      <p:to>
                                        <p:strVal val="visible"/>
                                      </p:to>
                                    </p:set>
                                    <p:animEffect transition="in" filter="wipe(down)">
                                      <p:cBhvr>
                                        <p:cTn id="93" dur="1000"/>
                                        <p:tgtEl>
                                          <p:spTgt spid="31"/>
                                        </p:tgtEl>
                                      </p:cBhvr>
                                    </p:animEffect>
                                  </p:childTnLst>
                                </p:cTn>
                              </p:par>
                              <p:par>
                                <p:cTn id="94" presetID="22" presetClass="entr" presetSubtype="4" fill="hold" nodeType="withEffect">
                                  <p:stCondLst>
                                    <p:cond delay="3000"/>
                                  </p:stCondLst>
                                  <p:childTnLst>
                                    <p:set>
                                      <p:cBhvr>
                                        <p:cTn id="95" dur="1" fill="hold">
                                          <p:stCondLst>
                                            <p:cond delay="0"/>
                                          </p:stCondLst>
                                        </p:cTn>
                                        <p:tgtEl>
                                          <p:spTgt spid="32"/>
                                        </p:tgtEl>
                                        <p:attrNameLst>
                                          <p:attrName>style.visibility</p:attrName>
                                        </p:attrNameLst>
                                      </p:cBhvr>
                                      <p:to>
                                        <p:strVal val="visible"/>
                                      </p:to>
                                    </p:set>
                                    <p:animEffect transition="in" filter="wipe(down)">
                                      <p:cBhvr>
                                        <p:cTn id="96" dur="1000"/>
                                        <p:tgtEl>
                                          <p:spTgt spid="32"/>
                                        </p:tgtEl>
                                      </p:cBhvr>
                                    </p:animEffect>
                                  </p:childTnLst>
                                </p:cTn>
                              </p:par>
                              <p:par>
                                <p:cTn id="97" presetID="10" presetClass="entr" presetSubtype="0" fill="hold" grpId="0" nodeType="withEffect">
                                  <p:stCondLst>
                                    <p:cond delay="3500"/>
                                  </p:stCondLst>
                                  <p:childTnLst>
                                    <p:set>
                                      <p:cBhvr>
                                        <p:cTn id="98" dur="1" fill="hold">
                                          <p:stCondLst>
                                            <p:cond delay="0"/>
                                          </p:stCondLst>
                                        </p:cTn>
                                        <p:tgtEl>
                                          <p:spTgt spid="33"/>
                                        </p:tgtEl>
                                        <p:attrNameLst>
                                          <p:attrName>style.visibility</p:attrName>
                                        </p:attrNameLst>
                                      </p:cBhvr>
                                      <p:to>
                                        <p:strVal val="visible"/>
                                      </p:to>
                                    </p:set>
                                    <p:animEffect transition="in" filter="fade">
                                      <p:cBhvr>
                                        <p:cTn id="99" dur="1500"/>
                                        <p:tgtEl>
                                          <p:spTgt spid="33"/>
                                        </p:tgtEl>
                                      </p:cBhvr>
                                    </p:animEffect>
                                  </p:childTnLst>
                                </p:cTn>
                              </p:par>
                              <p:par>
                                <p:cTn id="100" presetID="10" presetClass="entr" presetSubtype="0" fill="hold" grpId="0" nodeType="withEffect">
                                  <p:stCondLst>
                                    <p:cond delay="3500"/>
                                  </p:stCondLst>
                                  <p:childTnLst>
                                    <p:set>
                                      <p:cBhvr>
                                        <p:cTn id="101" dur="1" fill="hold">
                                          <p:stCondLst>
                                            <p:cond delay="0"/>
                                          </p:stCondLst>
                                        </p:cTn>
                                        <p:tgtEl>
                                          <p:spTgt spid="34"/>
                                        </p:tgtEl>
                                        <p:attrNameLst>
                                          <p:attrName>style.visibility</p:attrName>
                                        </p:attrNameLst>
                                      </p:cBhvr>
                                      <p:to>
                                        <p:strVal val="visible"/>
                                      </p:to>
                                    </p:set>
                                    <p:animEffect transition="in" filter="fade">
                                      <p:cBhvr>
                                        <p:cTn id="102" dur="1500"/>
                                        <p:tgtEl>
                                          <p:spTgt spid="34"/>
                                        </p:tgtEl>
                                      </p:cBhvr>
                                    </p:animEffect>
                                  </p:childTnLst>
                                </p:cTn>
                              </p:par>
                              <p:par>
                                <p:cTn id="103" presetID="10" presetClass="entr" presetSubtype="0" fill="hold" grpId="0" nodeType="withEffect">
                                  <p:stCondLst>
                                    <p:cond delay="3500"/>
                                  </p:stCondLst>
                                  <p:childTnLst>
                                    <p:set>
                                      <p:cBhvr>
                                        <p:cTn id="104" dur="1" fill="hold">
                                          <p:stCondLst>
                                            <p:cond delay="0"/>
                                          </p:stCondLst>
                                        </p:cTn>
                                        <p:tgtEl>
                                          <p:spTgt spid="57"/>
                                        </p:tgtEl>
                                        <p:attrNameLst>
                                          <p:attrName>style.visibility</p:attrName>
                                        </p:attrNameLst>
                                      </p:cBhvr>
                                      <p:to>
                                        <p:strVal val="visible"/>
                                      </p:to>
                                    </p:set>
                                    <p:animEffect transition="in" filter="fade">
                                      <p:cBhvr>
                                        <p:cTn id="105" dur="1500"/>
                                        <p:tgtEl>
                                          <p:spTgt spid="57"/>
                                        </p:tgtEl>
                                      </p:cBhvr>
                                    </p:animEffect>
                                  </p:childTnLst>
                                </p:cTn>
                              </p:par>
                              <p:par>
                                <p:cTn id="106" presetID="10" presetClass="entr" presetSubtype="0" fill="hold" grpId="0" nodeType="withEffect">
                                  <p:stCondLst>
                                    <p:cond delay="3500"/>
                                  </p:stCondLst>
                                  <p:childTnLst>
                                    <p:set>
                                      <p:cBhvr>
                                        <p:cTn id="107" dur="1" fill="hold">
                                          <p:stCondLst>
                                            <p:cond delay="0"/>
                                          </p:stCondLst>
                                        </p:cTn>
                                        <p:tgtEl>
                                          <p:spTgt spid="58"/>
                                        </p:tgtEl>
                                        <p:attrNameLst>
                                          <p:attrName>style.visibility</p:attrName>
                                        </p:attrNameLst>
                                      </p:cBhvr>
                                      <p:to>
                                        <p:strVal val="visible"/>
                                      </p:to>
                                    </p:set>
                                    <p:animEffect transition="in" filter="fade">
                                      <p:cBhvr>
                                        <p:cTn id="108" dur="1500"/>
                                        <p:tgtEl>
                                          <p:spTgt spid="58"/>
                                        </p:tgtEl>
                                      </p:cBhvr>
                                    </p:animEffect>
                                  </p:childTnLst>
                                </p:cTn>
                              </p:par>
                              <p:par>
                                <p:cTn id="109" presetID="22" presetClass="entr" presetSubtype="4" fill="hold" nodeType="withEffect">
                                  <p:stCondLst>
                                    <p:cond delay="3000"/>
                                  </p:stCondLst>
                                  <p:childTnLst>
                                    <p:set>
                                      <p:cBhvr>
                                        <p:cTn id="110" dur="1" fill="hold">
                                          <p:stCondLst>
                                            <p:cond delay="0"/>
                                          </p:stCondLst>
                                        </p:cTn>
                                        <p:tgtEl>
                                          <p:spTgt spid="61"/>
                                        </p:tgtEl>
                                        <p:attrNameLst>
                                          <p:attrName>style.visibility</p:attrName>
                                        </p:attrNameLst>
                                      </p:cBhvr>
                                      <p:to>
                                        <p:strVal val="visible"/>
                                      </p:to>
                                    </p:set>
                                    <p:animEffect transition="in" filter="wipe(down)">
                                      <p:cBhvr>
                                        <p:cTn id="111" dur="1000"/>
                                        <p:tgtEl>
                                          <p:spTgt spid="61"/>
                                        </p:tgtEl>
                                      </p:cBhvr>
                                    </p:animEffect>
                                  </p:childTnLst>
                                </p:cTn>
                              </p:par>
                              <p:par>
                                <p:cTn id="112" presetID="10" presetClass="entr" presetSubtype="0" fill="hold" grpId="0" nodeType="withEffect">
                                  <p:stCondLst>
                                    <p:cond delay="3500"/>
                                  </p:stCondLst>
                                  <p:childTnLst>
                                    <p:set>
                                      <p:cBhvr>
                                        <p:cTn id="113" dur="1" fill="hold">
                                          <p:stCondLst>
                                            <p:cond delay="0"/>
                                          </p:stCondLst>
                                        </p:cTn>
                                        <p:tgtEl>
                                          <p:spTgt spid="67"/>
                                        </p:tgtEl>
                                        <p:attrNameLst>
                                          <p:attrName>style.visibility</p:attrName>
                                        </p:attrNameLst>
                                      </p:cBhvr>
                                      <p:to>
                                        <p:strVal val="visible"/>
                                      </p:to>
                                    </p:set>
                                    <p:animEffect transition="in" filter="fade">
                                      <p:cBhvr>
                                        <p:cTn id="114" dur="1500"/>
                                        <p:tgtEl>
                                          <p:spTgt spid="6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27" grpId="0" animBg="1"/>
      <p:bldP spid="28" grpId="0" animBg="1"/>
      <p:bldP spid="29" grpId="0" animBg="1"/>
      <p:bldP spid="33" grpId="0"/>
      <p:bldP spid="34" grpId="0"/>
      <p:bldP spid="47" grpId="0" animBg="1"/>
      <p:bldP spid="51" grpId="0" animBg="1"/>
      <p:bldP spid="52" grpId="0" animBg="1"/>
      <p:bldP spid="57" grpId="0"/>
      <p:bldP spid="58" grpId="0"/>
      <p:bldP spid="60" grpId="0" animBg="1"/>
      <p:bldP spid="65" grpId="0" animBg="1"/>
      <p:bldP spid="67" grpId="0"/>
    </p:bldLst>
  </p:timing>
  <p:extLst>
    <p:ext uri="{6950BFC3-D8DA-4A85-94F7-54DA5524770B}">
      <p188:commentRel xmlns:p188="http://schemas.microsoft.com/office/powerpoint/2018/8/main" r:id="rId3"/>
    </p:ext>
  </p:extLs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EB3B0279-2302-40A4-AA57-FFB971E5DA87}"/>
              </a:ext>
            </a:extLst>
          </p:cNvPr>
          <p:cNvSpPr>
            <a:spLocks noGrp="1"/>
          </p:cNvSpPr>
          <p:nvPr>
            <p:ph type="ctrTitle"/>
          </p:nvPr>
        </p:nvSpPr>
        <p:spPr>
          <a:xfrm>
            <a:off x="520377" y="1117526"/>
            <a:ext cx="9982160" cy="456632"/>
          </a:xfrm>
        </p:spPr>
        <p:txBody>
          <a:bodyPr/>
          <a:lstStyle/>
          <a:p>
            <a:r>
              <a:rPr lang="fr-FR" dirty="0"/>
              <a:t>ARCHIVIERUNGS-VARIANTEN (</a:t>
            </a:r>
            <a:r>
              <a:rPr lang="fr-FR" dirty="0" err="1"/>
              <a:t>Administrativ</a:t>
            </a:r>
            <a:r>
              <a:rPr lang="fr-FR" dirty="0"/>
              <a:t>)</a:t>
            </a:r>
          </a:p>
        </p:txBody>
      </p:sp>
      <p:cxnSp>
        <p:nvCxnSpPr>
          <p:cNvPr id="25" name="Straight Arrow Connector 35">
            <a:extLst>
              <a:ext uri="{FF2B5EF4-FFF2-40B4-BE49-F238E27FC236}">
                <a16:creationId xmlns:a16="http://schemas.microsoft.com/office/drawing/2014/main" id="{D4CA018F-45E9-4E35-BCFC-5A46A2507E1D}"/>
              </a:ext>
            </a:extLst>
          </p:cNvPr>
          <p:cNvCxnSpPr>
            <a:cxnSpLocks/>
          </p:cNvCxnSpPr>
          <p:nvPr/>
        </p:nvCxnSpPr>
        <p:spPr>
          <a:xfrm flipH="1">
            <a:off x="-72737" y="5868023"/>
            <a:ext cx="12192000" cy="0"/>
          </a:xfrm>
          <a:prstGeom prst="straightConnector1">
            <a:avLst/>
          </a:prstGeom>
          <a:ln w="88900" cap="rnd">
            <a:solidFill>
              <a:schemeClr val="accent1">
                <a:lumMod val="50000"/>
              </a:schemeClr>
            </a:solidFill>
            <a:prstDash val="solid"/>
            <a:round/>
            <a:headEnd type="none" w="lg" len="lg"/>
            <a:tailEnd type="none" w="lg" len="lg"/>
          </a:ln>
        </p:spPr>
        <p:style>
          <a:lnRef idx="1">
            <a:schemeClr val="accent1"/>
          </a:lnRef>
          <a:fillRef idx="0">
            <a:schemeClr val="accent1"/>
          </a:fillRef>
          <a:effectRef idx="0">
            <a:schemeClr val="accent1"/>
          </a:effectRef>
          <a:fontRef idx="minor">
            <a:schemeClr val="tx1"/>
          </a:fontRef>
        </p:style>
      </p:cxnSp>
      <p:sp>
        <p:nvSpPr>
          <p:cNvPr id="27" name="Pentagon 21">
            <a:extLst>
              <a:ext uri="{FF2B5EF4-FFF2-40B4-BE49-F238E27FC236}">
                <a16:creationId xmlns:a16="http://schemas.microsoft.com/office/drawing/2014/main" id="{173A87E2-72F4-4858-B4E1-5A86A812A77D}"/>
              </a:ext>
            </a:extLst>
          </p:cNvPr>
          <p:cNvSpPr/>
          <p:nvPr/>
        </p:nvSpPr>
        <p:spPr>
          <a:xfrm>
            <a:off x="4064432" y="4247121"/>
            <a:ext cx="2011680" cy="640080"/>
          </a:xfrm>
          <a:prstGeom prst="rect">
            <a:avLst/>
          </a:prstGeom>
          <a:solidFill>
            <a:schemeClr val="accent3"/>
          </a:solidFill>
          <a:ln w="317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dirty="0" err="1">
                <a:solidFill>
                  <a:srgbClr val="FFFFFF"/>
                </a:solidFill>
                <a:latin typeface="Montserrat" panose="00000500000000000000" pitchFamily="2" charset="0"/>
              </a:rPr>
              <a:t>Geschäftsleitung</a:t>
            </a:r>
            <a:endParaRPr lang="en-US" sz="1200" b="1" dirty="0">
              <a:solidFill>
                <a:schemeClr val="bg1"/>
              </a:solidFill>
              <a:latin typeface="Montserrat" panose="00000500000000000000" pitchFamily="2" charset="0"/>
            </a:endParaRPr>
          </a:p>
        </p:txBody>
      </p:sp>
      <p:sp>
        <p:nvSpPr>
          <p:cNvPr id="28" name="Pentagon 22">
            <a:extLst>
              <a:ext uri="{FF2B5EF4-FFF2-40B4-BE49-F238E27FC236}">
                <a16:creationId xmlns:a16="http://schemas.microsoft.com/office/drawing/2014/main" id="{B68E415D-4EF4-43FD-A0A1-D8EBB3246171}"/>
              </a:ext>
            </a:extLst>
          </p:cNvPr>
          <p:cNvSpPr/>
          <p:nvPr/>
        </p:nvSpPr>
        <p:spPr>
          <a:xfrm>
            <a:off x="2044444" y="4251385"/>
            <a:ext cx="2011680" cy="640080"/>
          </a:xfrm>
          <a:prstGeom prst="rect">
            <a:avLst/>
          </a:prstGeom>
          <a:solidFill>
            <a:schemeClr val="accent1"/>
          </a:solidFill>
          <a:ln w="317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dirty="0">
                <a:solidFill>
                  <a:srgbClr val="FFFFFF"/>
                </a:solidFill>
                <a:latin typeface="Montserrat" panose="00000500000000000000" pitchFamily="2" charset="0"/>
              </a:rPr>
              <a:t>HR / </a:t>
            </a:r>
            <a:r>
              <a:rPr lang="fr-FR" sz="1200" b="1" dirty="0" err="1">
                <a:solidFill>
                  <a:srgbClr val="FFFFFF"/>
                </a:solidFill>
                <a:latin typeface="Montserrat" panose="00000500000000000000" pitchFamily="2" charset="0"/>
              </a:rPr>
              <a:t>Versicherung</a:t>
            </a:r>
            <a:endParaRPr lang="en-US" sz="1200" b="1" dirty="0">
              <a:solidFill>
                <a:schemeClr val="bg1"/>
              </a:solidFill>
              <a:latin typeface="Montserrat" panose="00000500000000000000" pitchFamily="2" charset="0"/>
            </a:endParaRPr>
          </a:p>
        </p:txBody>
      </p:sp>
      <p:sp>
        <p:nvSpPr>
          <p:cNvPr id="29" name="Pentagon 23">
            <a:extLst>
              <a:ext uri="{FF2B5EF4-FFF2-40B4-BE49-F238E27FC236}">
                <a16:creationId xmlns:a16="http://schemas.microsoft.com/office/drawing/2014/main" id="{A117D302-262B-4271-BBC3-D9A82EC651EB}"/>
              </a:ext>
            </a:extLst>
          </p:cNvPr>
          <p:cNvSpPr/>
          <p:nvPr/>
        </p:nvSpPr>
        <p:spPr>
          <a:xfrm>
            <a:off x="24456" y="4247120"/>
            <a:ext cx="2011680" cy="640080"/>
          </a:xfrm>
          <a:prstGeom prst="rect">
            <a:avLst/>
          </a:prstGeom>
          <a:solidFill>
            <a:schemeClr val="accent6"/>
          </a:solidFill>
          <a:ln w="317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dirty="0" err="1">
                <a:solidFill>
                  <a:schemeClr val="bg1"/>
                </a:solidFill>
                <a:latin typeface="Montserrat" panose="00000500000000000000" pitchFamily="2" charset="0"/>
              </a:rPr>
              <a:t>Bauwesen</a:t>
            </a:r>
            <a:endParaRPr lang="en-US" sz="1200" b="1" dirty="0">
              <a:solidFill>
                <a:schemeClr val="bg1"/>
              </a:solidFill>
              <a:latin typeface="Montserrat" panose="00000500000000000000" pitchFamily="2" charset="0"/>
            </a:endParaRPr>
          </a:p>
        </p:txBody>
      </p:sp>
      <p:cxnSp>
        <p:nvCxnSpPr>
          <p:cNvPr id="30" name="Straight Arrow Connector 38">
            <a:extLst>
              <a:ext uri="{FF2B5EF4-FFF2-40B4-BE49-F238E27FC236}">
                <a16:creationId xmlns:a16="http://schemas.microsoft.com/office/drawing/2014/main" id="{C001E2B8-A442-40FB-99EE-8454024B0241}"/>
              </a:ext>
            </a:extLst>
          </p:cNvPr>
          <p:cNvCxnSpPr>
            <a:cxnSpLocks/>
          </p:cNvCxnSpPr>
          <p:nvPr/>
        </p:nvCxnSpPr>
        <p:spPr>
          <a:xfrm>
            <a:off x="2052606" y="1653638"/>
            <a:ext cx="0" cy="1964496"/>
          </a:xfrm>
          <a:prstGeom prst="straightConnector1">
            <a:avLst/>
          </a:prstGeom>
          <a:ln w="19050" cap="rnd">
            <a:solidFill>
              <a:srgbClr val="525664"/>
            </a:solidFill>
            <a:prstDash val="sysDash"/>
            <a:round/>
            <a:headEnd type="none" w="lg" len="lg"/>
            <a:tailEnd type="none" w="lg" len="lg"/>
          </a:ln>
        </p:spPr>
        <p:style>
          <a:lnRef idx="1">
            <a:schemeClr val="accent1"/>
          </a:lnRef>
          <a:fillRef idx="0">
            <a:schemeClr val="accent1"/>
          </a:fillRef>
          <a:effectRef idx="0">
            <a:schemeClr val="accent1"/>
          </a:effectRef>
          <a:fontRef idx="minor">
            <a:schemeClr val="tx1"/>
          </a:fontRef>
        </p:style>
      </p:cxnSp>
      <p:cxnSp>
        <p:nvCxnSpPr>
          <p:cNvPr id="31" name="Straight Arrow Connector 38">
            <a:extLst>
              <a:ext uri="{FF2B5EF4-FFF2-40B4-BE49-F238E27FC236}">
                <a16:creationId xmlns:a16="http://schemas.microsoft.com/office/drawing/2014/main" id="{8C31E183-1FCF-4F77-B72F-2E2B980FD72E}"/>
              </a:ext>
            </a:extLst>
          </p:cNvPr>
          <p:cNvCxnSpPr>
            <a:cxnSpLocks/>
          </p:cNvCxnSpPr>
          <p:nvPr/>
        </p:nvCxnSpPr>
        <p:spPr>
          <a:xfrm>
            <a:off x="4057337" y="1653638"/>
            <a:ext cx="0" cy="1964496"/>
          </a:xfrm>
          <a:prstGeom prst="straightConnector1">
            <a:avLst/>
          </a:prstGeom>
          <a:ln w="19050" cap="rnd">
            <a:solidFill>
              <a:srgbClr val="525664"/>
            </a:solidFill>
            <a:prstDash val="sysDash"/>
            <a:round/>
            <a:headEnd type="none" w="lg" len="lg"/>
            <a:tailEnd type="none" w="lg" len="lg"/>
          </a:ln>
        </p:spPr>
        <p:style>
          <a:lnRef idx="1">
            <a:schemeClr val="accent1"/>
          </a:lnRef>
          <a:fillRef idx="0">
            <a:schemeClr val="accent1"/>
          </a:fillRef>
          <a:effectRef idx="0">
            <a:schemeClr val="accent1"/>
          </a:effectRef>
          <a:fontRef idx="minor">
            <a:schemeClr val="tx1"/>
          </a:fontRef>
        </p:style>
      </p:cxnSp>
      <p:sp>
        <p:nvSpPr>
          <p:cNvPr id="33" name="TextBox 80">
            <a:extLst>
              <a:ext uri="{FF2B5EF4-FFF2-40B4-BE49-F238E27FC236}">
                <a16:creationId xmlns:a16="http://schemas.microsoft.com/office/drawing/2014/main" id="{254C0BC8-878B-49D2-AF4B-0BDC8D4182DD}"/>
              </a:ext>
            </a:extLst>
          </p:cNvPr>
          <p:cNvSpPr txBox="1"/>
          <p:nvPr/>
        </p:nvSpPr>
        <p:spPr>
          <a:xfrm>
            <a:off x="24456" y="2086946"/>
            <a:ext cx="1858086" cy="566502"/>
          </a:xfrm>
          <a:prstGeom prst="rect">
            <a:avLst/>
          </a:prstGeom>
          <a:noFill/>
        </p:spPr>
        <p:txBody>
          <a:bodyPr wrap="square" lIns="0" tIns="0" rIns="0" bIns="0" rtlCol="0" anchor="ctr">
            <a:spAutoFit/>
          </a:bodyPr>
          <a:lstStyle/>
          <a:p>
            <a:pPr algn="ctr">
              <a:lnSpc>
                <a:spcPct val="120000"/>
              </a:lnSpc>
            </a:pPr>
            <a:r>
              <a:rPr lang="de-DE" sz="1050" dirty="0"/>
              <a:t>Versicherungen, Bauanlagen (große Bilder), Dokumentationen</a:t>
            </a:r>
          </a:p>
        </p:txBody>
      </p:sp>
      <p:sp>
        <p:nvSpPr>
          <p:cNvPr id="34" name="TextBox 81">
            <a:extLst>
              <a:ext uri="{FF2B5EF4-FFF2-40B4-BE49-F238E27FC236}">
                <a16:creationId xmlns:a16="http://schemas.microsoft.com/office/drawing/2014/main" id="{24503B52-E231-43FB-87D4-AB2B4C15C3F7}"/>
              </a:ext>
            </a:extLst>
          </p:cNvPr>
          <p:cNvSpPr txBox="1"/>
          <p:nvPr/>
        </p:nvSpPr>
        <p:spPr>
          <a:xfrm>
            <a:off x="2144775" y="1893046"/>
            <a:ext cx="1819013" cy="760401"/>
          </a:xfrm>
          <a:prstGeom prst="rect">
            <a:avLst/>
          </a:prstGeom>
          <a:noFill/>
        </p:spPr>
        <p:txBody>
          <a:bodyPr wrap="square" lIns="0" tIns="0" rIns="0" bIns="0" rtlCol="0" anchor="ctr">
            <a:spAutoFit/>
          </a:bodyPr>
          <a:lstStyle/>
          <a:p>
            <a:pPr algn="ctr">
              <a:lnSpc>
                <a:spcPct val="120000"/>
              </a:lnSpc>
            </a:pPr>
            <a:r>
              <a:rPr lang="de-DE" sz="1050" dirty="0">
                <a:ea typeface="Open Sans" panose="020B0606030504020204" pitchFamily="34" charset="0"/>
                <a:cs typeface="Arial Regular" charset="0"/>
              </a:rPr>
              <a:t>HR, Versicherungen, Verträge, Scandaten, Wundbilder für rechtliche Zwecke</a:t>
            </a:r>
          </a:p>
        </p:txBody>
      </p:sp>
      <p:grpSp>
        <p:nvGrpSpPr>
          <p:cNvPr id="35" name="Group 34">
            <a:extLst>
              <a:ext uri="{FF2B5EF4-FFF2-40B4-BE49-F238E27FC236}">
                <a16:creationId xmlns:a16="http://schemas.microsoft.com/office/drawing/2014/main" id="{D779177F-F650-4287-9337-B90200B8968B}"/>
              </a:ext>
            </a:extLst>
          </p:cNvPr>
          <p:cNvGrpSpPr>
            <a:grpSpLocks noChangeAspect="1"/>
          </p:cNvGrpSpPr>
          <p:nvPr/>
        </p:nvGrpSpPr>
        <p:grpSpPr>
          <a:xfrm>
            <a:off x="862189" y="5023978"/>
            <a:ext cx="348059" cy="360000"/>
            <a:chOff x="2281151" y="2761528"/>
            <a:chExt cx="1657802" cy="1714678"/>
          </a:xfrm>
          <a:solidFill>
            <a:schemeClr val="accent1"/>
          </a:solidFill>
          <a:effectLst>
            <a:outerShdw blurRad="94654" dist="38100" dir="2700000" algn="tl" rotWithShape="0">
              <a:prstClr val="black">
                <a:alpha val="60000"/>
              </a:prstClr>
            </a:outerShdw>
          </a:effectLst>
        </p:grpSpPr>
        <p:sp>
          <p:nvSpPr>
            <p:cNvPr id="36" name="Freeform: Shape 2">
              <a:extLst>
                <a:ext uri="{FF2B5EF4-FFF2-40B4-BE49-F238E27FC236}">
                  <a16:creationId xmlns:a16="http://schemas.microsoft.com/office/drawing/2014/main" id="{78369F8B-BA92-44DB-AE8A-E34524AE6A13}"/>
                </a:ext>
              </a:extLst>
            </p:cNvPr>
            <p:cNvSpPr/>
            <p:nvPr/>
          </p:nvSpPr>
          <p:spPr>
            <a:xfrm>
              <a:off x="2281151" y="3555835"/>
              <a:ext cx="1657802" cy="920371"/>
            </a:xfrm>
            <a:custGeom>
              <a:avLst/>
              <a:gdLst>
                <a:gd name="connsiteX0" fmla="*/ 347165 w 2807077"/>
                <a:gd name="connsiteY0" fmla="*/ 1551769 h 1558421"/>
                <a:gd name="connsiteX1" fmla="*/ 566119 w 2807077"/>
                <a:gd name="connsiteY1" fmla="*/ 1473675 h 1558421"/>
                <a:gd name="connsiteX2" fmla="*/ 1399418 w 2807077"/>
                <a:gd name="connsiteY2" fmla="*/ 794830 h 1558421"/>
                <a:gd name="connsiteX3" fmla="*/ 2240812 w 2807077"/>
                <a:gd name="connsiteY3" fmla="*/ 1480327 h 1558421"/>
                <a:gd name="connsiteX4" fmla="*/ 2459767 w 2807077"/>
                <a:gd name="connsiteY4" fmla="*/ 1558422 h 1558421"/>
                <a:gd name="connsiteX5" fmla="*/ 2729051 w 2807077"/>
                <a:gd name="connsiteY5" fmla="*/ 1430578 h 1558421"/>
                <a:gd name="connsiteX6" fmla="*/ 2679302 w 2807077"/>
                <a:gd name="connsiteY6" fmla="*/ 942342 h 1558421"/>
                <a:gd name="connsiteX7" fmla="*/ 1618661 w 2807077"/>
                <a:gd name="connsiteY7" fmla="*/ 78095 h 1558421"/>
                <a:gd name="connsiteX8" fmla="*/ 1180175 w 2807077"/>
                <a:gd name="connsiteY8" fmla="*/ 78095 h 1558421"/>
                <a:gd name="connsiteX9" fmla="*/ 127922 w 2807077"/>
                <a:gd name="connsiteY9" fmla="*/ 935689 h 1558421"/>
                <a:gd name="connsiteX10" fmla="*/ 77883 w 2807077"/>
                <a:gd name="connsiteY10" fmla="*/ 1423925 h 1558421"/>
                <a:gd name="connsiteX11" fmla="*/ 347165 w 2807077"/>
                <a:gd name="connsiteY11" fmla="*/ 1551769 h 1558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07077" h="1558421">
                  <a:moveTo>
                    <a:pt x="347165" y="1551769"/>
                  </a:moveTo>
                  <a:cubicBezTo>
                    <a:pt x="424103" y="1551769"/>
                    <a:pt x="501908" y="1526313"/>
                    <a:pt x="566119" y="1473675"/>
                  </a:cubicBezTo>
                  <a:lnTo>
                    <a:pt x="1399418" y="794830"/>
                  </a:lnTo>
                  <a:lnTo>
                    <a:pt x="2240812" y="1480327"/>
                  </a:lnTo>
                  <a:cubicBezTo>
                    <a:pt x="2305316" y="1532679"/>
                    <a:pt x="2382832" y="1558422"/>
                    <a:pt x="2459767" y="1558422"/>
                  </a:cubicBezTo>
                  <a:cubicBezTo>
                    <a:pt x="2560422" y="1558422"/>
                    <a:pt x="2660499" y="1514744"/>
                    <a:pt x="2729051" y="1430578"/>
                  </a:cubicBezTo>
                  <a:cubicBezTo>
                    <a:pt x="2850240" y="1281909"/>
                    <a:pt x="2827682" y="1063244"/>
                    <a:pt x="2679302" y="942342"/>
                  </a:cubicBezTo>
                  <a:lnTo>
                    <a:pt x="1618661" y="78095"/>
                  </a:lnTo>
                  <a:cubicBezTo>
                    <a:pt x="1491107" y="-26032"/>
                    <a:pt x="1307729" y="-26032"/>
                    <a:pt x="1180175" y="78095"/>
                  </a:cubicBezTo>
                  <a:lnTo>
                    <a:pt x="127922" y="935689"/>
                  </a:lnTo>
                  <a:cubicBezTo>
                    <a:pt x="-20747" y="1056591"/>
                    <a:pt x="-43019" y="1275253"/>
                    <a:pt x="77883" y="1423925"/>
                  </a:cubicBezTo>
                  <a:cubicBezTo>
                    <a:pt x="146722" y="1508094"/>
                    <a:pt x="246510" y="1551769"/>
                    <a:pt x="347165" y="1551769"/>
                  </a:cubicBezTo>
                  <a:close/>
                </a:path>
              </a:pathLst>
            </a:custGeom>
            <a:solidFill>
              <a:schemeClr val="accent1">
                <a:lumMod val="50000"/>
              </a:schemeClr>
            </a:solidFill>
            <a:ln w="2884" cap="flat">
              <a:noFill/>
              <a:prstDash val="solid"/>
              <a:miter/>
            </a:ln>
          </p:spPr>
          <p:txBody>
            <a:bodyPr rtlCol="0" anchor="ctr"/>
            <a:lstStyle/>
            <a:p>
              <a:endParaRPr lang="id-ID">
                <a:solidFill>
                  <a:schemeClr val="accent1"/>
                </a:solidFill>
                <a:latin typeface="Montserrat" panose="00000500000000000000" pitchFamily="2" charset="0"/>
              </a:endParaRPr>
            </a:p>
          </p:txBody>
        </p:sp>
        <p:sp>
          <p:nvSpPr>
            <p:cNvPr id="37" name="Freeform: Shape 3">
              <a:extLst>
                <a:ext uri="{FF2B5EF4-FFF2-40B4-BE49-F238E27FC236}">
                  <a16:creationId xmlns:a16="http://schemas.microsoft.com/office/drawing/2014/main" id="{644DE4DE-97E5-4411-A6E7-AFE46E95FA65}"/>
                </a:ext>
              </a:extLst>
            </p:cNvPr>
            <p:cNvSpPr/>
            <p:nvPr/>
          </p:nvSpPr>
          <p:spPr>
            <a:xfrm>
              <a:off x="2281151" y="2761528"/>
              <a:ext cx="1657802" cy="920374"/>
            </a:xfrm>
            <a:custGeom>
              <a:avLst/>
              <a:gdLst>
                <a:gd name="connsiteX0" fmla="*/ 347165 w 2807077"/>
                <a:gd name="connsiteY0" fmla="*/ 1551769 h 1558421"/>
                <a:gd name="connsiteX1" fmla="*/ 566119 w 2807077"/>
                <a:gd name="connsiteY1" fmla="*/ 1473674 h 1558421"/>
                <a:gd name="connsiteX2" fmla="*/ 1399418 w 2807077"/>
                <a:gd name="connsiteY2" fmla="*/ 794830 h 1558421"/>
                <a:gd name="connsiteX3" fmla="*/ 2240812 w 2807077"/>
                <a:gd name="connsiteY3" fmla="*/ 1480327 h 1558421"/>
                <a:gd name="connsiteX4" fmla="*/ 2459767 w 2807077"/>
                <a:gd name="connsiteY4" fmla="*/ 1558422 h 1558421"/>
                <a:gd name="connsiteX5" fmla="*/ 2729051 w 2807077"/>
                <a:gd name="connsiteY5" fmla="*/ 1430578 h 1558421"/>
                <a:gd name="connsiteX6" fmla="*/ 2679302 w 2807077"/>
                <a:gd name="connsiteY6" fmla="*/ 942342 h 1558421"/>
                <a:gd name="connsiteX7" fmla="*/ 1618661 w 2807077"/>
                <a:gd name="connsiteY7" fmla="*/ 78095 h 1558421"/>
                <a:gd name="connsiteX8" fmla="*/ 1180175 w 2807077"/>
                <a:gd name="connsiteY8" fmla="*/ 78095 h 1558421"/>
                <a:gd name="connsiteX9" fmla="*/ 127922 w 2807077"/>
                <a:gd name="connsiteY9" fmla="*/ 935400 h 1558421"/>
                <a:gd name="connsiteX10" fmla="*/ 77883 w 2807077"/>
                <a:gd name="connsiteY10" fmla="*/ 1423925 h 1558421"/>
                <a:gd name="connsiteX11" fmla="*/ 347165 w 2807077"/>
                <a:gd name="connsiteY11" fmla="*/ 1551769 h 1558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07077" h="1558421">
                  <a:moveTo>
                    <a:pt x="347165" y="1551769"/>
                  </a:moveTo>
                  <a:cubicBezTo>
                    <a:pt x="424103" y="1551769"/>
                    <a:pt x="501908" y="1526316"/>
                    <a:pt x="566119" y="1473674"/>
                  </a:cubicBezTo>
                  <a:lnTo>
                    <a:pt x="1399418" y="794830"/>
                  </a:lnTo>
                  <a:lnTo>
                    <a:pt x="2240812" y="1480327"/>
                  </a:lnTo>
                  <a:cubicBezTo>
                    <a:pt x="2305316" y="1532682"/>
                    <a:pt x="2382832" y="1558422"/>
                    <a:pt x="2459767" y="1558422"/>
                  </a:cubicBezTo>
                  <a:cubicBezTo>
                    <a:pt x="2560422" y="1558422"/>
                    <a:pt x="2660499" y="1514746"/>
                    <a:pt x="2729051" y="1430578"/>
                  </a:cubicBezTo>
                  <a:cubicBezTo>
                    <a:pt x="2850240" y="1281912"/>
                    <a:pt x="2827682" y="1063244"/>
                    <a:pt x="2679302" y="942342"/>
                  </a:cubicBezTo>
                  <a:lnTo>
                    <a:pt x="1618661" y="78095"/>
                  </a:lnTo>
                  <a:cubicBezTo>
                    <a:pt x="1491107" y="-26032"/>
                    <a:pt x="1307729" y="-26032"/>
                    <a:pt x="1180175" y="78095"/>
                  </a:cubicBezTo>
                  <a:lnTo>
                    <a:pt x="127922" y="935400"/>
                  </a:lnTo>
                  <a:cubicBezTo>
                    <a:pt x="-20747" y="1056591"/>
                    <a:pt x="-43019" y="1275256"/>
                    <a:pt x="77883" y="1423925"/>
                  </a:cubicBezTo>
                  <a:cubicBezTo>
                    <a:pt x="146722" y="1508094"/>
                    <a:pt x="246510" y="1551769"/>
                    <a:pt x="347165" y="1551769"/>
                  </a:cubicBezTo>
                  <a:close/>
                </a:path>
              </a:pathLst>
            </a:custGeom>
            <a:solidFill>
              <a:schemeClr val="accent1">
                <a:lumMod val="50000"/>
              </a:schemeClr>
            </a:solidFill>
            <a:ln w="2884" cap="flat">
              <a:noFill/>
              <a:prstDash val="solid"/>
              <a:miter/>
            </a:ln>
          </p:spPr>
          <p:txBody>
            <a:bodyPr rtlCol="0" anchor="ctr"/>
            <a:lstStyle/>
            <a:p>
              <a:endParaRPr lang="id-ID">
                <a:solidFill>
                  <a:schemeClr val="accent1"/>
                </a:solidFill>
                <a:latin typeface="Montserrat" panose="00000500000000000000" pitchFamily="2" charset="0"/>
              </a:endParaRPr>
            </a:p>
          </p:txBody>
        </p:sp>
      </p:grpSp>
      <p:grpSp>
        <p:nvGrpSpPr>
          <p:cNvPr id="38" name="Group 44">
            <a:extLst>
              <a:ext uri="{FF2B5EF4-FFF2-40B4-BE49-F238E27FC236}">
                <a16:creationId xmlns:a16="http://schemas.microsoft.com/office/drawing/2014/main" id="{1422E161-49CB-4DEB-A853-0DC61383A40F}"/>
              </a:ext>
            </a:extLst>
          </p:cNvPr>
          <p:cNvGrpSpPr>
            <a:grpSpLocks noChangeAspect="1"/>
          </p:cNvGrpSpPr>
          <p:nvPr/>
        </p:nvGrpSpPr>
        <p:grpSpPr>
          <a:xfrm>
            <a:off x="2895001" y="5010744"/>
            <a:ext cx="348059" cy="360000"/>
            <a:chOff x="2281151" y="2761528"/>
            <a:chExt cx="1657802" cy="1714678"/>
          </a:xfrm>
          <a:solidFill>
            <a:schemeClr val="accent1"/>
          </a:solidFill>
          <a:effectLst>
            <a:outerShdw blurRad="94654" dist="38100" dir="2700000" algn="tl" rotWithShape="0">
              <a:prstClr val="black">
                <a:alpha val="60000"/>
              </a:prstClr>
            </a:outerShdw>
          </a:effectLst>
        </p:grpSpPr>
        <p:sp>
          <p:nvSpPr>
            <p:cNvPr id="39" name="Freeform: Shape 2">
              <a:extLst>
                <a:ext uri="{FF2B5EF4-FFF2-40B4-BE49-F238E27FC236}">
                  <a16:creationId xmlns:a16="http://schemas.microsoft.com/office/drawing/2014/main" id="{09EAD9E0-D6CC-436C-AE82-489DC02E19B0}"/>
                </a:ext>
              </a:extLst>
            </p:cNvPr>
            <p:cNvSpPr/>
            <p:nvPr/>
          </p:nvSpPr>
          <p:spPr>
            <a:xfrm>
              <a:off x="2281151" y="3555835"/>
              <a:ext cx="1657802" cy="920371"/>
            </a:xfrm>
            <a:custGeom>
              <a:avLst/>
              <a:gdLst>
                <a:gd name="connsiteX0" fmla="*/ 347165 w 2807077"/>
                <a:gd name="connsiteY0" fmla="*/ 1551769 h 1558421"/>
                <a:gd name="connsiteX1" fmla="*/ 566119 w 2807077"/>
                <a:gd name="connsiteY1" fmla="*/ 1473675 h 1558421"/>
                <a:gd name="connsiteX2" fmla="*/ 1399418 w 2807077"/>
                <a:gd name="connsiteY2" fmla="*/ 794830 h 1558421"/>
                <a:gd name="connsiteX3" fmla="*/ 2240812 w 2807077"/>
                <a:gd name="connsiteY3" fmla="*/ 1480327 h 1558421"/>
                <a:gd name="connsiteX4" fmla="*/ 2459767 w 2807077"/>
                <a:gd name="connsiteY4" fmla="*/ 1558422 h 1558421"/>
                <a:gd name="connsiteX5" fmla="*/ 2729051 w 2807077"/>
                <a:gd name="connsiteY5" fmla="*/ 1430578 h 1558421"/>
                <a:gd name="connsiteX6" fmla="*/ 2679302 w 2807077"/>
                <a:gd name="connsiteY6" fmla="*/ 942342 h 1558421"/>
                <a:gd name="connsiteX7" fmla="*/ 1618661 w 2807077"/>
                <a:gd name="connsiteY7" fmla="*/ 78095 h 1558421"/>
                <a:gd name="connsiteX8" fmla="*/ 1180175 w 2807077"/>
                <a:gd name="connsiteY8" fmla="*/ 78095 h 1558421"/>
                <a:gd name="connsiteX9" fmla="*/ 127922 w 2807077"/>
                <a:gd name="connsiteY9" fmla="*/ 935689 h 1558421"/>
                <a:gd name="connsiteX10" fmla="*/ 77883 w 2807077"/>
                <a:gd name="connsiteY10" fmla="*/ 1423925 h 1558421"/>
                <a:gd name="connsiteX11" fmla="*/ 347165 w 2807077"/>
                <a:gd name="connsiteY11" fmla="*/ 1551769 h 1558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07077" h="1558421">
                  <a:moveTo>
                    <a:pt x="347165" y="1551769"/>
                  </a:moveTo>
                  <a:cubicBezTo>
                    <a:pt x="424103" y="1551769"/>
                    <a:pt x="501908" y="1526313"/>
                    <a:pt x="566119" y="1473675"/>
                  </a:cubicBezTo>
                  <a:lnTo>
                    <a:pt x="1399418" y="794830"/>
                  </a:lnTo>
                  <a:lnTo>
                    <a:pt x="2240812" y="1480327"/>
                  </a:lnTo>
                  <a:cubicBezTo>
                    <a:pt x="2305316" y="1532679"/>
                    <a:pt x="2382832" y="1558422"/>
                    <a:pt x="2459767" y="1558422"/>
                  </a:cubicBezTo>
                  <a:cubicBezTo>
                    <a:pt x="2560422" y="1558422"/>
                    <a:pt x="2660499" y="1514744"/>
                    <a:pt x="2729051" y="1430578"/>
                  </a:cubicBezTo>
                  <a:cubicBezTo>
                    <a:pt x="2850240" y="1281909"/>
                    <a:pt x="2827682" y="1063244"/>
                    <a:pt x="2679302" y="942342"/>
                  </a:cubicBezTo>
                  <a:lnTo>
                    <a:pt x="1618661" y="78095"/>
                  </a:lnTo>
                  <a:cubicBezTo>
                    <a:pt x="1491107" y="-26032"/>
                    <a:pt x="1307729" y="-26032"/>
                    <a:pt x="1180175" y="78095"/>
                  </a:cubicBezTo>
                  <a:lnTo>
                    <a:pt x="127922" y="935689"/>
                  </a:lnTo>
                  <a:cubicBezTo>
                    <a:pt x="-20747" y="1056591"/>
                    <a:pt x="-43019" y="1275253"/>
                    <a:pt x="77883" y="1423925"/>
                  </a:cubicBezTo>
                  <a:cubicBezTo>
                    <a:pt x="146722" y="1508094"/>
                    <a:pt x="246510" y="1551769"/>
                    <a:pt x="347165" y="1551769"/>
                  </a:cubicBezTo>
                  <a:close/>
                </a:path>
              </a:pathLst>
            </a:custGeom>
            <a:solidFill>
              <a:schemeClr val="accent1">
                <a:lumMod val="50000"/>
              </a:schemeClr>
            </a:solidFill>
            <a:ln w="2884" cap="flat">
              <a:noFill/>
              <a:prstDash val="solid"/>
              <a:miter/>
            </a:ln>
          </p:spPr>
          <p:txBody>
            <a:bodyPr rtlCol="0" anchor="ctr"/>
            <a:lstStyle/>
            <a:p>
              <a:endParaRPr lang="id-ID">
                <a:solidFill>
                  <a:schemeClr val="accent1"/>
                </a:solidFill>
                <a:latin typeface="Montserrat" panose="00000500000000000000" pitchFamily="2" charset="0"/>
              </a:endParaRPr>
            </a:p>
          </p:txBody>
        </p:sp>
        <p:sp>
          <p:nvSpPr>
            <p:cNvPr id="40" name="Freeform: Shape 3">
              <a:extLst>
                <a:ext uri="{FF2B5EF4-FFF2-40B4-BE49-F238E27FC236}">
                  <a16:creationId xmlns:a16="http://schemas.microsoft.com/office/drawing/2014/main" id="{067EB8C6-5004-4764-BD02-3ED578A08509}"/>
                </a:ext>
              </a:extLst>
            </p:cNvPr>
            <p:cNvSpPr/>
            <p:nvPr/>
          </p:nvSpPr>
          <p:spPr>
            <a:xfrm>
              <a:off x="2281151" y="2761528"/>
              <a:ext cx="1657802" cy="920374"/>
            </a:xfrm>
            <a:custGeom>
              <a:avLst/>
              <a:gdLst>
                <a:gd name="connsiteX0" fmla="*/ 347165 w 2807077"/>
                <a:gd name="connsiteY0" fmla="*/ 1551769 h 1558421"/>
                <a:gd name="connsiteX1" fmla="*/ 566119 w 2807077"/>
                <a:gd name="connsiteY1" fmla="*/ 1473674 h 1558421"/>
                <a:gd name="connsiteX2" fmla="*/ 1399418 w 2807077"/>
                <a:gd name="connsiteY2" fmla="*/ 794830 h 1558421"/>
                <a:gd name="connsiteX3" fmla="*/ 2240812 w 2807077"/>
                <a:gd name="connsiteY3" fmla="*/ 1480327 h 1558421"/>
                <a:gd name="connsiteX4" fmla="*/ 2459767 w 2807077"/>
                <a:gd name="connsiteY4" fmla="*/ 1558422 h 1558421"/>
                <a:gd name="connsiteX5" fmla="*/ 2729051 w 2807077"/>
                <a:gd name="connsiteY5" fmla="*/ 1430578 h 1558421"/>
                <a:gd name="connsiteX6" fmla="*/ 2679302 w 2807077"/>
                <a:gd name="connsiteY6" fmla="*/ 942342 h 1558421"/>
                <a:gd name="connsiteX7" fmla="*/ 1618661 w 2807077"/>
                <a:gd name="connsiteY7" fmla="*/ 78095 h 1558421"/>
                <a:gd name="connsiteX8" fmla="*/ 1180175 w 2807077"/>
                <a:gd name="connsiteY8" fmla="*/ 78095 h 1558421"/>
                <a:gd name="connsiteX9" fmla="*/ 127922 w 2807077"/>
                <a:gd name="connsiteY9" fmla="*/ 935400 h 1558421"/>
                <a:gd name="connsiteX10" fmla="*/ 77883 w 2807077"/>
                <a:gd name="connsiteY10" fmla="*/ 1423925 h 1558421"/>
                <a:gd name="connsiteX11" fmla="*/ 347165 w 2807077"/>
                <a:gd name="connsiteY11" fmla="*/ 1551769 h 1558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07077" h="1558421">
                  <a:moveTo>
                    <a:pt x="347165" y="1551769"/>
                  </a:moveTo>
                  <a:cubicBezTo>
                    <a:pt x="424103" y="1551769"/>
                    <a:pt x="501908" y="1526316"/>
                    <a:pt x="566119" y="1473674"/>
                  </a:cubicBezTo>
                  <a:lnTo>
                    <a:pt x="1399418" y="794830"/>
                  </a:lnTo>
                  <a:lnTo>
                    <a:pt x="2240812" y="1480327"/>
                  </a:lnTo>
                  <a:cubicBezTo>
                    <a:pt x="2305316" y="1532682"/>
                    <a:pt x="2382832" y="1558422"/>
                    <a:pt x="2459767" y="1558422"/>
                  </a:cubicBezTo>
                  <a:cubicBezTo>
                    <a:pt x="2560422" y="1558422"/>
                    <a:pt x="2660499" y="1514746"/>
                    <a:pt x="2729051" y="1430578"/>
                  </a:cubicBezTo>
                  <a:cubicBezTo>
                    <a:pt x="2850240" y="1281912"/>
                    <a:pt x="2827682" y="1063244"/>
                    <a:pt x="2679302" y="942342"/>
                  </a:cubicBezTo>
                  <a:lnTo>
                    <a:pt x="1618661" y="78095"/>
                  </a:lnTo>
                  <a:cubicBezTo>
                    <a:pt x="1491107" y="-26032"/>
                    <a:pt x="1307729" y="-26032"/>
                    <a:pt x="1180175" y="78095"/>
                  </a:cubicBezTo>
                  <a:lnTo>
                    <a:pt x="127922" y="935400"/>
                  </a:lnTo>
                  <a:cubicBezTo>
                    <a:pt x="-20747" y="1056591"/>
                    <a:pt x="-43019" y="1275256"/>
                    <a:pt x="77883" y="1423925"/>
                  </a:cubicBezTo>
                  <a:cubicBezTo>
                    <a:pt x="146722" y="1508094"/>
                    <a:pt x="246510" y="1551769"/>
                    <a:pt x="347165" y="1551769"/>
                  </a:cubicBezTo>
                  <a:close/>
                </a:path>
              </a:pathLst>
            </a:custGeom>
            <a:solidFill>
              <a:schemeClr val="accent1">
                <a:lumMod val="50000"/>
              </a:schemeClr>
            </a:solidFill>
            <a:ln w="2884" cap="flat">
              <a:noFill/>
              <a:prstDash val="solid"/>
              <a:miter/>
            </a:ln>
          </p:spPr>
          <p:txBody>
            <a:bodyPr rtlCol="0" anchor="ctr"/>
            <a:lstStyle/>
            <a:p>
              <a:endParaRPr lang="id-ID">
                <a:solidFill>
                  <a:schemeClr val="accent1"/>
                </a:solidFill>
                <a:latin typeface="Montserrat" panose="00000500000000000000" pitchFamily="2" charset="0"/>
              </a:endParaRPr>
            </a:p>
          </p:txBody>
        </p:sp>
      </p:grpSp>
      <p:grpSp>
        <p:nvGrpSpPr>
          <p:cNvPr id="41" name="Group 48">
            <a:extLst>
              <a:ext uri="{FF2B5EF4-FFF2-40B4-BE49-F238E27FC236}">
                <a16:creationId xmlns:a16="http://schemas.microsoft.com/office/drawing/2014/main" id="{FE4248D8-B668-470B-94B1-C78D63D94F2A}"/>
              </a:ext>
            </a:extLst>
          </p:cNvPr>
          <p:cNvGrpSpPr>
            <a:grpSpLocks noChangeAspect="1"/>
          </p:cNvGrpSpPr>
          <p:nvPr/>
        </p:nvGrpSpPr>
        <p:grpSpPr>
          <a:xfrm>
            <a:off x="4915586" y="5010744"/>
            <a:ext cx="348059" cy="360000"/>
            <a:chOff x="2281151" y="2761528"/>
            <a:chExt cx="1657802" cy="1714678"/>
          </a:xfrm>
          <a:solidFill>
            <a:schemeClr val="accent1"/>
          </a:solidFill>
          <a:effectLst>
            <a:outerShdw blurRad="94654" dist="38100" dir="2700000" algn="tl" rotWithShape="0">
              <a:prstClr val="black">
                <a:alpha val="60000"/>
              </a:prstClr>
            </a:outerShdw>
          </a:effectLst>
        </p:grpSpPr>
        <p:sp>
          <p:nvSpPr>
            <p:cNvPr id="42" name="Freeform: Shape 2">
              <a:extLst>
                <a:ext uri="{FF2B5EF4-FFF2-40B4-BE49-F238E27FC236}">
                  <a16:creationId xmlns:a16="http://schemas.microsoft.com/office/drawing/2014/main" id="{8733A7C2-E223-4C71-9AF1-BC84CCD012B1}"/>
                </a:ext>
              </a:extLst>
            </p:cNvPr>
            <p:cNvSpPr/>
            <p:nvPr/>
          </p:nvSpPr>
          <p:spPr>
            <a:xfrm>
              <a:off x="2281151" y="3555835"/>
              <a:ext cx="1657802" cy="920371"/>
            </a:xfrm>
            <a:custGeom>
              <a:avLst/>
              <a:gdLst>
                <a:gd name="connsiteX0" fmla="*/ 347165 w 2807077"/>
                <a:gd name="connsiteY0" fmla="*/ 1551769 h 1558421"/>
                <a:gd name="connsiteX1" fmla="*/ 566119 w 2807077"/>
                <a:gd name="connsiteY1" fmla="*/ 1473675 h 1558421"/>
                <a:gd name="connsiteX2" fmla="*/ 1399418 w 2807077"/>
                <a:gd name="connsiteY2" fmla="*/ 794830 h 1558421"/>
                <a:gd name="connsiteX3" fmla="*/ 2240812 w 2807077"/>
                <a:gd name="connsiteY3" fmla="*/ 1480327 h 1558421"/>
                <a:gd name="connsiteX4" fmla="*/ 2459767 w 2807077"/>
                <a:gd name="connsiteY4" fmla="*/ 1558422 h 1558421"/>
                <a:gd name="connsiteX5" fmla="*/ 2729051 w 2807077"/>
                <a:gd name="connsiteY5" fmla="*/ 1430578 h 1558421"/>
                <a:gd name="connsiteX6" fmla="*/ 2679302 w 2807077"/>
                <a:gd name="connsiteY6" fmla="*/ 942342 h 1558421"/>
                <a:gd name="connsiteX7" fmla="*/ 1618661 w 2807077"/>
                <a:gd name="connsiteY7" fmla="*/ 78095 h 1558421"/>
                <a:gd name="connsiteX8" fmla="*/ 1180175 w 2807077"/>
                <a:gd name="connsiteY8" fmla="*/ 78095 h 1558421"/>
                <a:gd name="connsiteX9" fmla="*/ 127922 w 2807077"/>
                <a:gd name="connsiteY9" fmla="*/ 935689 h 1558421"/>
                <a:gd name="connsiteX10" fmla="*/ 77883 w 2807077"/>
                <a:gd name="connsiteY10" fmla="*/ 1423925 h 1558421"/>
                <a:gd name="connsiteX11" fmla="*/ 347165 w 2807077"/>
                <a:gd name="connsiteY11" fmla="*/ 1551769 h 1558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07077" h="1558421">
                  <a:moveTo>
                    <a:pt x="347165" y="1551769"/>
                  </a:moveTo>
                  <a:cubicBezTo>
                    <a:pt x="424103" y="1551769"/>
                    <a:pt x="501908" y="1526313"/>
                    <a:pt x="566119" y="1473675"/>
                  </a:cubicBezTo>
                  <a:lnTo>
                    <a:pt x="1399418" y="794830"/>
                  </a:lnTo>
                  <a:lnTo>
                    <a:pt x="2240812" y="1480327"/>
                  </a:lnTo>
                  <a:cubicBezTo>
                    <a:pt x="2305316" y="1532679"/>
                    <a:pt x="2382832" y="1558422"/>
                    <a:pt x="2459767" y="1558422"/>
                  </a:cubicBezTo>
                  <a:cubicBezTo>
                    <a:pt x="2560422" y="1558422"/>
                    <a:pt x="2660499" y="1514744"/>
                    <a:pt x="2729051" y="1430578"/>
                  </a:cubicBezTo>
                  <a:cubicBezTo>
                    <a:pt x="2850240" y="1281909"/>
                    <a:pt x="2827682" y="1063244"/>
                    <a:pt x="2679302" y="942342"/>
                  </a:cubicBezTo>
                  <a:lnTo>
                    <a:pt x="1618661" y="78095"/>
                  </a:lnTo>
                  <a:cubicBezTo>
                    <a:pt x="1491107" y="-26032"/>
                    <a:pt x="1307729" y="-26032"/>
                    <a:pt x="1180175" y="78095"/>
                  </a:cubicBezTo>
                  <a:lnTo>
                    <a:pt x="127922" y="935689"/>
                  </a:lnTo>
                  <a:cubicBezTo>
                    <a:pt x="-20747" y="1056591"/>
                    <a:pt x="-43019" y="1275253"/>
                    <a:pt x="77883" y="1423925"/>
                  </a:cubicBezTo>
                  <a:cubicBezTo>
                    <a:pt x="146722" y="1508094"/>
                    <a:pt x="246510" y="1551769"/>
                    <a:pt x="347165" y="1551769"/>
                  </a:cubicBezTo>
                  <a:close/>
                </a:path>
              </a:pathLst>
            </a:custGeom>
            <a:solidFill>
              <a:schemeClr val="accent1">
                <a:lumMod val="50000"/>
              </a:schemeClr>
            </a:solidFill>
            <a:ln w="2884" cap="flat">
              <a:noFill/>
              <a:prstDash val="solid"/>
              <a:miter/>
            </a:ln>
          </p:spPr>
          <p:txBody>
            <a:bodyPr rtlCol="0" anchor="ctr"/>
            <a:lstStyle/>
            <a:p>
              <a:endParaRPr lang="id-ID">
                <a:solidFill>
                  <a:schemeClr val="accent1"/>
                </a:solidFill>
                <a:latin typeface="Montserrat" panose="00000500000000000000" pitchFamily="2" charset="0"/>
              </a:endParaRPr>
            </a:p>
          </p:txBody>
        </p:sp>
        <p:sp>
          <p:nvSpPr>
            <p:cNvPr id="43" name="Freeform: Shape 3">
              <a:extLst>
                <a:ext uri="{FF2B5EF4-FFF2-40B4-BE49-F238E27FC236}">
                  <a16:creationId xmlns:a16="http://schemas.microsoft.com/office/drawing/2014/main" id="{A9EB7585-6C19-4CC4-95D8-F5184AB5C537}"/>
                </a:ext>
              </a:extLst>
            </p:cNvPr>
            <p:cNvSpPr/>
            <p:nvPr/>
          </p:nvSpPr>
          <p:spPr>
            <a:xfrm>
              <a:off x="2281151" y="2761528"/>
              <a:ext cx="1657802" cy="920374"/>
            </a:xfrm>
            <a:custGeom>
              <a:avLst/>
              <a:gdLst>
                <a:gd name="connsiteX0" fmla="*/ 347165 w 2807077"/>
                <a:gd name="connsiteY0" fmla="*/ 1551769 h 1558421"/>
                <a:gd name="connsiteX1" fmla="*/ 566119 w 2807077"/>
                <a:gd name="connsiteY1" fmla="*/ 1473674 h 1558421"/>
                <a:gd name="connsiteX2" fmla="*/ 1399418 w 2807077"/>
                <a:gd name="connsiteY2" fmla="*/ 794830 h 1558421"/>
                <a:gd name="connsiteX3" fmla="*/ 2240812 w 2807077"/>
                <a:gd name="connsiteY3" fmla="*/ 1480327 h 1558421"/>
                <a:gd name="connsiteX4" fmla="*/ 2459767 w 2807077"/>
                <a:gd name="connsiteY4" fmla="*/ 1558422 h 1558421"/>
                <a:gd name="connsiteX5" fmla="*/ 2729051 w 2807077"/>
                <a:gd name="connsiteY5" fmla="*/ 1430578 h 1558421"/>
                <a:gd name="connsiteX6" fmla="*/ 2679302 w 2807077"/>
                <a:gd name="connsiteY6" fmla="*/ 942342 h 1558421"/>
                <a:gd name="connsiteX7" fmla="*/ 1618661 w 2807077"/>
                <a:gd name="connsiteY7" fmla="*/ 78095 h 1558421"/>
                <a:gd name="connsiteX8" fmla="*/ 1180175 w 2807077"/>
                <a:gd name="connsiteY8" fmla="*/ 78095 h 1558421"/>
                <a:gd name="connsiteX9" fmla="*/ 127922 w 2807077"/>
                <a:gd name="connsiteY9" fmla="*/ 935400 h 1558421"/>
                <a:gd name="connsiteX10" fmla="*/ 77883 w 2807077"/>
                <a:gd name="connsiteY10" fmla="*/ 1423925 h 1558421"/>
                <a:gd name="connsiteX11" fmla="*/ 347165 w 2807077"/>
                <a:gd name="connsiteY11" fmla="*/ 1551769 h 1558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07077" h="1558421">
                  <a:moveTo>
                    <a:pt x="347165" y="1551769"/>
                  </a:moveTo>
                  <a:cubicBezTo>
                    <a:pt x="424103" y="1551769"/>
                    <a:pt x="501908" y="1526316"/>
                    <a:pt x="566119" y="1473674"/>
                  </a:cubicBezTo>
                  <a:lnTo>
                    <a:pt x="1399418" y="794830"/>
                  </a:lnTo>
                  <a:lnTo>
                    <a:pt x="2240812" y="1480327"/>
                  </a:lnTo>
                  <a:cubicBezTo>
                    <a:pt x="2305316" y="1532682"/>
                    <a:pt x="2382832" y="1558422"/>
                    <a:pt x="2459767" y="1558422"/>
                  </a:cubicBezTo>
                  <a:cubicBezTo>
                    <a:pt x="2560422" y="1558422"/>
                    <a:pt x="2660499" y="1514746"/>
                    <a:pt x="2729051" y="1430578"/>
                  </a:cubicBezTo>
                  <a:cubicBezTo>
                    <a:pt x="2850240" y="1281912"/>
                    <a:pt x="2827682" y="1063244"/>
                    <a:pt x="2679302" y="942342"/>
                  </a:cubicBezTo>
                  <a:lnTo>
                    <a:pt x="1618661" y="78095"/>
                  </a:lnTo>
                  <a:cubicBezTo>
                    <a:pt x="1491107" y="-26032"/>
                    <a:pt x="1307729" y="-26032"/>
                    <a:pt x="1180175" y="78095"/>
                  </a:cubicBezTo>
                  <a:lnTo>
                    <a:pt x="127922" y="935400"/>
                  </a:lnTo>
                  <a:cubicBezTo>
                    <a:pt x="-20747" y="1056591"/>
                    <a:pt x="-43019" y="1275256"/>
                    <a:pt x="77883" y="1423925"/>
                  </a:cubicBezTo>
                  <a:cubicBezTo>
                    <a:pt x="146722" y="1508094"/>
                    <a:pt x="246510" y="1551769"/>
                    <a:pt x="347165" y="1551769"/>
                  </a:cubicBezTo>
                  <a:close/>
                </a:path>
              </a:pathLst>
            </a:custGeom>
            <a:solidFill>
              <a:schemeClr val="accent1">
                <a:lumMod val="50000"/>
              </a:schemeClr>
            </a:solidFill>
            <a:ln w="2884" cap="flat">
              <a:noFill/>
              <a:prstDash val="solid"/>
              <a:miter/>
            </a:ln>
          </p:spPr>
          <p:txBody>
            <a:bodyPr rtlCol="0" anchor="ctr"/>
            <a:lstStyle/>
            <a:p>
              <a:endParaRPr lang="id-ID">
                <a:solidFill>
                  <a:schemeClr val="accent1"/>
                </a:solidFill>
                <a:latin typeface="Montserrat" panose="00000500000000000000" pitchFamily="2" charset="0"/>
              </a:endParaRPr>
            </a:p>
          </p:txBody>
        </p:sp>
      </p:grpSp>
      <p:sp>
        <p:nvSpPr>
          <p:cNvPr id="47" name="Pentagon 23">
            <a:extLst>
              <a:ext uri="{FF2B5EF4-FFF2-40B4-BE49-F238E27FC236}">
                <a16:creationId xmlns:a16="http://schemas.microsoft.com/office/drawing/2014/main" id="{87023826-6745-4003-AA08-991C35A635F8}"/>
              </a:ext>
            </a:extLst>
          </p:cNvPr>
          <p:cNvSpPr/>
          <p:nvPr/>
        </p:nvSpPr>
        <p:spPr>
          <a:xfrm>
            <a:off x="69049" y="3429068"/>
            <a:ext cx="1920240" cy="640080"/>
          </a:xfrm>
          <a:prstGeom prst="roundRect">
            <a:avLst/>
          </a:prstGeom>
          <a:noFill/>
          <a:ln w="19050">
            <a:gradFill>
              <a:gsLst>
                <a:gs pos="0">
                  <a:schemeClr val="accent4"/>
                </a:gs>
                <a:gs pos="69000">
                  <a:schemeClr val="accent6"/>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a:solidFill>
                <a:schemeClr val="accent1"/>
              </a:solidFill>
              <a:latin typeface="Montserrat" panose="00000500000000000000" pitchFamily="2" charset="0"/>
            </a:endParaRPr>
          </a:p>
        </p:txBody>
      </p:sp>
      <p:grpSp>
        <p:nvGrpSpPr>
          <p:cNvPr id="48" name="Group 31">
            <a:extLst>
              <a:ext uri="{FF2B5EF4-FFF2-40B4-BE49-F238E27FC236}">
                <a16:creationId xmlns:a16="http://schemas.microsoft.com/office/drawing/2014/main" id="{D83F9519-30AA-4C17-AB00-7D01DF3C2DCE}"/>
              </a:ext>
            </a:extLst>
          </p:cNvPr>
          <p:cNvGrpSpPr/>
          <p:nvPr/>
        </p:nvGrpSpPr>
        <p:grpSpPr>
          <a:xfrm>
            <a:off x="2088018" y="3429068"/>
            <a:ext cx="1920240" cy="640080"/>
            <a:chOff x="3081071" y="3505256"/>
            <a:chExt cx="1920240" cy="640080"/>
          </a:xfrm>
        </p:grpSpPr>
        <p:sp>
          <p:nvSpPr>
            <p:cNvPr id="49" name="TextBox 76">
              <a:extLst>
                <a:ext uri="{FF2B5EF4-FFF2-40B4-BE49-F238E27FC236}">
                  <a16:creationId xmlns:a16="http://schemas.microsoft.com/office/drawing/2014/main" id="{2CF810F3-7052-41A9-98DE-1C16E8E02D09}"/>
                </a:ext>
              </a:extLst>
            </p:cNvPr>
            <p:cNvSpPr txBox="1"/>
            <p:nvPr/>
          </p:nvSpPr>
          <p:spPr>
            <a:xfrm>
              <a:off x="4039037" y="3756796"/>
              <a:ext cx="65" cy="184666"/>
            </a:xfrm>
            <a:prstGeom prst="rect">
              <a:avLst/>
            </a:prstGeom>
            <a:noFill/>
          </p:spPr>
          <p:txBody>
            <a:bodyPr wrap="none" lIns="0" tIns="0" rIns="0" bIns="0" rtlCol="0" anchor="ctr">
              <a:spAutoFit/>
            </a:bodyPr>
            <a:lstStyle/>
            <a:p>
              <a:pPr algn="ctr"/>
              <a:endParaRPr lang="vi-VN" sz="1200" b="1" spc="40">
                <a:solidFill>
                  <a:schemeClr val="accent1"/>
                </a:solidFill>
                <a:latin typeface="Montserrat" panose="00000500000000000000" pitchFamily="2" charset="0"/>
                <a:cs typeface="Poppins" panose="00000500000000000000" pitchFamily="2" charset="0"/>
              </a:endParaRPr>
            </a:p>
          </p:txBody>
        </p:sp>
        <p:sp>
          <p:nvSpPr>
            <p:cNvPr id="50" name="Pentagon 23">
              <a:extLst>
                <a:ext uri="{FF2B5EF4-FFF2-40B4-BE49-F238E27FC236}">
                  <a16:creationId xmlns:a16="http://schemas.microsoft.com/office/drawing/2014/main" id="{18942E1D-BFB1-4122-803D-2A3ACFCD20A9}"/>
                </a:ext>
              </a:extLst>
            </p:cNvPr>
            <p:cNvSpPr/>
            <p:nvPr/>
          </p:nvSpPr>
          <p:spPr>
            <a:xfrm>
              <a:off x="3081071" y="3505256"/>
              <a:ext cx="1920240" cy="640080"/>
            </a:xfrm>
            <a:prstGeom prst="roundRect">
              <a:avLst/>
            </a:prstGeom>
            <a:noFill/>
            <a:ln w="19050">
              <a:gradFill>
                <a:gsLst>
                  <a:gs pos="0">
                    <a:schemeClr val="accent4"/>
                  </a:gs>
                  <a:gs pos="69000">
                    <a:schemeClr val="accent6"/>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a:solidFill>
                  <a:schemeClr val="accent1"/>
                </a:solidFill>
                <a:latin typeface="Montserrat" panose="00000500000000000000" pitchFamily="2" charset="0"/>
              </a:endParaRPr>
            </a:p>
          </p:txBody>
        </p:sp>
      </p:grpSp>
      <p:sp>
        <p:nvSpPr>
          <p:cNvPr id="51" name="Pentagon 23">
            <a:extLst>
              <a:ext uri="{FF2B5EF4-FFF2-40B4-BE49-F238E27FC236}">
                <a16:creationId xmlns:a16="http://schemas.microsoft.com/office/drawing/2014/main" id="{294D266D-9AA1-4FEC-BBCD-151153DE6E45}"/>
              </a:ext>
            </a:extLst>
          </p:cNvPr>
          <p:cNvSpPr/>
          <p:nvPr/>
        </p:nvSpPr>
        <p:spPr>
          <a:xfrm>
            <a:off x="4100112" y="3432583"/>
            <a:ext cx="1920240" cy="640080"/>
          </a:xfrm>
          <a:prstGeom prst="roundRect">
            <a:avLst/>
          </a:prstGeom>
          <a:noFill/>
          <a:ln w="19050">
            <a:gradFill>
              <a:gsLst>
                <a:gs pos="0">
                  <a:schemeClr val="accent4"/>
                </a:gs>
                <a:gs pos="69000">
                  <a:schemeClr val="accent6"/>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a:solidFill>
                <a:schemeClr val="accent1"/>
              </a:solidFill>
              <a:latin typeface="Montserrat" panose="00000500000000000000" pitchFamily="2" charset="0"/>
            </a:endParaRPr>
          </a:p>
        </p:txBody>
      </p:sp>
      <p:sp>
        <p:nvSpPr>
          <p:cNvPr id="53" name="Oval 37">
            <a:extLst>
              <a:ext uri="{FF2B5EF4-FFF2-40B4-BE49-F238E27FC236}">
                <a16:creationId xmlns:a16="http://schemas.microsoft.com/office/drawing/2014/main" id="{61B453C2-84E1-4354-B5CF-47BBD28E4448}"/>
              </a:ext>
            </a:extLst>
          </p:cNvPr>
          <p:cNvSpPr>
            <a:spLocks noChangeAspect="1"/>
          </p:cNvSpPr>
          <p:nvPr/>
        </p:nvSpPr>
        <p:spPr>
          <a:xfrm>
            <a:off x="660531" y="5476570"/>
            <a:ext cx="756000" cy="756000"/>
          </a:xfrm>
          <a:prstGeom prst="ellipse">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598">
              <a:solidFill>
                <a:schemeClr val="accent1"/>
              </a:solidFill>
              <a:latin typeface="Montserrat" panose="00000500000000000000" pitchFamily="2" charset="0"/>
            </a:endParaRPr>
          </a:p>
        </p:txBody>
      </p:sp>
      <p:sp>
        <p:nvSpPr>
          <p:cNvPr id="54" name="Oval 38">
            <a:extLst>
              <a:ext uri="{FF2B5EF4-FFF2-40B4-BE49-F238E27FC236}">
                <a16:creationId xmlns:a16="http://schemas.microsoft.com/office/drawing/2014/main" id="{312BEB39-2956-4DFA-9E76-E2B76D27E8AB}"/>
              </a:ext>
            </a:extLst>
          </p:cNvPr>
          <p:cNvSpPr>
            <a:spLocks noChangeAspect="1"/>
          </p:cNvSpPr>
          <p:nvPr/>
        </p:nvSpPr>
        <p:spPr>
          <a:xfrm>
            <a:off x="2691032" y="5490023"/>
            <a:ext cx="756000" cy="756000"/>
          </a:xfrm>
          <a:prstGeom prst="ellipse">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598">
              <a:solidFill>
                <a:schemeClr val="accent1"/>
              </a:solidFill>
              <a:latin typeface="Montserrat" panose="00000500000000000000" pitchFamily="2" charset="0"/>
            </a:endParaRPr>
          </a:p>
        </p:txBody>
      </p:sp>
      <p:sp>
        <p:nvSpPr>
          <p:cNvPr id="56" name="Oval 39">
            <a:extLst>
              <a:ext uri="{FF2B5EF4-FFF2-40B4-BE49-F238E27FC236}">
                <a16:creationId xmlns:a16="http://schemas.microsoft.com/office/drawing/2014/main" id="{8031006B-63E2-4030-AB3F-43E3C0324E91}"/>
              </a:ext>
            </a:extLst>
          </p:cNvPr>
          <p:cNvSpPr>
            <a:spLocks noChangeAspect="1"/>
          </p:cNvSpPr>
          <p:nvPr/>
        </p:nvSpPr>
        <p:spPr>
          <a:xfrm>
            <a:off x="4724947" y="5490023"/>
            <a:ext cx="756000" cy="756000"/>
          </a:xfrm>
          <a:prstGeom prst="ellipse">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598">
              <a:solidFill>
                <a:schemeClr val="accent1"/>
              </a:solidFill>
              <a:latin typeface="Montserrat" panose="00000500000000000000" pitchFamily="2" charset="0"/>
            </a:endParaRPr>
          </a:p>
        </p:txBody>
      </p:sp>
      <p:sp>
        <p:nvSpPr>
          <p:cNvPr id="57" name="TextBox 81">
            <a:extLst>
              <a:ext uri="{FF2B5EF4-FFF2-40B4-BE49-F238E27FC236}">
                <a16:creationId xmlns:a16="http://schemas.microsoft.com/office/drawing/2014/main" id="{29802ACE-CF56-485E-B8FA-2FD2E95AE839}"/>
              </a:ext>
            </a:extLst>
          </p:cNvPr>
          <p:cNvSpPr txBox="1"/>
          <p:nvPr/>
        </p:nvSpPr>
        <p:spPr>
          <a:xfrm>
            <a:off x="4117943" y="1989995"/>
            <a:ext cx="1819013" cy="566502"/>
          </a:xfrm>
          <a:prstGeom prst="rect">
            <a:avLst/>
          </a:prstGeom>
          <a:noFill/>
        </p:spPr>
        <p:txBody>
          <a:bodyPr wrap="square" lIns="0" tIns="0" rIns="0" bIns="0" rtlCol="0" anchor="ctr">
            <a:spAutoFit/>
          </a:bodyPr>
          <a:lstStyle/>
          <a:p>
            <a:pPr algn="ctr">
              <a:lnSpc>
                <a:spcPct val="120000"/>
              </a:lnSpc>
            </a:pPr>
            <a:r>
              <a:rPr lang="de-DE" sz="1050" dirty="0">
                <a:ea typeface="Open Sans" panose="020B0606030504020204" pitchFamily="34" charset="0"/>
                <a:cs typeface="Arial Regular" charset="0"/>
              </a:rPr>
              <a:t>Sitzungsunterlagen, Aktenvorgänge, Video, Marketing, Verträge etc.</a:t>
            </a:r>
          </a:p>
        </p:txBody>
      </p:sp>
      <p:pic>
        <p:nvPicPr>
          <p:cNvPr id="83" name="Graphic 76" descr="Images with solid fill">
            <a:extLst>
              <a:ext uri="{FF2B5EF4-FFF2-40B4-BE49-F238E27FC236}">
                <a16:creationId xmlns:a16="http://schemas.microsoft.com/office/drawing/2014/main" id="{BD800BE4-EEA7-48C3-9F15-427F2F61D74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611830" y="3065237"/>
            <a:ext cx="914400" cy="914400"/>
          </a:xfrm>
          <a:prstGeom prst="rect">
            <a:avLst/>
          </a:prstGeom>
        </p:spPr>
      </p:pic>
      <p:pic>
        <p:nvPicPr>
          <p:cNvPr id="84" name="Graphic 78" descr="Database with solid fill">
            <a:extLst>
              <a:ext uri="{FF2B5EF4-FFF2-40B4-BE49-F238E27FC236}">
                <a16:creationId xmlns:a16="http://schemas.microsoft.com/office/drawing/2014/main" id="{D02E3780-AFE4-469A-9908-99F6424B1F1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52976" y="3065237"/>
            <a:ext cx="914400" cy="914400"/>
          </a:xfrm>
          <a:prstGeom prst="rect">
            <a:avLst/>
          </a:prstGeom>
        </p:spPr>
      </p:pic>
      <p:pic>
        <p:nvPicPr>
          <p:cNvPr id="69" name="Grafik 40" descr="Vlog mit einfarbiger Füllung">
            <a:extLst>
              <a:ext uri="{FF2B5EF4-FFF2-40B4-BE49-F238E27FC236}">
                <a16:creationId xmlns:a16="http://schemas.microsoft.com/office/drawing/2014/main" id="{2D534761-B850-40E5-973A-D0E82985393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514534" y="3110734"/>
            <a:ext cx="1016425" cy="868904"/>
          </a:xfrm>
          <a:prstGeom prst="rect">
            <a:avLst/>
          </a:prstGeom>
        </p:spPr>
      </p:pic>
      <p:sp>
        <p:nvSpPr>
          <p:cNvPr id="2" name="Pentagon 21">
            <a:extLst>
              <a:ext uri="{FF2B5EF4-FFF2-40B4-BE49-F238E27FC236}">
                <a16:creationId xmlns:a16="http://schemas.microsoft.com/office/drawing/2014/main" id="{CDC404CB-3DE1-BCDC-B3F6-9317B66DE4A4}"/>
              </a:ext>
            </a:extLst>
          </p:cNvPr>
          <p:cNvSpPr/>
          <p:nvPr/>
        </p:nvSpPr>
        <p:spPr>
          <a:xfrm>
            <a:off x="6097594" y="4243656"/>
            <a:ext cx="2011680" cy="640080"/>
          </a:xfrm>
          <a:prstGeom prst="rect">
            <a:avLst/>
          </a:prstGeom>
          <a:solidFill>
            <a:schemeClr val="accent1">
              <a:lumMod val="40000"/>
              <a:lumOff val="60000"/>
            </a:schemeClr>
          </a:solidFill>
          <a:ln w="317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dirty="0" err="1">
                <a:solidFill>
                  <a:srgbClr val="FFFFFF"/>
                </a:solidFill>
                <a:latin typeface="Montserrat" panose="00000500000000000000" pitchFamily="2" charset="0"/>
              </a:rPr>
              <a:t>Rechnungen</a:t>
            </a:r>
            <a:endParaRPr lang="en-US" sz="1200" b="1" dirty="0">
              <a:solidFill>
                <a:schemeClr val="bg1"/>
              </a:solidFill>
              <a:latin typeface="Montserrat" panose="00000500000000000000" pitchFamily="2" charset="0"/>
            </a:endParaRPr>
          </a:p>
        </p:txBody>
      </p:sp>
      <p:cxnSp>
        <p:nvCxnSpPr>
          <p:cNvPr id="4" name="Straight Arrow Connector 38">
            <a:extLst>
              <a:ext uri="{FF2B5EF4-FFF2-40B4-BE49-F238E27FC236}">
                <a16:creationId xmlns:a16="http://schemas.microsoft.com/office/drawing/2014/main" id="{30C0753F-01DD-3C56-9A21-6AF39B6CC933}"/>
              </a:ext>
            </a:extLst>
          </p:cNvPr>
          <p:cNvCxnSpPr>
            <a:cxnSpLocks/>
          </p:cNvCxnSpPr>
          <p:nvPr/>
        </p:nvCxnSpPr>
        <p:spPr>
          <a:xfrm>
            <a:off x="6090499" y="1650173"/>
            <a:ext cx="0" cy="1964496"/>
          </a:xfrm>
          <a:prstGeom prst="straightConnector1">
            <a:avLst/>
          </a:prstGeom>
          <a:ln w="19050" cap="rnd">
            <a:solidFill>
              <a:srgbClr val="525664"/>
            </a:solidFill>
            <a:prstDash val="sysDash"/>
            <a:round/>
            <a:headEnd type="none" w="lg" len="lg"/>
            <a:tailEnd type="none" w="lg" len="lg"/>
          </a:ln>
        </p:spPr>
        <p:style>
          <a:lnRef idx="1">
            <a:schemeClr val="accent1"/>
          </a:lnRef>
          <a:fillRef idx="0">
            <a:schemeClr val="accent1"/>
          </a:fillRef>
          <a:effectRef idx="0">
            <a:schemeClr val="accent1"/>
          </a:effectRef>
          <a:fontRef idx="minor">
            <a:schemeClr val="tx1"/>
          </a:fontRef>
        </p:style>
      </p:cxnSp>
      <p:grpSp>
        <p:nvGrpSpPr>
          <p:cNvPr id="5" name="Group 48">
            <a:extLst>
              <a:ext uri="{FF2B5EF4-FFF2-40B4-BE49-F238E27FC236}">
                <a16:creationId xmlns:a16="http://schemas.microsoft.com/office/drawing/2014/main" id="{5B3B718B-399B-233E-6EB4-EBDD676A4CD9}"/>
              </a:ext>
            </a:extLst>
          </p:cNvPr>
          <p:cNvGrpSpPr>
            <a:grpSpLocks noChangeAspect="1"/>
          </p:cNvGrpSpPr>
          <p:nvPr/>
        </p:nvGrpSpPr>
        <p:grpSpPr>
          <a:xfrm>
            <a:off x="6948748" y="5007279"/>
            <a:ext cx="348059" cy="360000"/>
            <a:chOff x="2281151" y="2761528"/>
            <a:chExt cx="1657802" cy="1714678"/>
          </a:xfrm>
          <a:solidFill>
            <a:schemeClr val="accent1"/>
          </a:solidFill>
          <a:effectLst>
            <a:outerShdw blurRad="94654" dist="38100" dir="2700000" algn="tl" rotWithShape="0">
              <a:prstClr val="black">
                <a:alpha val="60000"/>
              </a:prstClr>
            </a:outerShdw>
          </a:effectLst>
        </p:grpSpPr>
        <p:sp>
          <p:nvSpPr>
            <p:cNvPr id="6" name="Freeform: Shape 2">
              <a:extLst>
                <a:ext uri="{FF2B5EF4-FFF2-40B4-BE49-F238E27FC236}">
                  <a16:creationId xmlns:a16="http://schemas.microsoft.com/office/drawing/2014/main" id="{B7DC9C9A-89A4-2808-75EE-3AC6769DC48A}"/>
                </a:ext>
              </a:extLst>
            </p:cNvPr>
            <p:cNvSpPr/>
            <p:nvPr/>
          </p:nvSpPr>
          <p:spPr>
            <a:xfrm>
              <a:off x="2281151" y="3555835"/>
              <a:ext cx="1657802" cy="920371"/>
            </a:xfrm>
            <a:custGeom>
              <a:avLst/>
              <a:gdLst>
                <a:gd name="connsiteX0" fmla="*/ 347165 w 2807077"/>
                <a:gd name="connsiteY0" fmla="*/ 1551769 h 1558421"/>
                <a:gd name="connsiteX1" fmla="*/ 566119 w 2807077"/>
                <a:gd name="connsiteY1" fmla="*/ 1473675 h 1558421"/>
                <a:gd name="connsiteX2" fmla="*/ 1399418 w 2807077"/>
                <a:gd name="connsiteY2" fmla="*/ 794830 h 1558421"/>
                <a:gd name="connsiteX3" fmla="*/ 2240812 w 2807077"/>
                <a:gd name="connsiteY3" fmla="*/ 1480327 h 1558421"/>
                <a:gd name="connsiteX4" fmla="*/ 2459767 w 2807077"/>
                <a:gd name="connsiteY4" fmla="*/ 1558422 h 1558421"/>
                <a:gd name="connsiteX5" fmla="*/ 2729051 w 2807077"/>
                <a:gd name="connsiteY5" fmla="*/ 1430578 h 1558421"/>
                <a:gd name="connsiteX6" fmla="*/ 2679302 w 2807077"/>
                <a:gd name="connsiteY6" fmla="*/ 942342 h 1558421"/>
                <a:gd name="connsiteX7" fmla="*/ 1618661 w 2807077"/>
                <a:gd name="connsiteY7" fmla="*/ 78095 h 1558421"/>
                <a:gd name="connsiteX8" fmla="*/ 1180175 w 2807077"/>
                <a:gd name="connsiteY8" fmla="*/ 78095 h 1558421"/>
                <a:gd name="connsiteX9" fmla="*/ 127922 w 2807077"/>
                <a:gd name="connsiteY9" fmla="*/ 935689 h 1558421"/>
                <a:gd name="connsiteX10" fmla="*/ 77883 w 2807077"/>
                <a:gd name="connsiteY10" fmla="*/ 1423925 h 1558421"/>
                <a:gd name="connsiteX11" fmla="*/ 347165 w 2807077"/>
                <a:gd name="connsiteY11" fmla="*/ 1551769 h 1558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07077" h="1558421">
                  <a:moveTo>
                    <a:pt x="347165" y="1551769"/>
                  </a:moveTo>
                  <a:cubicBezTo>
                    <a:pt x="424103" y="1551769"/>
                    <a:pt x="501908" y="1526313"/>
                    <a:pt x="566119" y="1473675"/>
                  </a:cubicBezTo>
                  <a:lnTo>
                    <a:pt x="1399418" y="794830"/>
                  </a:lnTo>
                  <a:lnTo>
                    <a:pt x="2240812" y="1480327"/>
                  </a:lnTo>
                  <a:cubicBezTo>
                    <a:pt x="2305316" y="1532679"/>
                    <a:pt x="2382832" y="1558422"/>
                    <a:pt x="2459767" y="1558422"/>
                  </a:cubicBezTo>
                  <a:cubicBezTo>
                    <a:pt x="2560422" y="1558422"/>
                    <a:pt x="2660499" y="1514744"/>
                    <a:pt x="2729051" y="1430578"/>
                  </a:cubicBezTo>
                  <a:cubicBezTo>
                    <a:pt x="2850240" y="1281909"/>
                    <a:pt x="2827682" y="1063244"/>
                    <a:pt x="2679302" y="942342"/>
                  </a:cubicBezTo>
                  <a:lnTo>
                    <a:pt x="1618661" y="78095"/>
                  </a:lnTo>
                  <a:cubicBezTo>
                    <a:pt x="1491107" y="-26032"/>
                    <a:pt x="1307729" y="-26032"/>
                    <a:pt x="1180175" y="78095"/>
                  </a:cubicBezTo>
                  <a:lnTo>
                    <a:pt x="127922" y="935689"/>
                  </a:lnTo>
                  <a:cubicBezTo>
                    <a:pt x="-20747" y="1056591"/>
                    <a:pt x="-43019" y="1275253"/>
                    <a:pt x="77883" y="1423925"/>
                  </a:cubicBezTo>
                  <a:cubicBezTo>
                    <a:pt x="146722" y="1508094"/>
                    <a:pt x="246510" y="1551769"/>
                    <a:pt x="347165" y="1551769"/>
                  </a:cubicBezTo>
                  <a:close/>
                </a:path>
              </a:pathLst>
            </a:custGeom>
            <a:solidFill>
              <a:schemeClr val="accent1">
                <a:lumMod val="50000"/>
              </a:schemeClr>
            </a:solidFill>
            <a:ln w="2884" cap="flat">
              <a:noFill/>
              <a:prstDash val="solid"/>
              <a:miter/>
            </a:ln>
          </p:spPr>
          <p:txBody>
            <a:bodyPr rtlCol="0" anchor="ctr"/>
            <a:lstStyle/>
            <a:p>
              <a:endParaRPr lang="id-ID">
                <a:solidFill>
                  <a:schemeClr val="accent1"/>
                </a:solidFill>
                <a:latin typeface="Montserrat" panose="00000500000000000000" pitchFamily="2" charset="0"/>
              </a:endParaRPr>
            </a:p>
          </p:txBody>
        </p:sp>
        <p:sp>
          <p:nvSpPr>
            <p:cNvPr id="7" name="Freeform: Shape 3">
              <a:extLst>
                <a:ext uri="{FF2B5EF4-FFF2-40B4-BE49-F238E27FC236}">
                  <a16:creationId xmlns:a16="http://schemas.microsoft.com/office/drawing/2014/main" id="{5CC4DDDB-5540-FEE6-B750-36B2937C4FDF}"/>
                </a:ext>
              </a:extLst>
            </p:cNvPr>
            <p:cNvSpPr/>
            <p:nvPr/>
          </p:nvSpPr>
          <p:spPr>
            <a:xfrm>
              <a:off x="2281151" y="2761528"/>
              <a:ext cx="1657802" cy="920374"/>
            </a:xfrm>
            <a:custGeom>
              <a:avLst/>
              <a:gdLst>
                <a:gd name="connsiteX0" fmla="*/ 347165 w 2807077"/>
                <a:gd name="connsiteY0" fmla="*/ 1551769 h 1558421"/>
                <a:gd name="connsiteX1" fmla="*/ 566119 w 2807077"/>
                <a:gd name="connsiteY1" fmla="*/ 1473674 h 1558421"/>
                <a:gd name="connsiteX2" fmla="*/ 1399418 w 2807077"/>
                <a:gd name="connsiteY2" fmla="*/ 794830 h 1558421"/>
                <a:gd name="connsiteX3" fmla="*/ 2240812 w 2807077"/>
                <a:gd name="connsiteY3" fmla="*/ 1480327 h 1558421"/>
                <a:gd name="connsiteX4" fmla="*/ 2459767 w 2807077"/>
                <a:gd name="connsiteY4" fmla="*/ 1558422 h 1558421"/>
                <a:gd name="connsiteX5" fmla="*/ 2729051 w 2807077"/>
                <a:gd name="connsiteY5" fmla="*/ 1430578 h 1558421"/>
                <a:gd name="connsiteX6" fmla="*/ 2679302 w 2807077"/>
                <a:gd name="connsiteY6" fmla="*/ 942342 h 1558421"/>
                <a:gd name="connsiteX7" fmla="*/ 1618661 w 2807077"/>
                <a:gd name="connsiteY7" fmla="*/ 78095 h 1558421"/>
                <a:gd name="connsiteX8" fmla="*/ 1180175 w 2807077"/>
                <a:gd name="connsiteY8" fmla="*/ 78095 h 1558421"/>
                <a:gd name="connsiteX9" fmla="*/ 127922 w 2807077"/>
                <a:gd name="connsiteY9" fmla="*/ 935400 h 1558421"/>
                <a:gd name="connsiteX10" fmla="*/ 77883 w 2807077"/>
                <a:gd name="connsiteY10" fmla="*/ 1423925 h 1558421"/>
                <a:gd name="connsiteX11" fmla="*/ 347165 w 2807077"/>
                <a:gd name="connsiteY11" fmla="*/ 1551769 h 1558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07077" h="1558421">
                  <a:moveTo>
                    <a:pt x="347165" y="1551769"/>
                  </a:moveTo>
                  <a:cubicBezTo>
                    <a:pt x="424103" y="1551769"/>
                    <a:pt x="501908" y="1526316"/>
                    <a:pt x="566119" y="1473674"/>
                  </a:cubicBezTo>
                  <a:lnTo>
                    <a:pt x="1399418" y="794830"/>
                  </a:lnTo>
                  <a:lnTo>
                    <a:pt x="2240812" y="1480327"/>
                  </a:lnTo>
                  <a:cubicBezTo>
                    <a:pt x="2305316" y="1532682"/>
                    <a:pt x="2382832" y="1558422"/>
                    <a:pt x="2459767" y="1558422"/>
                  </a:cubicBezTo>
                  <a:cubicBezTo>
                    <a:pt x="2560422" y="1558422"/>
                    <a:pt x="2660499" y="1514746"/>
                    <a:pt x="2729051" y="1430578"/>
                  </a:cubicBezTo>
                  <a:cubicBezTo>
                    <a:pt x="2850240" y="1281912"/>
                    <a:pt x="2827682" y="1063244"/>
                    <a:pt x="2679302" y="942342"/>
                  </a:cubicBezTo>
                  <a:lnTo>
                    <a:pt x="1618661" y="78095"/>
                  </a:lnTo>
                  <a:cubicBezTo>
                    <a:pt x="1491107" y="-26032"/>
                    <a:pt x="1307729" y="-26032"/>
                    <a:pt x="1180175" y="78095"/>
                  </a:cubicBezTo>
                  <a:lnTo>
                    <a:pt x="127922" y="935400"/>
                  </a:lnTo>
                  <a:cubicBezTo>
                    <a:pt x="-20747" y="1056591"/>
                    <a:pt x="-43019" y="1275256"/>
                    <a:pt x="77883" y="1423925"/>
                  </a:cubicBezTo>
                  <a:cubicBezTo>
                    <a:pt x="146722" y="1508094"/>
                    <a:pt x="246510" y="1551769"/>
                    <a:pt x="347165" y="1551769"/>
                  </a:cubicBezTo>
                  <a:close/>
                </a:path>
              </a:pathLst>
            </a:custGeom>
            <a:solidFill>
              <a:schemeClr val="accent1">
                <a:lumMod val="50000"/>
              </a:schemeClr>
            </a:solidFill>
            <a:ln w="2884" cap="flat">
              <a:noFill/>
              <a:prstDash val="solid"/>
              <a:miter/>
            </a:ln>
          </p:spPr>
          <p:txBody>
            <a:bodyPr rtlCol="0" anchor="ctr"/>
            <a:lstStyle/>
            <a:p>
              <a:endParaRPr lang="id-ID">
                <a:solidFill>
                  <a:schemeClr val="accent1"/>
                </a:solidFill>
                <a:latin typeface="Montserrat" panose="00000500000000000000" pitchFamily="2" charset="0"/>
              </a:endParaRPr>
            </a:p>
          </p:txBody>
        </p:sp>
      </p:grpSp>
      <p:sp>
        <p:nvSpPr>
          <p:cNvPr id="8" name="Pentagon 23">
            <a:extLst>
              <a:ext uri="{FF2B5EF4-FFF2-40B4-BE49-F238E27FC236}">
                <a16:creationId xmlns:a16="http://schemas.microsoft.com/office/drawing/2014/main" id="{C08D50A2-3B7E-FA5A-0605-083E931D0FCB}"/>
              </a:ext>
            </a:extLst>
          </p:cNvPr>
          <p:cNvSpPr/>
          <p:nvPr/>
        </p:nvSpPr>
        <p:spPr>
          <a:xfrm>
            <a:off x="6133274" y="3429118"/>
            <a:ext cx="1920240" cy="640080"/>
          </a:xfrm>
          <a:prstGeom prst="roundRect">
            <a:avLst/>
          </a:prstGeom>
          <a:noFill/>
          <a:ln w="19050">
            <a:gradFill>
              <a:gsLst>
                <a:gs pos="0">
                  <a:schemeClr val="accent4"/>
                </a:gs>
                <a:gs pos="69000">
                  <a:schemeClr val="accent6"/>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a:solidFill>
                <a:schemeClr val="accent1"/>
              </a:solidFill>
              <a:latin typeface="Montserrat" panose="00000500000000000000" pitchFamily="2" charset="0"/>
            </a:endParaRPr>
          </a:p>
        </p:txBody>
      </p:sp>
      <p:sp>
        <p:nvSpPr>
          <p:cNvPr id="9" name="Oval 39">
            <a:extLst>
              <a:ext uri="{FF2B5EF4-FFF2-40B4-BE49-F238E27FC236}">
                <a16:creationId xmlns:a16="http://schemas.microsoft.com/office/drawing/2014/main" id="{FD63F081-9983-7E01-4D99-BA575857BCEE}"/>
              </a:ext>
            </a:extLst>
          </p:cNvPr>
          <p:cNvSpPr>
            <a:spLocks noChangeAspect="1"/>
          </p:cNvSpPr>
          <p:nvPr/>
        </p:nvSpPr>
        <p:spPr>
          <a:xfrm>
            <a:off x="6758109" y="5486558"/>
            <a:ext cx="756000" cy="756000"/>
          </a:xfrm>
          <a:prstGeom prst="ellipse">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598">
              <a:solidFill>
                <a:schemeClr val="accent1"/>
              </a:solidFill>
              <a:latin typeface="Montserrat" panose="00000500000000000000" pitchFamily="2" charset="0"/>
            </a:endParaRPr>
          </a:p>
        </p:txBody>
      </p:sp>
      <p:sp>
        <p:nvSpPr>
          <p:cNvPr id="10" name="TextBox 81">
            <a:extLst>
              <a:ext uri="{FF2B5EF4-FFF2-40B4-BE49-F238E27FC236}">
                <a16:creationId xmlns:a16="http://schemas.microsoft.com/office/drawing/2014/main" id="{D4ECBAB4-0FDE-169D-5902-34344803D708}"/>
              </a:ext>
            </a:extLst>
          </p:cNvPr>
          <p:cNvSpPr txBox="1"/>
          <p:nvPr/>
        </p:nvSpPr>
        <p:spPr>
          <a:xfrm>
            <a:off x="6151105" y="1889581"/>
            <a:ext cx="1819013" cy="760401"/>
          </a:xfrm>
          <a:prstGeom prst="rect">
            <a:avLst/>
          </a:prstGeom>
          <a:noFill/>
        </p:spPr>
        <p:txBody>
          <a:bodyPr wrap="square" lIns="0" tIns="0" rIns="0" bIns="0" rtlCol="0" anchor="ctr">
            <a:spAutoFit/>
          </a:bodyPr>
          <a:lstStyle/>
          <a:p>
            <a:pPr algn="ctr">
              <a:lnSpc>
                <a:spcPct val="120000"/>
              </a:lnSpc>
            </a:pPr>
            <a:r>
              <a:rPr lang="de-DE" sz="1050" dirty="0">
                <a:ea typeface="Open Sans" panose="020B0606030504020204" pitchFamily="34" charset="0"/>
                <a:cs typeface="Arial Regular" charset="0"/>
              </a:rPr>
              <a:t>KI Technik zum auslesen von Rechnungen, X-</a:t>
            </a:r>
            <a:r>
              <a:rPr lang="de-DE" sz="1050" dirty="0" err="1">
                <a:ea typeface="Open Sans" panose="020B0606030504020204" pitchFamily="34" charset="0"/>
                <a:cs typeface="Arial Regular" charset="0"/>
              </a:rPr>
              <a:t>Invoice</a:t>
            </a:r>
            <a:r>
              <a:rPr lang="de-DE" sz="1050" dirty="0">
                <a:ea typeface="Open Sans" panose="020B0606030504020204" pitchFamily="34" charset="0"/>
                <a:cs typeface="Arial Regular" charset="0"/>
              </a:rPr>
              <a:t>, </a:t>
            </a:r>
            <a:r>
              <a:rPr lang="de-DE" sz="1050" dirty="0" err="1">
                <a:ea typeface="Open Sans" panose="020B0606030504020204" pitchFamily="34" charset="0"/>
                <a:cs typeface="Arial Regular" charset="0"/>
              </a:rPr>
              <a:t>ZUGfERD</a:t>
            </a:r>
            <a:r>
              <a:rPr lang="de-DE" sz="1050" dirty="0">
                <a:ea typeface="Open Sans" panose="020B0606030504020204" pitchFamily="34" charset="0"/>
                <a:cs typeface="Arial Regular" charset="0"/>
              </a:rPr>
              <a:t>, ERP Kopplung</a:t>
            </a:r>
          </a:p>
        </p:txBody>
      </p:sp>
      <p:sp>
        <p:nvSpPr>
          <p:cNvPr id="12" name="Pentagon 21">
            <a:extLst>
              <a:ext uri="{FF2B5EF4-FFF2-40B4-BE49-F238E27FC236}">
                <a16:creationId xmlns:a16="http://schemas.microsoft.com/office/drawing/2014/main" id="{C08B9AF4-1932-606E-F47B-117FA368BF27}"/>
              </a:ext>
            </a:extLst>
          </p:cNvPr>
          <p:cNvSpPr/>
          <p:nvPr/>
        </p:nvSpPr>
        <p:spPr>
          <a:xfrm>
            <a:off x="8141140" y="4240191"/>
            <a:ext cx="2011680" cy="640080"/>
          </a:xfrm>
          <a:prstGeom prst="rect">
            <a:avLst/>
          </a:prstGeom>
          <a:solidFill>
            <a:schemeClr val="accent3">
              <a:lumMod val="75000"/>
            </a:schemeClr>
          </a:solidFill>
          <a:ln w="317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dirty="0" err="1">
                <a:solidFill>
                  <a:srgbClr val="FFFFFF"/>
                </a:solidFill>
                <a:latin typeface="Montserrat" panose="00000500000000000000" pitchFamily="2" charset="0"/>
              </a:rPr>
              <a:t>Controlling</a:t>
            </a:r>
            <a:endParaRPr lang="en-US" sz="1200" b="1" dirty="0">
              <a:solidFill>
                <a:schemeClr val="bg1"/>
              </a:solidFill>
              <a:latin typeface="Montserrat" panose="00000500000000000000" pitchFamily="2" charset="0"/>
            </a:endParaRPr>
          </a:p>
        </p:txBody>
      </p:sp>
      <p:cxnSp>
        <p:nvCxnSpPr>
          <p:cNvPr id="13" name="Straight Arrow Connector 38">
            <a:extLst>
              <a:ext uri="{FF2B5EF4-FFF2-40B4-BE49-F238E27FC236}">
                <a16:creationId xmlns:a16="http://schemas.microsoft.com/office/drawing/2014/main" id="{0DA86BB0-027D-5F11-B525-8AA482A79220}"/>
              </a:ext>
            </a:extLst>
          </p:cNvPr>
          <p:cNvCxnSpPr>
            <a:cxnSpLocks/>
          </p:cNvCxnSpPr>
          <p:nvPr/>
        </p:nvCxnSpPr>
        <p:spPr>
          <a:xfrm>
            <a:off x="8134045" y="1646708"/>
            <a:ext cx="0" cy="1964496"/>
          </a:xfrm>
          <a:prstGeom prst="straightConnector1">
            <a:avLst/>
          </a:prstGeom>
          <a:ln w="19050" cap="rnd">
            <a:solidFill>
              <a:srgbClr val="525664"/>
            </a:solidFill>
            <a:prstDash val="sysDash"/>
            <a:round/>
            <a:headEnd type="none" w="lg" len="lg"/>
            <a:tailEnd type="none" w="lg" len="lg"/>
          </a:ln>
        </p:spPr>
        <p:style>
          <a:lnRef idx="1">
            <a:schemeClr val="accent1"/>
          </a:lnRef>
          <a:fillRef idx="0">
            <a:schemeClr val="accent1"/>
          </a:fillRef>
          <a:effectRef idx="0">
            <a:schemeClr val="accent1"/>
          </a:effectRef>
          <a:fontRef idx="minor">
            <a:schemeClr val="tx1"/>
          </a:fontRef>
        </p:style>
      </p:cxnSp>
      <p:grpSp>
        <p:nvGrpSpPr>
          <p:cNvPr id="14" name="Group 48">
            <a:extLst>
              <a:ext uri="{FF2B5EF4-FFF2-40B4-BE49-F238E27FC236}">
                <a16:creationId xmlns:a16="http://schemas.microsoft.com/office/drawing/2014/main" id="{0DFC932F-4FFD-B4F6-2527-5D8678CDFA30}"/>
              </a:ext>
            </a:extLst>
          </p:cNvPr>
          <p:cNvGrpSpPr>
            <a:grpSpLocks noChangeAspect="1"/>
          </p:cNvGrpSpPr>
          <p:nvPr/>
        </p:nvGrpSpPr>
        <p:grpSpPr>
          <a:xfrm>
            <a:off x="8992294" y="5003814"/>
            <a:ext cx="348059" cy="360000"/>
            <a:chOff x="2281151" y="2761528"/>
            <a:chExt cx="1657802" cy="1714678"/>
          </a:xfrm>
          <a:solidFill>
            <a:schemeClr val="accent1"/>
          </a:solidFill>
          <a:effectLst>
            <a:outerShdw blurRad="94654" dist="38100" dir="2700000" algn="tl" rotWithShape="0">
              <a:prstClr val="black">
                <a:alpha val="60000"/>
              </a:prstClr>
            </a:outerShdw>
          </a:effectLst>
        </p:grpSpPr>
        <p:sp>
          <p:nvSpPr>
            <p:cNvPr id="15" name="Freeform: Shape 2">
              <a:extLst>
                <a:ext uri="{FF2B5EF4-FFF2-40B4-BE49-F238E27FC236}">
                  <a16:creationId xmlns:a16="http://schemas.microsoft.com/office/drawing/2014/main" id="{BB9F2BB7-7EA1-26D6-B3A6-F4BCC752050C}"/>
                </a:ext>
              </a:extLst>
            </p:cNvPr>
            <p:cNvSpPr/>
            <p:nvPr/>
          </p:nvSpPr>
          <p:spPr>
            <a:xfrm>
              <a:off x="2281151" y="3555835"/>
              <a:ext cx="1657802" cy="920371"/>
            </a:xfrm>
            <a:custGeom>
              <a:avLst/>
              <a:gdLst>
                <a:gd name="connsiteX0" fmla="*/ 347165 w 2807077"/>
                <a:gd name="connsiteY0" fmla="*/ 1551769 h 1558421"/>
                <a:gd name="connsiteX1" fmla="*/ 566119 w 2807077"/>
                <a:gd name="connsiteY1" fmla="*/ 1473675 h 1558421"/>
                <a:gd name="connsiteX2" fmla="*/ 1399418 w 2807077"/>
                <a:gd name="connsiteY2" fmla="*/ 794830 h 1558421"/>
                <a:gd name="connsiteX3" fmla="*/ 2240812 w 2807077"/>
                <a:gd name="connsiteY3" fmla="*/ 1480327 h 1558421"/>
                <a:gd name="connsiteX4" fmla="*/ 2459767 w 2807077"/>
                <a:gd name="connsiteY4" fmla="*/ 1558422 h 1558421"/>
                <a:gd name="connsiteX5" fmla="*/ 2729051 w 2807077"/>
                <a:gd name="connsiteY5" fmla="*/ 1430578 h 1558421"/>
                <a:gd name="connsiteX6" fmla="*/ 2679302 w 2807077"/>
                <a:gd name="connsiteY6" fmla="*/ 942342 h 1558421"/>
                <a:gd name="connsiteX7" fmla="*/ 1618661 w 2807077"/>
                <a:gd name="connsiteY7" fmla="*/ 78095 h 1558421"/>
                <a:gd name="connsiteX8" fmla="*/ 1180175 w 2807077"/>
                <a:gd name="connsiteY8" fmla="*/ 78095 h 1558421"/>
                <a:gd name="connsiteX9" fmla="*/ 127922 w 2807077"/>
                <a:gd name="connsiteY9" fmla="*/ 935689 h 1558421"/>
                <a:gd name="connsiteX10" fmla="*/ 77883 w 2807077"/>
                <a:gd name="connsiteY10" fmla="*/ 1423925 h 1558421"/>
                <a:gd name="connsiteX11" fmla="*/ 347165 w 2807077"/>
                <a:gd name="connsiteY11" fmla="*/ 1551769 h 1558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07077" h="1558421">
                  <a:moveTo>
                    <a:pt x="347165" y="1551769"/>
                  </a:moveTo>
                  <a:cubicBezTo>
                    <a:pt x="424103" y="1551769"/>
                    <a:pt x="501908" y="1526313"/>
                    <a:pt x="566119" y="1473675"/>
                  </a:cubicBezTo>
                  <a:lnTo>
                    <a:pt x="1399418" y="794830"/>
                  </a:lnTo>
                  <a:lnTo>
                    <a:pt x="2240812" y="1480327"/>
                  </a:lnTo>
                  <a:cubicBezTo>
                    <a:pt x="2305316" y="1532679"/>
                    <a:pt x="2382832" y="1558422"/>
                    <a:pt x="2459767" y="1558422"/>
                  </a:cubicBezTo>
                  <a:cubicBezTo>
                    <a:pt x="2560422" y="1558422"/>
                    <a:pt x="2660499" y="1514744"/>
                    <a:pt x="2729051" y="1430578"/>
                  </a:cubicBezTo>
                  <a:cubicBezTo>
                    <a:pt x="2850240" y="1281909"/>
                    <a:pt x="2827682" y="1063244"/>
                    <a:pt x="2679302" y="942342"/>
                  </a:cubicBezTo>
                  <a:lnTo>
                    <a:pt x="1618661" y="78095"/>
                  </a:lnTo>
                  <a:cubicBezTo>
                    <a:pt x="1491107" y="-26032"/>
                    <a:pt x="1307729" y="-26032"/>
                    <a:pt x="1180175" y="78095"/>
                  </a:cubicBezTo>
                  <a:lnTo>
                    <a:pt x="127922" y="935689"/>
                  </a:lnTo>
                  <a:cubicBezTo>
                    <a:pt x="-20747" y="1056591"/>
                    <a:pt x="-43019" y="1275253"/>
                    <a:pt x="77883" y="1423925"/>
                  </a:cubicBezTo>
                  <a:cubicBezTo>
                    <a:pt x="146722" y="1508094"/>
                    <a:pt x="246510" y="1551769"/>
                    <a:pt x="347165" y="1551769"/>
                  </a:cubicBezTo>
                  <a:close/>
                </a:path>
              </a:pathLst>
            </a:custGeom>
            <a:solidFill>
              <a:schemeClr val="accent1">
                <a:lumMod val="50000"/>
              </a:schemeClr>
            </a:solidFill>
            <a:ln w="2884" cap="flat">
              <a:noFill/>
              <a:prstDash val="solid"/>
              <a:miter/>
            </a:ln>
          </p:spPr>
          <p:txBody>
            <a:bodyPr rtlCol="0" anchor="ctr"/>
            <a:lstStyle/>
            <a:p>
              <a:endParaRPr lang="id-ID">
                <a:solidFill>
                  <a:schemeClr val="accent1"/>
                </a:solidFill>
                <a:latin typeface="Montserrat" panose="00000500000000000000" pitchFamily="2" charset="0"/>
              </a:endParaRPr>
            </a:p>
          </p:txBody>
        </p:sp>
        <p:sp>
          <p:nvSpPr>
            <p:cNvPr id="16" name="Freeform: Shape 3">
              <a:extLst>
                <a:ext uri="{FF2B5EF4-FFF2-40B4-BE49-F238E27FC236}">
                  <a16:creationId xmlns:a16="http://schemas.microsoft.com/office/drawing/2014/main" id="{6BC888AD-0A57-9BD9-C31A-778E2A230E05}"/>
                </a:ext>
              </a:extLst>
            </p:cNvPr>
            <p:cNvSpPr/>
            <p:nvPr/>
          </p:nvSpPr>
          <p:spPr>
            <a:xfrm>
              <a:off x="2281151" y="2761528"/>
              <a:ext cx="1657802" cy="920374"/>
            </a:xfrm>
            <a:custGeom>
              <a:avLst/>
              <a:gdLst>
                <a:gd name="connsiteX0" fmla="*/ 347165 w 2807077"/>
                <a:gd name="connsiteY0" fmla="*/ 1551769 h 1558421"/>
                <a:gd name="connsiteX1" fmla="*/ 566119 w 2807077"/>
                <a:gd name="connsiteY1" fmla="*/ 1473674 h 1558421"/>
                <a:gd name="connsiteX2" fmla="*/ 1399418 w 2807077"/>
                <a:gd name="connsiteY2" fmla="*/ 794830 h 1558421"/>
                <a:gd name="connsiteX3" fmla="*/ 2240812 w 2807077"/>
                <a:gd name="connsiteY3" fmla="*/ 1480327 h 1558421"/>
                <a:gd name="connsiteX4" fmla="*/ 2459767 w 2807077"/>
                <a:gd name="connsiteY4" fmla="*/ 1558422 h 1558421"/>
                <a:gd name="connsiteX5" fmla="*/ 2729051 w 2807077"/>
                <a:gd name="connsiteY5" fmla="*/ 1430578 h 1558421"/>
                <a:gd name="connsiteX6" fmla="*/ 2679302 w 2807077"/>
                <a:gd name="connsiteY6" fmla="*/ 942342 h 1558421"/>
                <a:gd name="connsiteX7" fmla="*/ 1618661 w 2807077"/>
                <a:gd name="connsiteY7" fmla="*/ 78095 h 1558421"/>
                <a:gd name="connsiteX8" fmla="*/ 1180175 w 2807077"/>
                <a:gd name="connsiteY8" fmla="*/ 78095 h 1558421"/>
                <a:gd name="connsiteX9" fmla="*/ 127922 w 2807077"/>
                <a:gd name="connsiteY9" fmla="*/ 935400 h 1558421"/>
                <a:gd name="connsiteX10" fmla="*/ 77883 w 2807077"/>
                <a:gd name="connsiteY10" fmla="*/ 1423925 h 1558421"/>
                <a:gd name="connsiteX11" fmla="*/ 347165 w 2807077"/>
                <a:gd name="connsiteY11" fmla="*/ 1551769 h 1558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07077" h="1558421">
                  <a:moveTo>
                    <a:pt x="347165" y="1551769"/>
                  </a:moveTo>
                  <a:cubicBezTo>
                    <a:pt x="424103" y="1551769"/>
                    <a:pt x="501908" y="1526316"/>
                    <a:pt x="566119" y="1473674"/>
                  </a:cubicBezTo>
                  <a:lnTo>
                    <a:pt x="1399418" y="794830"/>
                  </a:lnTo>
                  <a:lnTo>
                    <a:pt x="2240812" y="1480327"/>
                  </a:lnTo>
                  <a:cubicBezTo>
                    <a:pt x="2305316" y="1532682"/>
                    <a:pt x="2382832" y="1558422"/>
                    <a:pt x="2459767" y="1558422"/>
                  </a:cubicBezTo>
                  <a:cubicBezTo>
                    <a:pt x="2560422" y="1558422"/>
                    <a:pt x="2660499" y="1514746"/>
                    <a:pt x="2729051" y="1430578"/>
                  </a:cubicBezTo>
                  <a:cubicBezTo>
                    <a:pt x="2850240" y="1281912"/>
                    <a:pt x="2827682" y="1063244"/>
                    <a:pt x="2679302" y="942342"/>
                  </a:cubicBezTo>
                  <a:lnTo>
                    <a:pt x="1618661" y="78095"/>
                  </a:lnTo>
                  <a:cubicBezTo>
                    <a:pt x="1491107" y="-26032"/>
                    <a:pt x="1307729" y="-26032"/>
                    <a:pt x="1180175" y="78095"/>
                  </a:cubicBezTo>
                  <a:lnTo>
                    <a:pt x="127922" y="935400"/>
                  </a:lnTo>
                  <a:cubicBezTo>
                    <a:pt x="-20747" y="1056591"/>
                    <a:pt x="-43019" y="1275256"/>
                    <a:pt x="77883" y="1423925"/>
                  </a:cubicBezTo>
                  <a:cubicBezTo>
                    <a:pt x="146722" y="1508094"/>
                    <a:pt x="246510" y="1551769"/>
                    <a:pt x="347165" y="1551769"/>
                  </a:cubicBezTo>
                  <a:close/>
                </a:path>
              </a:pathLst>
            </a:custGeom>
            <a:solidFill>
              <a:schemeClr val="accent1">
                <a:lumMod val="50000"/>
              </a:schemeClr>
            </a:solidFill>
            <a:ln w="2884" cap="flat">
              <a:noFill/>
              <a:prstDash val="solid"/>
              <a:miter/>
            </a:ln>
          </p:spPr>
          <p:txBody>
            <a:bodyPr rtlCol="0" anchor="ctr"/>
            <a:lstStyle/>
            <a:p>
              <a:endParaRPr lang="id-ID">
                <a:solidFill>
                  <a:schemeClr val="accent1"/>
                </a:solidFill>
                <a:latin typeface="Montserrat" panose="00000500000000000000" pitchFamily="2" charset="0"/>
              </a:endParaRPr>
            </a:p>
          </p:txBody>
        </p:sp>
      </p:grpSp>
      <p:sp>
        <p:nvSpPr>
          <p:cNvPr id="17" name="Pentagon 23">
            <a:extLst>
              <a:ext uri="{FF2B5EF4-FFF2-40B4-BE49-F238E27FC236}">
                <a16:creationId xmlns:a16="http://schemas.microsoft.com/office/drawing/2014/main" id="{AD5158EB-7BDA-27EF-D73C-B65BB5F1EB96}"/>
              </a:ext>
            </a:extLst>
          </p:cNvPr>
          <p:cNvSpPr/>
          <p:nvPr/>
        </p:nvSpPr>
        <p:spPr>
          <a:xfrm>
            <a:off x="8176820" y="3425653"/>
            <a:ext cx="1920240" cy="640080"/>
          </a:xfrm>
          <a:prstGeom prst="roundRect">
            <a:avLst/>
          </a:prstGeom>
          <a:noFill/>
          <a:ln w="19050">
            <a:gradFill>
              <a:gsLst>
                <a:gs pos="0">
                  <a:schemeClr val="accent4"/>
                </a:gs>
                <a:gs pos="69000">
                  <a:schemeClr val="accent6"/>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a:solidFill>
                <a:schemeClr val="accent1"/>
              </a:solidFill>
              <a:latin typeface="Montserrat" panose="00000500000000000000" pitchFamily="2" charset="0"/>
            </a:endParaRPr>
          </a:p>
        </p:txBody>
      </p:sp>
      <p:sp>
        <p:nvSpPr>
          <p:cNvPr id="18" name="Oval 39">
            <a:extLst>
              <a:ext uri="{FF2B5EF4-FFF2-40B4-BE49-F238E27FC236}">
                <a16:creationId xmlns:a16="http://schemas.microsoft.com/office/drawing/2014/main" id="{9D5273CF-244F-C13D-B9F6-D6CBDD6425BF}"/>
              </a:ext>
            </a:extLst>
          </p:cNvPr>
          <p:cNvSpPr>
            <a:spLocks noChangeAspect="1"/>
          </p:cNvSpPr>
          <p:nvPr/>
        </p:nvSpPr>
        <p:spPr>
          <a:xfrm>
            <a:off x="8801655" y="5483093"/>
            <a:ext cx="756000" cy="756000"/>
          </a:xfrm>
          <a:prstGeom prst="ellipse">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598">
              <a:solidFill>
                <a:schemeClr val="accent1"/>
              </a:solidFill>
              <a:latin typeface="Montserrat" panose="00000500000000000000" pitchFamily="2" charset="0"/>
            </a:endParaRPr>
          </a:p>
        </p:txBody>
      </p:sp>
      <p:sp>
        <p:nvSpPr>
          <p:cNvPr id="19" name="TextBox 81">
            <a:extLst>
              <a:ext uri="{FF2B5EF4-FFF2-40B4-BE49-F238E27FC236}">
                <a16:creationId xmlns:a16="http://schemas.microsoft.com/office/drawing/2014/main" id="{9B680A50-638A-115B-BF16-84DAF1E411BA}"/>
              </a:ext>
            </a:extLst>
          </p:cNvPr>
          <p:cNvSpPr txBox="1"/>
          <p:nvPr/>
        </p:nvSpPr>
        <p:spPr>
          <a:xfrm>
            <a:off x="8194651" y="1886116"/>
            <a:ext cx="1819013" cy="760401"/>
          </a:xfrm>
          <a:prstGeom prst="rect">
            <a:avLst/>
          </a:prstGeom>
          <a:noFill/>
        </p:spPr>
        <p:txBody>
          <a:bodyPr wrap="square" lIns="0" tIns="0" rIns="0" bIns="0" rtlCol="0" anchor="ctr">
            <a:spAutoFit/>
          </a:bodyPr>
          <a:lstStyle/>
          <a:p>
            <a:pPr algn="ctr">
              <a:lnSpc>
                <a:spcPct val="120000"/>
              </a:lnSpc>
            </a:pPr>
            <a:r>
              <a:rPr lang="de-DE" sz="1050" dirty="0">
                <a:ea typeface="Open Sans" panose="020B0606030504020204" pitchFamily="34" charset="0"/>
                <a:cs typeface="Arial Regular" charset="0"/>
              </a:rPr>
              <a:t>MD Controlling, PVS, </a:t>
            </a:r>
            <a:r>
              <a:rPr lang="de-DE" sz="1050" dirty="0" err="1">
                <a:ea typeface="Open Sans" panose="020B0606030504020204" pitchFamily="34" charset="0"/>
                <a:cs typeface="Arial Regular" charset="0"/>
              </a:rPr>
              <a:t>Unimed</a:t>
            </a:r>
            <a:r>
              <a:rPr lang="de-DE" sz="1050" dirty="0">
                <a:ea typeface="Open Sans" panose="020B0606030504020204" pitchFamily="34" charset="0"/>
                <a:cs typeface="Arial Regular" charset="0"/>
              </a:rPr>
              <a:t>, Dokumentzusammen-stellungen automatisiert</a:t>
            </a:r>
          </a:p>
        </p:txBody>
      </p:sp>
      <p:pic>
        <p:nvPicPr>
          <p:cNvPr id="22" name="Grafik 21" descr="Prüfliste mit einfarbiger Füllung">
            <a:extLst>
              <a:ext uri="{FF2B5EF4-FFF2-40B4-BE49-F238E27FC236}">
                <a16:creationId xmlns:a16="http://schemas.microsoft.com/office/drawing/2014/main" id="{2C80700D-B4BF-4F33-E2B7-027B0EC8F382}"/>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555234" y="3051119"/>
            <a:ext cx="914400" cy="914400"/>
          </a:xfrm>
          <a:prstGeom prst="rect">
            <a:avLst/>
          </a:prstGeom>
        </p:spPr>
      </p:pic>
      <p:pic>
        <p:nvPicPr>
          <p:cNvPr id="24" name="Grafik 23" descr="Zeitung mit einfarbiger Füllung">
            <a:extLst>
              <a:ext uri="{FF2B5EF4-FFF2-40B4-BE49-F238E27FC236}">
                <a16:creationId xmlns:a16="http://schemas.microsoft.com/office/drawing/2014/main" id="{8B8C6BF7-9883-45BF-14F6-6BA63558B17E}"/>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8722455" y="3024380"/>
            <a:ext cx="914400" cy="914400"/>
          </a:xfrm>
          <a:prstGeom prst="rect">
            <a:avLst/>
          </a:prstGeom>
        </p:spPr>
      </p:pic>
      <p:sp>
        <p:nvSpPr>
          <p:cNvPr id="26" name="Pentagon 21">
            <a:extLst>
              <a:ext uri="{FF2B5EF4-FFF2-40B4-BE49-F238E27FC236}">
                <a16:creationId xmlns:a16="http://schemas.microsoft.com/office/drawing/2014/main" id="{C398EDA6-0849-5859-948F-5B227D42098A}"/>
              </a:ext>
            </a:extLst>
          </p:cNvPr>
          <p:cNvSpPr/>
          <p:nvPr/>
        </p:nvSpPr>
        <p:spPr>
          <a:xfrm>
            <a:off x="10184690" y="4247117"/>
            <a:ext cx="2011680" cy="640080"/>
          </a:xfrm>
          <a:prstGeom prst="rect">
            <a:avLst/>
          </a:prstGeom>
          <a:solidFill>
            <a:schemeClr val="accent1">
              <a:lumMod val="50000"/>
            </a:schemeClr>
          </a:solidFill>
          <a:ln w="317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dirty="0" err="1">
                <a:solidFill>
                  <a:srgbClr val="FFFFFF"/>
                </a:solidFill>
                <a:latin typeface="Montserrat" panose="00000500000000000000" pitchFamily="2" charset="0"/>
              </a:rPr>
              <a:t>Kommunikation</a:t>
            </a:r>
            <a:endParaRPr lang="en-US" sz="1200" b="1" dirty="0">
              <a:solidFill>
                <a:schemeClr val="bg1"/>
              </a:solidFill>
              <a:latin typeface="Montserrat" panose="00000500000000000000" pitchFamily="2" charset="0"/>
            </a:endParaRPr>
          </a:p>
        </p:txBody>
      </p:sp>
      <p:cxnSp>
        <p:nvCxnSpPr>
          <p:cNvPr id="32" name="Straight Arrow Connector 38">
            <a:extLst>
              <a:ext uri="{FF2B5EF4-FFF2-40B4-BE49-F238E27FC236}">
                <a16:creationId xmlns:a16="http://schemas.microsoft.com/office/drawing/2014/main" id="{27E6A03B-CC66-02C3-D807-D5E7F668DF92}"/>
              </a:ext>
            </a:extLst>
          </p:cNvPr>
          <p:cNvCxnSpPr>
            <a:cxnSpLocks/>
          </p:cNvCxnSpPr>
          <p:nvPr/>
        </p:nvCxnSpPr>
        <p:spPr>
          <a:xfrm>
            <a:off x="10177595" y="1653634"/>
            <a:ext cx="0" cy="1964496"/>
          </a:xfrm>
          <a:prstGeom prst="straightConnector1">
            <a:avLst/>
          </a:prstGeom>
          <a:ln w="19050" cap="rnd">
            <a:solidFill>
              <a:srgbClr val="525664"/>
            </a:solidFill>
            <a:prstDash val="sysDash"/>
            <a:round/>
            <a:headEnd type="none" w="lg" len="lg"/>
            <a:tailEnd type="none" w="lg" len="lg"/>
          </a:ln>
        </p:spPr>
        <p:style>
          <a:lnRef idx="1">
            <a:schemeClr val="accent1"/>
          </a:lnRef>
          <a:fillRef idx="0">
            <a:schemeClr val="accent1"/>
          </a:fillRef>
          <a:effectRef idx="0">
            <a:schemeClr val="accent1"/>
          </a:effectRef>
          <a:fontRef idx="minor">
            <a:schemeClr val="tx1"/>
          </a:fontRef>
        </p:style>
      </p:cxnSp>
      <p:grpSp>
        <p:nvGrpSpPr>
          <p:cNvPr id="44" name="Group 48">
            <a:extLst>
              <a:ext uri="{FF2B5EF4-FFF2-40B4-BE49-F238E27FC236}">
                <a16:creationId xmlns:a16="http://schemas.microsoft.com/office/drawing/2014/main" id="{9AC17A1C-E124-90C5-207E-A3FD416563A6}"/>
              </a:ext>
            </a:extLst>
          </p:cNvPr>
          <p:cNvGrpSpPr>
            <a:grpSpLocks noChangeAspect="1"/>
          </p:cNvGrpSpPr>
          <p:nvPr/>
        </p:nvGrpSpPr>
        <p:grpSpPr>
          <a:xfrm>
            <a:off x="11035844" y="5010740"/>
            <a:ext cx="348059" cy="360000"/>
            <a:chOff x="2281151" y="2761528"/>
            <a:chExt cx="1657802" cy="1714678"/>
          </a:xfrm>
          <a:solidFill>
            <a:schemeClr val="accent1"/>
          </a:solidFill>
          <a:effectLst>
            <a:outerShdw blurRad="94654" dist="38100" dir="2700000" algn="tl" rotWithShape="0">
              <a:prstClr val="black">
                <a:alpha val="60000"/>
              </a:prstClr>
            </a:outerShdw>
          </a:effectLst>
        </p:grpSpPr>
        <p:sp>
          <p:nvSpPr>
            <p:cNvPr id="45" name="Freeform: Shape 2">
              <a:extLst>
                <a:ext uri="{FF2B5EF4-FFF2-40B4-BE49-F238E27FC236}">
                  <a16:creationId xmlns:a16="http://schemas.microsoft.com/office/drawing/2014/main" id="{3432185D-8709-1117-B71D-148D6FD85835}"/>
                </a:ext>
              </a:extLst>
            </p:cNvPr>
            <p:cNvSpPr/>
            <p:nvPr/>
          </p:nvSpPr>
          <p:spPr>
            <a:xfrm>
              <a:off x="2281151" y="3555835"/>
              <a:ext cx="1657802" cy="920371"/>
            </a:xfrm>
            <a:custGeom>
              <a:avLst/>
              <a:gdLst>
                <a:gd name="connsiteX0" fmla="*/ 347165 w 2807077"/>
                <a:gd name="connsiteY0" fmla="*/ 1551769 h 1558421"/>
                <a:gd name="connsiteX1" fmla="*/ 566119 w 2807077"/>
                <a:gd name="connsiteY1" fmla="*/ 1473675 h 1558421"/>
                <a:gd name="connsiteX2" fmla="*/ 1399418 w 2807077"/>
                <a:gd name="connsiteY2" fmla="*/ 794830 h 1558421"/>
                <a:gd name="connsiteX3" fmla="*/ 2240812 w 2807077"/>
                <a:gd name="connsiteY3" fmla="*/ 1480327 h 1558421"/>
                <a:gd name="connsiteX4" fmla="*/ 2459767 w 2807077"/>
                <a:gd name="connsiteY4" fmla="*/ 1558422 h 1558421"/>
                <a:gd name="connsiteX5" fmla="*/ 2729051 w 2807077"/>
                <a:gd name="connsiteY5" fmla="*/ 1430578 h 1558421"/>
                <a:gd name="connsiteX6" fmla="*/ 2679302 w 2807077"/>
                <a:gd name="connsiteY6" fmla="*/ 942342 h 1558421"/>
                <a:gd name="connsiteX7" fmla="*/ 1618661 w 2807077"/>
                <a:gd name="connsiteY7" fmla="*/ 78095 h 1558421"/>
                <a:gd name="connsiteX8" fmla="*/ 1180175 w 2807077"/>
                <a:gd name="connsiteY8" fmla="*/ 78095 h 1558421"/>
                <a:gd name="connsiteX9" fmla="*/ 127922 w 2807077"/>
                <a:gd name="connsiteY9" fmla="*/ 935689 h 1558421"/>
                <a:gd name="connsiteX10" fmla="*/ 77883 w 2807077"/>
                <a:gd name="connsiteY10" fmla="*/ 1423925 h 1558421"/>
                <a:gd name="connsiteX11" fmla="*/ 347165 w 2807077"/>
                <a:gd name="connsiteY11" fmla="*/ 1551769 h 1558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07077" h="1558421">
                  <a:moveTo>
                    <a:pt x="347165" y="1551769"/>
                  </a:moveTo>
                  <a:cubicBezTo>
                    <a:pt x="424103" y="1551769"/>
                    <a:pt x="501908" y="1526313"/>
                    <a:pt x="566119" y="1473675"/>
                  </a:cubicBezTo>
                  <a:lnTo>
                    <a:pt x="1399418" y="794830"/>
                  </a:lnTo>
                  <a:lnTo>
                    <a:pt x="2240812" y="1480327"/>
                  </a:lnTo>
                  <a:cubicBezTo>
                    <a:pt x="2305316" y="1532679"/>
                    <a:pt x="2382832" y="1558422"/>
                    <a:pt x="2459767" y="1558422"/>
                  </a:cubicBezTo>
                  <a:cubicBezTo>
                    <a:pt x="2560422" y="1558422"/>
                    <a:pt x="2660499" y="1514744"/>
                    <a:pt x="2729051" y="1430578"/>
                  </a:cubicBezTo>
                  <a:cubicBezTo>
                    <a:pt x="2850240" y="1281909"/>
                    <a:pt x="2827682" y="1063244"/>
                    <a:pt x="2679302" y="942342"/>
                  </a:cubicBezTo>
                  <a:lnTo>
                    <a:pt x="1618661" y="78095"/>
                  </a:lnTo>
                  <a:cubicBezTo>
                    <a:pt x="1491107" y="-26032"/>
                    <a:pt x="1307729" y="-26032"/>
                    <a:pt x="1180175" y="78095"/>
                  </a:cubicBezTo>
                  <a:lnTo>
                    <a:pt x="127922" y="935689"/>
                  </a:lnTo>
                  <a:cubicBezTo>
                    <a:pt x="-20747" y="1056591"/>
                    <a:pt x="-43019" y="1275253"/>
                    <a:pt x="77883" y="1423925"/>
                  </a:cubicBezTo>
                  <a:cubicBezTo>
                    <a:pt x="146722" y="1508094"/>
                    <a:pt x="246510" y="1551769"/>
                    <a:pt x="347165" y="1551769"/>
                  </a:cubicBezTo>
                  <a:close/>
                </a:path>
              </a:pathLst>
            </a:custGeom>
            <a:solidFill>
              <a:schemeClr val="accent1">
                <a:lumMod val="50000"/>
              </a:schemeClr>
            </a:solidFill>
            <a:ln w="2884" cap="flat">
              <a:noFill/>
              <a:prstDash val="solid"/>
              <a:miter/>
            </a:ln>
          </p:spPr>
          <p:txBody>
            <a:bodyPr rtlCol="0" anchor="ctr"/>
            <a:lstStyle/>
            <a:p>
              <a:endParaRPr lang="id-ID">
                <a:solidFill>
                  <a:schemeClr val="accent1"/>
                </a:solidFill>
                <a:latin typeface="Montserrat" panose="00000500000000000000" pitchFamily="2" charset="0"/>
              </a:endParaRPr>
            </a:p>
          </p:txBody>
        </p:sp>
        <p:sp>
          <p:nvSpPr>
            <p:cNvPr id="46" name="Freeform: Shape 3">
              <a:extLst>
                <a:ext uri="{FF2B5EF4-FFF2-40B4-BE49-F238E27FC236}">
                  <a16:creationId xmlns:a16="http://schemas.microsoft.com/office/drawing/2014/main" id="{6B2D763B-45A3-D382-FF2C-8FEEB35AC237}"/>
                </a:ext>
              </a:extLst>
            </p:cNvPr>
            <p:cNvSpPr/>
            <p:nvPr/>
          </p:nvSpPr>
          <p:spPr>
            <a:xfrm>
              <a:off x="2281151" y="2761528"/>
              <a:ext cx="1657802" cy="920374"/>
            </a:xfrm>
            <a:custGeom>
              <a:avLst/>
              <a:gdLst>
                <a:gd name="connsiteX0" fmla="*/ 347165 w 2807077"/>
                <a:gd name="connsiteY0" fmla="*/ 1551769 h 1558421"/>
                <a:gd name="connsiteX1" fmla="*/ 566119 w 2807077"/>
                <a:gd name="connsiteY1" fmla="*/ 1473674 h 1558421"/>
                <a:gd name="connsiteX2" fmla="*/ 1399418 w 2807077"/>
                <a:gd name="connsiteY2" fmla="*/ 794830 h 1558421"/>
                <a:gd name="connsiteX3" fmla="*/ 2240812 w 2807077"/>
                <a:gd name="connsiteY3" fmla="*/ 1480327 h 1558421"/>
                <a:gd name="connsiteX4" fmla="*/ 2459767 w 2807077"/>
                <a:gd name="connsiteY4" fmla="*/ 1558422 h 1558421"/>
                <a:gd name="connsiteX5" fmla="*/ 2729051 w 2807077"/>
                <a:gd name="connsiteY5" fmla="*/ 1430578 h 1558421"/>
                <a:gd name="connsiteX6" fmla="*/ 2679302 w 2807077"/>
                <a:gd name="connsiteY6" fmla="*/ 942342 h 1558421"/>
                <a:gd name="connsiteX7" fmla="*/ 1618661 w 2807077"/>
                <a:gd name="connsiteY7" fmla="*/ 78095 h 1558421"/>
                <a:gd name="connsiteX8" fmla="*/ 1180175 w 2807077"/>
                <a:gd name="connsiteY8" fmla="*/ 78095 h 1558421"/>
                <a:gd name="connsiteX9" fmla="*/ 127922 w 2807077"/>
                <a:gd name="connsiteY9" fmla="*/ 935400 h 1558421"/>
                <a:gd name="connsiteX10" fmla="*/ 77883 w 2807077"/>
                <a:gd name="connsiteY10" fmla="*/ 1423925 h 1558421"/>
                <a:gd name="connsiteX11" fmla="*/ 347165 w 2807077"/>
                <a:gd name="connsiteY11" fmla="*/ 1551769 h 1558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07077" h="1558421">
                  <a:moveTo>
                    <a:pt x="347165" y="1551769"/>
                  </a:moveTo>
                  <a:cubicBezTo>
                    <a:pt x="424103" y="1551769"/>
                    <a:pt x="501908" y="1526316"/>
                    <a:pt x="566119" y="1473674"/>
                  </a:cubicBezTo>
                  <a:lnTo>
                    <a:pt x="1399418" y="794830"/>
                  </a:lnTo>
                  <a:lnTo>
                    <a:pt x="2240812" y="1480327"/>
                  </a:lnTo>
                  <a:cubicBezTo>
                    <a:pt x="2305316" y="1532682"/>
                    <a:pt x="2382832" y="1558422"/>
                    <a:pt x="2459767" y="1558422"/>
                  </a:cubicBezTo>
                  <a:cubicBezTo>
                    <a:pt x="2560422" y="1558422"/>
                    <a:pt x="2660499" y="1514746"/>
                    <a:pt x="2729051" y="1430578"/>
                  </a:cubicBezTo>
                  <a:cubicBezTo>
                    <a:pt x="2850240" y="1281912"/>
                    <a:pt x="2827682" y="1063244"/>
                    <a:pt x="2679302" y="942342"/>
                  </a:cubicBezTo>
                  <a:lnTo>
                    <a:pt x="1618661" y="78095"/>
                  </a:lnTo>
                  <a:cubicBezTo>
                    <a:pt x="1491107" y="-26032"/>
                    <a:pt x="1307729" y="-26032"/>
                    <a:pt x="1180175" y="78095"/>
                  </a:cubicBezTo>
                  <a:lnTo>
                    <a:pt x="127922" y="935400"/>
                  </a:lnTo>
                  <a:cubicBezTo>
                    <a:pt x="-20747" y="1056591"/>
                    <a:pt x="-43019" y="1275256"/>
                    <a:pt x="77883" y="1423925"/>
                  </a:cubicBezTo>
                  <a:cubicBezTo>
                    <a:pt x="146722" y="1508094"/>
                    <a:pt x="246510" y="1551769"/>
                    <a:pt x="347165" y="1551769"/>
                  </a:cubicBezTo>
                  <a:close/>
                </a:path>
              </a:pathLst>
            </a:custGeom>
            <a:solidFill>
              <a:schemeClr val="accent1">
                <a:lumMod val="50000"/>
              </a:schemeClr>
            </a:solidFill>
            <a:ln w="2884" cap="flat">
              <a:noFill/>
              <a:prstDash val="solid"/>
              <a:miter/>
            </a:ln>
          </p:spPr>
          <p:txBody>
            <a:bodyPr rtlCol="0" anchor="ctr"/>
            <a:lstStyle/>
            <a:p>
              <a:endParaRPr lang="id-ID">
                <a:solidFill>
                  <a:schemeClr val="accent1"/>
                </a:solidFill>
                <a:latin typeface="Montserrat" panose="00000500000000000000" pitchFamily="2" charset="0"/>
              </a:endParaRPr>
            </a:p>
          </p:txBody>
        </p:sp>
      </p:grpSp>
      <p:sp>
        <p:nvSpPr>
          <p:cNvPr id="52" name="Pentagon 23">
            <a:extLst>
              <a:ext uri="{FF2B5EF4-FFF2-40B4-BE49-F238E27FC236}">
                <a16:creationId xmlns:a16="http://schemas.microsoft.com/office/drawing/2014/main" id="{2BFD1725-A6A4-A038-EBDA-D50A97AC9082}"/>
              </a:ext>
            </a:extLst>
          </p:cNvPr>
          <p:cNvSpPr/>
          <p:nvPr/>
        </p:nvSpPr>
        <p:spPr>
          <a:xfrm>
            <a:off x="10220370" y="3432579"/>
            <a:ext cx="1920240" cy="640080"/>
          </a:xfrm>
          <a:prstGeom prst="roundRect">
            <a:avLst/>
          </a:prstGeom>
          <a:noFill/>
          <a:ln w="19050">
            <a:gradFill>
              <a:gsLst>
                <a:gs pos="0">
                  <a:schemeClr val="accent4"/>
                </a:gs>
                <a:gs pos="69000">
                  <a:schemeClr val="accent6"/>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a:solidFill>
                <a:schemeClr val="accent1"/>
              </a:solidFill>
              <a:latin typeface="Montserrat" panose="00000500000000000000" pitchFamily="2" charset="0"/>
            </a:endParaRPr>
          </a:p>
        </p:txBody>
      </p:sp>
      <p:sp>
        <p:nvSpPr>
          <p:cNvPr id="55" name="Oval 39">
            <a:extLst>
              <a:ext uri="{FF2B5EF4-FFF2-40B4-BE49-F238E27FC236}">
                <a16:creationId xmlns:a16="http://schemas.microsoft.com/office/drawing/2014/main" id="{E19B0B70-E756-A11F-BE22-8F790F09858B}"/>
              </a:ext>
            </a:extLst>
          </p:cNvPr>
          <p:cNvSpPr>
            <a:spLocks noChangeAspect="1"/>
          </p:cNvSpPr>
          <p:nvPr/>
        </p:nvSpPr>
        <p:spPr>
          <a:xfrm>
            <a:off x="10845205" y="5490019"/>
            <a:ext cx="756000" cy="756000"/>
          </a:xfrm>
          <a:prstGeom prst="ellipse">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598">
              <a:solidFill>
                <a:schemeClr val="accent1"/>
              </a:solidFill>
              <a:latin typeface="Montserrat" panose="00000500000000000000" pitchFamily="2" charset="0"/>
            </a:endParaRPr>
          </a:p>
        </p:txBody>
      </p:sp>
      <p:sp>
        <p:nvSpPr>
          <p:cNvPr id="58" name="TextBox 81">
            <a:extLst>
              <a:ext uri="{FF2B5EF4-FFF2-40B4-BE49-F238E27FC236}">
                <a16:creationId xmlns:a16="http://schemas.microsoft.com/office/drawing/2014/main" id="{43EDAD2D-C37C-8793-6ACF-3EA3D3E0CC5D}"/>
              </a:ext>
            </a:extLst>
          </p:cNvPr>
          <p:cNvSpPr txBox="1"/>
          <p:nvPr/>
        </p:nvSpPr>
        <p:spPr>
          <a:xfrm>
            <a:off x="10238201" y="1989992"/>
            <a:ext cx="1819013" cy="566502"/>
          </a:xfrm>
          <a:prstGeom prst="rect">
            <a:avLst/>
          </a:prstGeom>
          <a:noFill/>
        </p:spPr>
        <p:txBody>
          <a:bodyPr wrap="square" lIns="0" tIns="0" rIns="0" bIns="0" rtlCol="0" anchor="ctr">
            <a:spAutoFit/>
          </a:bodyPr>
          <a:lstStyle/>
          <a:p>
            <a:pPr algn="ctr">
              <a:lnSpc>
                <a:spcPct val="120000"/>
              </a:lnSpc>
            </a:pPr>
            <a:r>
              <a:rPr lang="de-DE" sz="1050" dirty="0">
                <a:ea typeface="Open Sans" panose="020B0606030504020204" pitchFamily="34" charset="0"/>
                <a:cs typeface="Arial Regular" charset="0"/>
              </a:rPr>
              <a:t>Daten Distribution via, </a:t>
            </a:r>
            <a:r>
              <a:rPr lang="de-DE" sz="1050" dirty="0" err="1">
                <a:ea typeface="Open Sans" panose="020B0606030504020204" pitchFamily="34" charset="0"/>
                <a:cs typeface="Arial Regular" charset="0"/>
              </a:rPr>
              <a:t>ePA</a:t>
            </a:r>
            <a:r>
              <a:rPr lang="de-DE" sz="1050" dirty="0">
                <a:ea typeface="Open Sans" panose="020B0606030504020204" pitchFamily="34" charset="0"/>
                <a:cs typeface="Arial Regular" charset="0"/>
              </a:rPr>
              <a:t>, FHIR, IHE, Secure Mail, Outbox Folder etc.</a:t>
            </a:r>
          </a:p>
        </p:txBody>
      </p:sp>
      <p:pic>
        <p:nvPicPr>
          <p:cNvPr id="59" name="Grafik 58" descr="Zeitung mit einfarbiger Füllung">
            <a:extLst>
              <a:ext uri="{FF2B5EF4-FFF2-40B4-BE49-F238E27FC236}">
                <a16:creationId xmlns:a16="http://schemas.microsoft.com/office/drawing/2014/main" id="{50E20D5E-720D-3790-5BB3-D30558E58815}"/>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0766005" y="3031306"/>
            <a:ext cx="914400" cy="914400"/>
          </a:xfrm>
          <a:prstGeom prst="rect">
            <a:avLst/>
          </a:prstGeom>
        </p:spPr>
      </p:pic>
    </p:spTree>
    <p:extLst>
      <p:ext uri="{BB962C8B-B14F-4D97-AF65-F5344CB8AC3E}">
        <p14:creationId xmlns:p14="http://schemas.microsoft.com/office/powerpoint/2010/main" val="30079122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anim calcmode="lin" valueType="num">
                                      <p:cBhvr>
                                        <p:cTn id="7" dur="1000" fill="hold"/>
                                        <p:tgtEl>
                                          <p:spTgt spid="25"/>
                                        </p:tgtEl>
                                        <p:attrNameLst>
                                          <p:attrName>ppt_w</p:attrName>
                                        </p:attrNameLst>
                                      </p:cBhvr>
                                      <p:tavLst>
                                        <p:tav tm="0">
                                          <p:val>
                                            <p:fltVal val="0"/>
                                          </p:val>
                                        </p:tav>
                                        <p:tav tm="100000">
                                          <p:val>
                                            <p:strVal val="#ppt_w"/>
                                          </p:val>
                                        </p:tav>
                                      </p:tavLst>
                                    </p:anim>
                                    <p:anim calcmode="lin" valueType="num">
                                      <p:cBhvr>
                                        <p:cTn id="8" dur="1000" fill="hold"/>
                                        <p:tgtEl>
                                          <p:spTgt spid="25"/>
                                        </p:tgtEl>
                                        <p:attrNameLst>
                                          <p:attrName>ppt_h</p:attrName>
                                        </p:attrNameLst>
                                      </p:cBhvr>
                                      <p:tavLst>
                                        <p:tav tm="0">
                                          <p:val>
                                            <p:fltVal val="0"/>
                                          </p:val>
                                        </p:tav>
                                        <p:tav tm="100000">
                                          <p:val>
                                            <p:strVal val="#ppt_h"/>
                                          </p:val>
                                        </p:tav>
                                      </p:tavLst>
                                    </p:anim>
                                    <p:anim calcmode="lin" valueType="num">
                                      <p:cBhvr>
                                        <p:cTn id="9" dur="1000" fill="hold"/>
                                        <p:tgtEl>
                                          <p:spTgt spid="25"/>
                                        </p:tgtEl>
                                        <p:attrNameLst>
                                          <p:attrName>style.rotation</p:attrName>
                                        </p:attrNameLst>
                                      </p:cBhvr>
                                      <p:tavLst>
                                        <p:tav tm="0">
                                          <p:val>
                                            <p:fltVal val="90"/>
                                          </p:val>
                                        </p:tav>
                                        <p:tav tm="100000">
                                          <p:val>
                                            <p:fltVal val="0"/>
                                          </p:val>
                                        </p:tav>
                                      </p:tavLst>
                                    </p:anim>
                                    <p:animEffect transition="in" filter="fade">
                                      <p:cBhvr>
                                        <p:cTn id="10" dur="1000"/>
                                        <p:tgtEl>
                                          <p:spTgt spid="25"/>
                                        </p:tgtEl>
                                      </p:cBhvr>
                                    </p:animEffect>
                                  </p:childTnLst>
                                </p:cTn>
                              </p:par>
                              <p:par>
                                <p:cTn id="11" presetID="31" presetClass="entr" presetSubtype="0" fill="hold" grpId="0" nodeType="withEffect">
                                  <p:stCondLst>
                                    <p:cond delay="0"/>
                                  </p:stCondLst>
                                  <p:childTnLst>
                                    <p:set>
                                      <p:cBhvr>
                                        <p:cTn id="12" dur="1" fill="hold">
                                          <p:stCondLst>
                                            <p:cond delay="0"/>
                                          </p:stCondLst>
                                        </p:cTn>
                                        <p:tgtEl>
                                          <p:spTgt spid="27"/>
                                        </p:tgtEl>
                                        <p:attrNameLst>
                                          <p:attrName>style.visibility</p:attrName>
                                        </p:attrNameLst>
                                      </p:cBhvr>
                                      <p:to>
                                        <p:strVal val="visible"/>
                                      </p:to>
                                    </p:set>
                                    <p:anim calcmode="lin" valueType="num">
                                      <p:cBhvr>
                                        <p:cTn id="13" dur="1000" fill="hold"/>
                                        <p:tgtEl>
                                          <p:spTgt spid="27"/>
                                        </p:tgtEl>
                                        <p:attrNameLst>
                                          <p:attrName>ppt_w</p:attrName>
                                        </p:attrNameLst>
                                      </p:cBhvr>
                                      <p:tavLst>
                                        <p:tav tm="0">
                                          <p:val>
                                            <p:fltVal val="0"/>
                                          </p:val>
                                        </p:tav>
                                        <p:tav tm="100000">
                                          <p:val>
                                            <p:strVal val="#ppt_w"/>
                                          </p:val>
                                        </p:tav>
                                      </p:tavLst>
                                    </p:anim>
                                    <p:anim calcmode="lin" valueType="num">
                                      <p:cBhvr>
                                        <p:cTn id="14" dur="1000" fill="hold"/>
                                        <p:tgtEl>
                                          <p:spTgt spid="27"/>
                                        </p:tgtEl>
                                        <p:attrNameLst>
                                          <p:attrName>ppt_h</p:attrName>
                                        </p:attrNameLst>
                                      </p:cBhvr>
                                      <p:tavLst>
                                        <p:tav tm="0">
                                          <p:val>
                                            <p:fltVal val="0"/>
                                          </p:val>
                                        </p:tav>
                                        <p:tav tm="100000">
                                          <p:val>
                                            <p:strVal val="#ppt_h"/>
                                          </p:val>
                                        </p:tav>
                                      </p:tavLst>
                                    </p:anim>
                                    <p:anim calcmode="lin" valueType="num">
                                      <p:cBhvr>
                                        <p:cTn id="15" dur="1000" fill="hold"/>
                                        <p:tgtEl>
                                          <p:spTgt spid="27"/>
                                        </p:tgtEl>
                                        <p:attrNameLst>
                                          <p:attrName>style.rotation</p:attrName>
                                        </p:attrNameLst>
                                      </p:cBhvr>
                                      <p:tavLst>
                                        <p:tav tm="0">
                                          <p:val>
                                            <p:fltVal val="90"/>
                                          </p:val>
                                        </p:tav>
                                        <p:tav tm="100000">
                                          <p:val>
                                            <p:fltVal val="0"/>
                                          </p:val>
                                        </p:tav>
                                      </p:tavLst>
                                    </p:anim>
                                    <p:animEffect transition="in" filter="fade">
                                      <p:cBhvr>
                                        <p:cTn id="16" dur="1000"/>
                                        <p:tgtEl>
                                          <p:spTgt spid="27"/>
                                        </p:tgtEl>
                                      </p:cBhvr>
                                    </p:animEffect>
                                  </p:childTnLst>
                                </p:cTn>
                              </p:par>
                              <p:par>
                                <p:cTn id="17" presetID="31" presetClass="entr" presetSubtype="0" fill="hold" grpId="0" nodeType="withEffect">
                                  <p:stCondLst>
                                    <p:cond delay="0"/>
                                  </p:stCondLst>
                                  <p:childTnLst>
                                    <p:set>
                                      <p:cBhvr>
                                        <p:cTn id="18" dur="1" fill="hold">
                                          <p:stCondLst>
                                            <p:cond delay="0"/>
                                          </p:stCondLst>
                                        </p:cTn>
                                        <p:tgtEl>
                                          <p:spTgt spid="28"/>
                                        </p:tgtEl>
                                        <p:attrNameLst>
                                          <p:attrName>style.visibility</p:attrName>
                                        </p:attrNameLst>
                                      </p:cBhvr>
                                      <p:to>
                                        <p:strVal val="visible"/>
                                      </p:to>
                                    </p:set>
                                    <p:anim calcmode="lin" valueType="num">
                                      <p:cBhvr>
                                        <p:cTn id="19" dur="1000" fill="hold"/>
                                        <p:tgtEl>
                                          <p:spTgt spid="28"/>
                                        </p:tgtEl>
                                        <p:attrNameLst>
                                          <p:attrName>ppt_w</p:attrName>
                                        </p:attrNameLst>
                                      </p:cBhvr>
                                      <p:tavLst>
                                        <p:tav tm="0">
                                          <p:val>
                                            <p:fltVal val="0"/>
                                          </p:val>
                                        </p:tav>
                                        <p:tav tm="100000">
                                          <p:val>
                                            <p:strVal val="#ppt_w"/>
                                          </p:val>
                                        </p:tav>
                                      </p:tavLst>
                                    </p:anim>
                                    <p:anim calcmode="lin" valueType="num">
                                      <p:cBhvr>
                                        <p:cTn id="20" dur="1000" fill="hold"/>
                                        <p:tgtEl>
                                          <p:spTgt spid="28"/>
                                        </p:tgtEl>
                                        <p:attrNameLst>
                                          <p:attrName>ppt_h</p:attrName>
                                        </p:attrNameLst>
                                      </p:cBhvr>
                                      <p:tavLst>
                                        <p:tav tm="0">
                                          <p:val>
                                            <p:fltVal val="0"/>
                                          </p:val>
                                        </p:tav>
                                        <p:tav tm="100000">
                                          <p:val>
                                            <p:strVal val="#ppt_h"/>
                                          </p:val>
                                        </p:tav>
                                      </p:tavLst>
                                    </p:anim>
                                    <p:anim calcmode="lin" valueType="num">
                                      <p:cBhvr>
                                        <p:cTn id="21" dur="1000" fill="hold"/>
                                        <p:tgtEl>
                                          <p:spTgt spid="28"/>
                                        </p:tgtEl>
                                        <p:attrNameLst>
                                          <p:attrName>style.rotation</p:attrName>
                                        </p:attrNameLst>
                                      </p:cBhvr>
                                      <p:tavLst>
                                        <p:tav tm="0">
                                          <p:val>
                                            <p:fltVal val="90"/>
                                          </p:val>
                                        </p:tav>
                                        <p:tav tm="100000">
                                          <p:val>
                                            <p:fltVal val="0"/>
                                          </p:val>
                                        </p:tav>
                                      </p:tavLst>
                                    </p:anim>
                                    <p:animEffect transition="in" filter="fade">
                                      <p:cBhvr>
                                        <p:cTn id="22" dur="1000"/>
                                        <p:tgtEl>
                                          <p:spTgt spid="28"/>
                                        </p:tgtEl>
                                      </p:cBhvr>
                                    </p:animEffect>
                                  </p:childTnLst>
                                </p:cTn>
                              </p:par>
                              <p:par>
                                <p:cTn id="23" presetID="31" presetClass="entr" presetSubtype="0" fill="hold" grpId="0" nodeType="withEffect">
                                  <p:stCondLst>
                                    <p:cond delay="0"/>
                                  </p:stCondLst>
                                  <p:childTnLst>
                                    <p:set>
                                      <p:cBhvr>
                                        <p:cTn id="24" dur="1" fill="hold">
                                          <p:stCondLst>
                                            <p:cond delay="0"/>
                                          </p:stCondLst>
                                        </p:cTn>
                                        <p:tgtEl>
                                          <p:spTgt spid="29"/>
                                        </p:tgtEl>
                                        <p:attrNameLst>
                                          <p:attrName>style.visibility</p:attrName>
                                        </p:attrNameLst>
                                      </p:cBhvr>
                                      <p:to>
                                        <p:strVal val="visible"/>
                                      </p:to>
                                    </p:set>
                                    <p:anim calcmode="lin" valueType="num">
                                      <p:cBhvr>
                                        <p:cTn id="25" dur="1000" fill="hold"/>
                                        <p:tgtEl>
                                          <p:spTgt spid="29"/>
                                        </p:tgtEl>
                                        <p:attrNameLst>
                                          <p:attrName>ppt_w</p:attrName>
                                        </p:attrNameLst>
                                      </p:cBhvr>
                                      <p:tavLst>
                                        <p:tav tm="0">
                                          <p:val>
                                            <p:fltVal val="0"/>
                                          </p:val>
                                        </p:tav>
                                        <p:tav tm="100000">
                                          <p:val>
                                            <p:strVal val="#ppt_w"/>
                                          </p:val>
                                        </p:tav>
                                      </p:tavLst>
                                    </p:anim>
                                    <p:anim calcmode="lin" valueType="num">
                                      <p:cBhvr>
                                        <p:cTn id="26" dur="1000" fill="hold"/>
                                        <p:tgtEl>
                                          <p:spTgt spid="29"/>
                                        </p:tgtEl>
                                        <p:attrNameLst>
                                          <p:attrName>ppt_h</p:attrName>
                                        </p:attrNameLst>
                                      </p:cBhvr>
                                      <p:tavLst>
                                        <p:tav tm="0">
                                          <p:val>
                                            <p:fltVal val="0"/>
                                          </p:val>
                                        </p:tav>
                                        <p:tav tm="100000">
                                          <p:val>
                                            <p:strVal val="#ppt_h"/>
                                          </p:val>
                                        </p:tav>
                                      </p:tavLst>
                                    </p:anim>
                                    <p:anim calcmode="lin" valueType="num">
                                      <p:cBhvr>
                                        <p:cTn id="27" dur="1000" fill="hold"/>
                                        <p:tgtEl>
                                          <p:spTgt spid="29"/>
                                        </p:tgtEl>
                                        <p:attrNameLst>
                                          <p:attrName>style.rotation</p:attrName>
                                        </p:attrNameLst>
                                      </p:cBhvr>
                                      <p:tavLst>
                                        <p:tav tm="0">
                                          <p:val>
                                            <p:fltVal val="90"/>
                                          </p:val>
                                        </p:tav>
                                        <p:tav tm="100000">
                                          <p:val>
                                            <p:fltVal val="0"/>
                                          </p:val>
                                        </p:tav>
                                      </p:tavLst>
                                    </p:anim>
                                    <p:animEffect transition="in" filter="fade">
                                      <p:cBhvr>
                                        <p:cTn id="28" dur="1000"/>
                                        <p:tgtEl>
                                          <p:spTgt spid="29"/>
                                        </p:tgtEl>
                                      </p:cBhvr>
                                    </p:animEffect>
                                  </p:childTnLst>
                                </p:cTn>
                              </p:par>
                              <p:par>
                                <p:cTn id="29" presetID="31" presetClass="entr" presetSubtype="0" fill="hold" nodeType="withEffect">
                                  <p:stCondLst>
                                    <p:cond delay="0"/>
                                  </p:stCondLst>
                                  <p:childTnLst>
                                    <p:set>
                                      <p:cBhvr>
                                        <p:cTn id="30" dur="1" fill="hold">
                                          <p:stCondLst>
                                            <p:cond delay="0"/>
                                          </p:stCondLst>
                                        </p:cTn>
                                        <p:tgtEl>
                                          <p:spTgt spid="30"/>
                                        </p:tgtEl>
                                        <p:attrNameLst>
                                          <p:attrName>style.visibility</p:attrName>
                                        </p:attrNameLst>
                                      </p:cBhvr>
                                      <p:to>
                                        <p:strVal val="visible"/>
                                      </p:to>
                                    </p:set>
                                    <p:anim calcmode="lin" valueType="num">
                                      <p:cBhvr>
                                        <p:cTn id="31" dur="1000" fill="hold"/>
                                        <p:tgtEl>
                                          <p:spTgt spid="30"/>
                                        </p:tgtEl>
                                        <p:attrNameLst>
                                          <p:attrName>ppt_w</p:attrName>
                                        </p:attrNameLst>
                                      </p:cBhvr>
                                      <p:tavLst>
                                        <p:tav tm="0">
                                          <p:val>
                                            <p:fltVal val="0"/>
                                          </p:val>
                                        </p:tav>
                                        <p:tav tm="100000">
                                          <p:val>
                                            <p:strVal val="#ppt_w"/>
                                          </p:val>
                                        </p:tav>
                                      </p:tavLst>
                                    </p:anim>
                                    <p:anim calcmode="lin" valueType="num">
                                      <p:cBhvr>
                                        <p:cTn id="32" dur="1000" fill="hold"/>
                                        <p:tgtEl>
                                          <p:spTgt spid="30"/>
                                        </p:tgtEl>
                                        <p:attrNameLst>
                                          <p:attrName>ppt_h</p:attrName>
                                        </p:attrNameLst>
                                      </p:cBhvr>
                                      <p:tavLst>
                                        <p:tav tm="0">
                                          <p:val>
                                            <p:fltVal val="0"/>
                                          </p:val>
                                        </p:tav>
                                        <p:tav tm="100000">
                                          <p:val>
                                            <p:strVal val="#ppt_h"/>
                                          </p:val>
                                        </p:tav>
                                      </p:tavLst>
                                    </p:anim>
                                    <p:anim calcmode="lin" valueType="num">
                                      <p:cBhvr>
                                        <p:cTn id="33" dur="1000" fill="hold"/>
                                        <p:tgtEl>
                                          <p:spTgt spid="30"/>
                                        </p:tgtEl>
                                        <p:attrNameLst>
                                          <p:attrName>style.rotation</p:attrName>
                                        </p:attrNameLst>
                                      </p:cBhvr>
                                      <p:tavLst>
                                        <p:tav tm="0">
                                          <p:val>
                                            <p:fltVal val="90"/>
                                          </p:val>
                                        </p:tav>
                                        <p:tav tm="100000">
                                          <p:val>
                                            <p:fltVal val="0"/>
                                          </p:val>
                                        </p:tav>
                                      </p:tavLst>
                                    </p:anim>
                                    <p:animEffect transition="in" filter="fade">
                                      <p:cBhvr>
                                        <p:cTn id="34" dur="1000"/>
                                        <p:tgtEl>
                                          <p:spTgt spid="30"/>
                                        </p:tgtEl>
                                      </p:cBhvr>
                                    </p:animEffect>
                                  </p:childTnLst>
                                </p:cTn>
                              </p:par>
                              <p:par>
                                <p:cTn id="35" presetID="31" presetClass="entr" presetSubtype="0" fill="hold" nodeType="withEffect">
                                  <p:stCondLst>
                                    <p:cond delay="0"/>
                                  </p:stCondLst>
                                  <p:childTnLst>
                                    <p:set>
                                      <p:cBhvr>
                                        <p:cTn id="36" dur="1" fill="hold">
                                          <p:stCondLst>
                                            <p:cond delay="0"/>
                                          </p:stCondLst>
                                        </p:cTn>
                                        <p:tgtEl>
                                          <p:spTgt spid="31"/>
                                        </p:tgtEl>
                                        <p:attrNameLst>
                                          <p:attrName>style.visibility</p:attrName>
                                        </p:attrNameLst>
                                      </p:cBhvr>
                                      <p:to>
                                        <p:strVal val="visible"/>
                                      </p:to>
                                    </p:set>
                                    <p:anim calcmode="lin" valueType="num">
                                      <p:cBhvr>
                                        <p:cTn id="37" dur="1000" fill="hold"/>
                                        <p:tgtEl>
                                          <p:spTgt spid="31"/>
                                        </p:tgtEl>
                                        <p:attrNameLst>
                                          <p:attrName>ppt_w</p:attrName>
                                        </p:attrNameLst>
                                      </p:cBhvr>
                                      <p:tavLst>
                                        <p:tav tm="0">
                                          <p:val>
                                            <p:fltVal val="0"/>
                                          </p:val>
                                        </p:tav>
                                        <p:tav tm="100000">
                                          <p:val>
                                            <p:strVal val="#ppt_w"/>
                                          </p:val>
                                        </p:tav>
                                      </p:tavLst>
                                    </p:anim>
                                    <p:anim calcmode="lin" valueType="num">
                                      <p:cBhvr>
                                        <p:cTn id="38" dur="1000" fill="hold"/>
                                        <p:tgtEl>
                                          <p:spTgt spid="31"/>
                                        </p:tgtEl>
                                        <p:attrNameLst>
                                          <p:attrName>ppt_h</p:attrName>
                                        </p:attrNameLst>
                                      </p:cBhvr>
                                      <p:tavLst>
                                        <p:tav tm="0">
                                          <p:val>
                                            <p:fltVal val="0"/>
                                          </p:val>
                                        </p:tav>
                                        <p:tav tm="100000">
                                          <p:val>
                                            <p:strVal val="#ppt_h"/>
                                          </p:val>
                                        </p:tav>
                                      </p:tavLst>
                                    </p:anim>
                                    <p:anim calcmode="lin" valueType="num">
                                      <p:cBhvr>
                                        <p:cTn id="39" dur="1000" fill="hold"/>
                                        <p:tgtEl>
                                          <p:spTgt spid="31"/>
                                        </p:tgtEl>
                                        <p:attrNameLst>
                                          <p:attrName>style.rotation</p:attrName>
                                        </p:attrNameLst>
                                      </p:cBhvr>
                                      <p:tavLst>
                                        <p:tav tm="0">
                                          <p:val>
                                            <p:fltVal val="90"/>
                                          </p:val>
                                        </p:tav>
                                        <p:tav tm="100000">
                                          <p:val>
                                            <p:fltVal val="0"/>
                                          </p:val>
                                        </p:tav>
                                      </p:tavLst>
                                    </p:anim>
                                    <p:animEffect transition="in" filter="fade">
                                      <p:cBhvr>
                                        <p:cTn id="40" dur="1000"/>
                                        <p:tgtEl>
                                          <p:spTgt spid="31"/>
                                        </p:tgtEl>
                                      </p:cBhvr>
                                    </p:animEffect>
                                  </p:childTnLst>
                                </p:cTn>
                              </p:par>
                              <p:par>
                                <p:cTn id="41" presetID="31" presetClass="entr" presetSubtype="0" fill="hold" grpId="0" nodeType="withEffect">
                                  <p:stCondLst>
                                    <p:cond delay="0"/>
                                  </p:stCondLst>
                                  <p:childTnLst>
                                    <p:set>
                                      <p:cBhvr>
                                        <p:cTn id="42" dur="1" fill="hold">
                                          <p:stCondLst>
                                            <p:cond delay="0"/>
                                          </p:stCondLst>
                                        </p:cTn>
                                        <p:tgtEl>
                                          <p:spTgt spid="33"/>
                                        </p:tgtEl>
                                        <p:attrNameLst>
                                          <p:attrName>style.visibility</p:attrName>
                                        </p:attrNameLst>
                                      </p:cBhvr>
                                      <p:to>
                                        <p:strVal val="visible"/>
                                      </p:to>
                                    </p:set>
                                    <p:anim calcmode="lin" valueType="num">
                                      <p:cBhvr>
                                        <p:cTn id="43" dur="1000" fill="hold"/>
                                        <p:tgtEl>
                                          <p:spTgt spid="33"/>
                                        </p:tgtEl>
                                        <p:attrNameLst>
                                          <p:attrName>ppt_w</p:attrName>
                                        </p:attrNameLst>
                                      </p:cBhvr>
                                      <p:tavLst>
                                        <p:tav tm="0">
                                          <p:val>
                                            <p:fltVal val="0"/>
                                          </p:val>
                                        </p:tav>
                                        <p:tav tm="100000">
                                          <p:val>
                                            <p:strVal val="#ppt_w"/>
                                          </p:val>
                                        </p:tav>
                                      </p:tavLst>
                                    </p:anim>
                                    <p:anim calcmode="lin" valueType="num">
                                      <p:cBhvr>
                                        <p:cTn id="44" dur="1000" fill="hold"/>
                                        <p:tgtEl>
                                          <p:spTgt spid="33"/>
                                        </p:tgtEl>
                                        <p:attrNameLst>
                                          <p:attrName>ppt_h</p:attrName>
                                        </p:attrNameLst>
                                      </p:cBhvr>
                                      <p:tavLst>
                                        <p:tav tm="0">
                                          <p:val>
                                            <p:fltVal val="0"/>
                                          </p:val>
                                        </p:tav>
                                        <p:tav tm="100000">
                                          <p:val>
                                            <p:strVal val="#ppt_h"/>
                                          </p:val>
                                        </p:tav>
                                      </p:tavLst>
                                    </p:anim>
                                    <p:anim calcmode="lin" valueType="num">
                                      <p:cBhvr>
                                        <p:cTn id="45" dur="1000" fill="hold"/>
                                        <p:tgtEl>
                                          <p:spTgt spid="33"/>
                                        </p:tgtEl>
                                        <p:attrNameLst>
                                          <p:attrName>style.rotation</p:attrName>
                                        </p:attrNameLst>
                                      </p:cBhvr>
                                      <p:tavLst>
                                        <p:tav tm="0">
                                          <p:val>
                                            <p:fltVal val="90"/>
                                          </p:val>
                                        </p:tav>
                                        <p:tav tm="100000">
                                          <p:val>
                                            <p:fltVal val="0"/>
                                          </p:val>
                                        </p:tav>
                                      </p:tavLst>
                                    </p:anim>
                                    <p:animEffect transition="in" filter="fade">
                                      <p:cBhvr>
                                        <p:cTn id="46" dur="1000"/>
                                        <p:tgtEl>
                                          <p:spTgt spid="33"/>
                                        </p:tgtEl>
                                      </p:cBhvr>
                                    </p:animEffect>
                                  </p:childTnLst>
                                </p:cTn>
                              </p:par>
                              <p:par>
                                <p:cTn id="47" presetID="31" presetClass="entr" presetSubtype="0" fill="hold" grpId="0" nodeType="withEffect">
                                  <p:stCondLst>
                                    <p:cond delay="0"/>
                                  </p:stCondLst>
                                  <p:childTnLst>
                                    <p:set>
                                      <p:cBhvr>
                                        <p:cTn id="48" dur="1" fill="hold">
                                          <p:stCondLst>
                                            <p:cond delay="0"/>
                                          </p:stCondLst>
                                        </p:cTn>
                                        <p:tgtEl>
                                          <p:spTgt spid="34"/>
                                        </p:tgtEl>
                                        <p:attrNameLst>
                                          <p:attrName>style.visibility</p:attrName>
                                        </p:attrNameLst>
                                      </p:cBhvr>
                                      <p:to>
                                        <p:strVal val="visible"/>
                                      </p:to>
                                    </p:set>
                                    <p:anim calcmode="lin" valueType="num">
                                      <p:cBhvr>
                                        <p:cTn id="49" dur="1000" fill="hold"/>
                                        <p:tgtEl>
                                          <p:spTgt spid="34"/>
                                        </p:tgtEl>
                                        <p:attrNameLst>
                                          <p:attrName>ppt_w</p:attrName>
                                        </p:attrNameLst>
                                      </p:cBhvr>
                                      <p:tavLst>
                                        <p:tav tm="0">
                                          <p:val>
                                            <p:fltVal val="0"/>
                                          </p:val>
                                        </p:tav>
                                        <p:tav tm="100000">
                                          <p:val>
                                            <p:strVal val="#ppt_w"/>
                                          </p:val>
                                        </p:tav>
                                      </p:tavLst>
                                    </p:anim>
                                    <p:anim calcmode="lin" valueType="num">
                                      <p:cBhvr>
                                        <p:cTn id="50" dur="1000" fill="hold"/>
                                        <p:tgtEl>
                                          <p:spTgt spid="34"/>
                                        </p:tgtEl>
                                        <p:attrNameLst>
                                          <p:attrName>ppt_h</p:attrName>
                                        </p:attrNameLst>
                                      </p:cBhvr>
                                      <p:tavLst>
                                        <p:tav tm="0">
                                          <p:val>
                                            <p:fltVal val="0"/>
                                          </p:val>
                                        </p:tav>
                                        <p:tav tm="100000">
                                          <p:val>
                                            <p:strVal val="#ppt_h"/>
                                          </p:val>
                                        </p:tav>
                                      </p:tavLst>
                                    </p:anim>
                                    <p:anim calcmode="lin" valueType="num">
                                      <p:cBhvr>
                                        <p:cTn id="51" dur="1000" fill="hold"/>
                                        <p:tgtEl>
                                          <p:spTgt spid="34"/>
                                        </p:tgtEl>
                                        <p:attrNameLst>
                                          <p:attrName>style.rotation</p:attrName>
                                        </p:attrNameLst>
                                      </p:cBhvr>
                                      <p:tavLst>
                                        <p:tav tm="0">
                                          <p:val>
                                            <p:fltVal val="90"/>
                                          </p:val>
                                        </p:tav>
                                        <p:tav tm="100000">
                                          <p:val>
                                            <p:fltVal val="0"/>
                                          </p:val>
                                        </p:tav>
                                      </p:tavLst>
                                    </p:anim>
                                    <p:animEffect transition="in" filter="fade">
                                      <p:cBhvr>
                                        <p:cTn id="52" dur="1000"/>
                                        <p:tgtEl>
                                          <p:spTgt spid="34"/>
                                        </p:tgtEl>
                                      </p:cBhvr>
                                    </p:animEffect>
                                  </p:childTnLst>
                                </p:cTn>
                              </p:par>
                              <p:par>
                                <p:cTn id="53" presetID="31" presetClass="entr" presetSubtype="0" fill="hold" nodeType="withEffect">
                                  <p:stCondLst>
                                    <p:cond delay="0"/>
                                  </p:stCondLst>
                                  <p:childTnLst>
                                    <p:set>
                                      <p:cBhvr>
                                        <p:cTn id="54" dur="1" fill="hold">
                                          <p:stCondLst>
                                            <p:cond delay="0"/>
                                          </p:stCondLst>
                                        </p:cTn>
                                        <p:tgtEl>
                                          <p:spTgt spid="35"/>
                                        </p:tgtEl>
                                        <p:attrNameLst>
                                          <p:attrName>style.visibility</p:attrName>
                                        </p:attrNameLst>
                                      </p:cBhvr>
                                      <p:to>
                                        <p:strVal val="visible"/>
                                      </p:to>
                                    </p:set>
                                    <p:anim calcmode="lin" valueType="num">
                                      <p:cBhvr>
                                        <p:cTn id="55" dur="1000" fill="hold"/>
                                        <p:tgtEl>
                                          <p:spTgt spid="35"/>
                                        </p:tgtEl>
                                        <p:attrNameLst>
                                          <p:attrName>ppt_w</p:attrName>
                                        </p:attrNameLst>
                                      </p:cBhvr>
                                      <p:tavLst>
                                        <p:tav tm="0">
                                          <p:val>
                                            <p:fltVal val="0"/>
                                          </p:val>
                                        </p:tav>
                                        <p:tav tm="100000">
                                          <p:val>
                                            <p:strVal val="#ppt_w"/>
                                          </p:val>
                                        </p:tav>
                                      </p:tavLst>
                                    </p:anim>
                                    <p:anim calcmode="lin" valueType="num">
                                      <p:cBhvr>
                                        <p:cTn id="56" dur="1000" fill="hold"/>
                                        <p:tgtEl>
                                          <p:spTgt spid="35"/>
                                        </p:tgtEl>
                                        <p:attrNameLst>
                                          <p:attrName>ppt_h</p:attrName>
                                        </p:attrNameLst>
                                      </p:cBhvr>
                                      <p:tavLst>
                                        <p:tav tm="0">
                                          <p:val>
                                            <p:fltVal val="0"/>
                                          </p:val>
                                        </p:tav>
                                        <p:tav tm="100000">
                                          <p:val>
                                            <p:strVal val="#ppt_h"/>
                                          </p:val>
                                        </p:tav>
                                      </p:tavLst>
                                    </p:anim>
                                    <p:anim calcmode="lin" valueType="num">
                                      <p:cBhvr>
                                        <p:cTn id="57" dur="1000" fill="hold"/>
                                        <p:tgtEl>
                                          <p:spTgt spid="35"/>
                                        </p:tgtEl>
                                        <p:attrNameLst>
                                          <p:attrName>style.rotation</p:attrName>
                                        </p:attrNameLst>
                                      </p:cBhvr>
                                      <p:tavLst>
                                        <p:tav tm="0">
                                          <p:val>
                                            <p:fltVal val="90"/>
                                          </p:val>
                                        </p:tav>
                                        <p:tav tm="100000">
                                          <p:val>
                                            <p:fltVal val="0"/>
                                          </p:val>
                                        </p:tav>
                                      </p:tavLst>
                                    </p:anim>
                                    <p:animEffect transition="in" filter="fade">
                                      <p:cBhvr>
                                        <p:cTn id="58" dur="1000"/>
                                        <p:tgtEl>
                                          <p:spTgt spid="35"/>
                                        </p:tgtEl>
                                      </p:cBhvr>
                                    </p:animEffect>
                                  </p:childTnLst>
                                </p:cTn>
                              </p:par>
                              <p:par>
                                <p:cTn id="59" presetID="31" presetClass="entr" presetSubtype="0" fill="hold" nodeType="withEffect">
                                  <p:stCondLst>
                                    <p:cond delay="0"/>
                                  </p:stCondLst>
                                  <p:childTnLst>
                                    <p:set>
                                      <p:cBhvr>
                                        <p:cTn id="60" dur="1" fill="hold">
                                          <p:stCondLst>
                                            <p:cond delay="0"/>
                                          </p:stCondLst>
                                        </p:cTn>
                                        <p:tgtEl>
                                          <p:spTgt spid="38"/>
                                        </p:tgtEl>
                                        <p:attrNameLst>
                                          <p:attrName>style.visibility</p:attrName>
                                        </p:attrNameLst>
                                      </p:cBhvr>
                                      <p:to>
                                        <p:strVal val="visible"/>
                                      </p:to>
                                    </p:set>
                                    <p:anim calcmode="lin" valueType="num">
                                      <p:cBhvr>
                                        <p:cTn id="61" dur="1000" fill="hold"/>
                                        <p:tgtEl>
                                          <p:spTgt spid="38"/>
                                        </p:tgtEl>
                                        <p:attrNameLst>
                                          <p:attrName>ppt_w</p:attrName>
                                        </p:attrNameLst>
                                      </p:cBhvr>
                                      <p:tavLst>
                                        <p:tav tm="0">
                                          <p:val>
                                            <p:fltVal val="0"/>
                                          </p:val>
                                        </p:tav>
                                        <p:tav tm="100000">
                                          <p:val>
                                            <p:strVal val="#ppt_w"/>
                                          </p:val>
                                        </p:tav>
                                      </p:tavLst>
                                    </p:anim>
                                    <p:anim calcmode="lin" valueType="num">
                                      <p:cBhvr>
                                        <p:cTn id="62" dur="1000" fill="hold"/>
                                        <p:tgtEl>
                                          <p:spTgt spid="38"/>
                                        </p:tgtEl>
                                        <p:attrNameLst>
                                          <p:attrName>ppt_h</p:attrName>
                                        </p:attrNameLst>
                                      </p:cBhvr>
                                      <p:tavLst>
                                        <p:tav tm="0">
                                          <p:val>
                                            <p:fltVal val="0"/>
                                          </p:val>
                                        </p:tav>
                                        <p:tav tm="100000">
                                          <p:val>
                                            <p:strVal val="#ppt_h"/>
                                          </p:val>
                                        </p:tav>
                                      </p:tavLst>
                                    </p:anim>
                                    <p:anim calcmode="lin" valueType="num">
                                      <p:cBhvr>
                                        <p:cTn id="63" dur="1000" fill="hold"/>
                                        <p:tgtEl>
                                          <p:spTgt spid="38"/>
                                        </p:tgtEl>
                                        <p:attrNameLst>
                                          <p:attrName>style.rotation</p:attrName>
                                        </p:attrNameLst>
                                      </p:cBhvr>
                                      <p:tavLst>
                                        <p:tav tm="0">
                                          <p:val>
                                            <p:fltVal val="90"/>
                                          </p:val>
                                        </p:tav>
                                        <p:tav tm="100000">
                                          <p:val>
                                            <p:fltVal val="0"/>
                                          </p:val>
                                        </p:tav>
                                      </p:tavLst>
                                    </p:anim>
                                    <p:animEffect transition="in" filter="fade">
                                      <p:cBhvr>
                                        <p:cTn id="64" dur="1000"/>
                                        <p:tgtEl>
                                          <p:spTgt spid="38"/>
                                        </p:tgtEl>
                                      </p:cBhvr>
                                    </p:animEffect>
                                  </p:childTnLst>
                                </p:cTn>
                              </p:par>
                              <p:par>
                                <p:cTn id="65" presetID="31" presetClass="entr" presetSubtype="0" fill="hold" nodeType="withEffect">
                                  <p:stCondLst>
                                    <p:cond delay="0"/>
                                  </p:stCondLst>
                                  <p:childTnLst>
                                    <p:set>
                                      <p:cBhvr>
                                        <p:cTn id="66" dur="1" fill="hold">
                                          <p:stCondLst>
                                            <p:cond delay="0"/>
                                          </p:stCondLst>
                                        </p:cTn>
                                        <p:tgtEl>
                                          <p:spTgt spid="41"/>
                                        </p:tgtEl>
                                        <p:attrNameLst>
                                          <p:attrName>style.visibility</p:attrName>
                                        </p:attrNameLst>
                                      </p:cBhvr>
                                      <p:to>
                                        <p:strVal val="visible"/>
                                      </p:to>
                                    </p:set>
                                    <p:anim calcmode="lin" valueType="num">
                                      <p:cBhvr>
                                        <p:cTn id="67" dur="1000" fill="hold"/>
                                        <p:tgtEl>
                                          <p:spTgt spid="41"/>
                                        </p:tgtEl>
                                        <p:attrNameLst>
                                          <p:attrName>ppt_w</p:attrName>
                                        </p:attrNameLst>
                                      </p:cBhvr>
                                      <p:tavLst>
                                        <p:tav tm="0">
                                          <p:val>
                                            <p:fltVal val="0"/>
                                          </p:val>
                                        </p:tav>
                                        <p:tav tm="100000">
                                          <p:val>
                                            <p:strVal val="#ppt_w"/>
                                          </p:val>
                                        </p:tav>
                                      </p:tavLst>
                                    </p:anim>
                                    <p:anim calcmode="lin" valueType="num">
                                      <p:cBhvr>
                                        <p:cTn id="68" dur="1000" fill="hold"/>
                                        <p:tgtEl>
                                          <p:spTgt spid="41"/>
                                        </p:tgtEl>
                                        <p:attrNameLst>
                                          <p:attrName>ppt_h</p:attrName>
                                        </p:attrNameLst>
                                      </p:cBhvr>
                                      <p:tavLst>
                                        <p:tav tm="0">
                                          <p:val>
                                            <p:fltVal val="0"/>
                                          </p:val>
                                        </p:tav>
                                        <p:tav tm="100000">
                                          <p:val>
                                            <p:strVal val="#ppt_h"/>
                                          </p:val>
                                        </p:tav>
                                      </p:tavLst>
                                    </p:anim>
                                    <p:anim calcmode="lin" valueType="num">
                                      <p:cBhvr>
                                        <p:cTn id="69" dur="1000" fill="hold"/>
                                        <p:tgtEl>
                                          <p:spTgt spid="41"/>
                                        </p:tgtEl>
                                        <p:attrNameLst>
                                          <p:attrName>style.rotation</p:attrName>
                                        </p:attrNameLst>
                                      </p:cBhvr>
                                      <p:tavLst>
                                        <p:tav tm="0">
                                          <p:val>
                                            <p:fltVal val="90"/>
                                          </p:val>
                                        </p:tav>
                                        <p:tav tm="100000">
                                          <p:val>
                                            <p:fltVal val="0"/>
                                          </p:val>
                                        </p:tav>
                                      </p:tavLst>
                                    </p:anim>
                                    <p:animEffect transition="in" filter="fade">
                                      <p:cBhvr>
                                        <p:cTn id="70" dur="1000"/>
                                        <p:tgtEl>
                                          <p:spTgt spid="41"/>
                                        </p:tgtEl>
                                      </p:cBhvr>
                                    </p:animEffect>
                                  </p:childTnLst>
                                </p:cTn>
                              </p:par>
                              <p:par>
                                <p:cTn id="71" presetID="31" presetClass="entr" presetSubtype="0" fill="hold" grpId="0" nodeType="withEffect">
                                  <p:stCondLst>
                                    <p:cond delay="0"/>
                                  </p:stCondLst>
                                  <p:childTnLst>
                                    <p:set>
                                      <p:cBhvr>
                                        <p:cTn id="72" dur="1" fill="hold">
                                          <p:stCondLst>
                                            <p:cond delay="0"/>
                                          </p:stCondLst>
                                        </p:cTn>
                                        <p:tgtEl>
                                          <p:spTgt spid="47"/>
                                        </p:tgtEl>
                                        <p:attrNameLst>
                                          <p:attrName>style.visibility</p:attrName>
                                        </p:attrNameLst>
                                      </p:cBhvr>
                                      <p:to>
                                        <p:strVal val="visible"/>
                                      </p:to>
                                    </p:set>
                                    <p:anim calcmode="lin" valueType="num">
                                      <p:cBhvr>
                                        <p:cTn id="73" dur="1000" fill="hold"/>
                                        <p:tgtEl>
                                          <p:spTgt spid="47"/>
                                        </p:tgtEl>
                                        <p:attrNameLst>
                                          <p:attrName>ppt_w</p:attrName>
                                        </p:attrNameLst>
                                      </p:cBhvr>
                                      <p:tavLst>
                                        <p:tav tm="0">
                                          <p:val>
                                            <p:fltVal val="0"/>
                                          </p:val>
                                        </p:tav>
                                        <p:tav tm="100000">
                                          <p:val>
                                            <p:strVal val="#ppt_w"/>
                                          </p:val>
                                        </p:tav>
                                      </p:tavLst>
                                    </p:anim>
                                    <p:anim calcmode="lin" valueType="num">
                                      <p:cBhvr>
                                        <p:cTn id="74" dur="1000" fill="hold"/>
                                        <p:tgtEl>
                                          <p:spTgt spid="47"/>
                                        </p:tgtEl>
                                        <p:attrNameLst>
                                          <p:attrName>ppt_h</p:attrName>
                                        </p:attrNameLst>
                                      </p:cBhvr>
                                      <p:tavLst>
                                        <p:tav tm="0">
                                          <p:val>
                                            <p:fltVal val="0"/>
                                          </p:val>
                                        </p:tav>
                                        <p:tav tm="100000">
                                          <p:val>
                                            <p:strVal val="#ppt_h"/>
                                          </p:val>
                                        </p:tav>
                                      </p:tavLst>
                                    </p:anim>
                                    <p:anim calcmode="lin" valueType="num">
                                      <p:cBhvr>
                                        <p:cTn id="75" dur="1000" fill="hold"/>
                                        <p:tgtEl>
                                          <p:spTgt spid="47"/>
                                        </p:tgtEl>
                                        <p:attrNameLst>
                                          <p:attrName>style.rotation</p:attrName>
                                        </p:attrNameLst>
                                      </p:cBhvr>
                                      <p:tavLst>
                                        <p:tav tm="0">
                                          <p:val>
                                            <p:fltVal val="90"/>
                                          </p:val>
                                        </p:tav>
                                        <p:tav tm="100000">
                                          <p:val>
                                            <p:fltVal val="0"/>
                                          </p:val>
                                        </p:tav>
                                      </p:tavLst>
                                    </p:anim>
                                    <p:animEffect transition="in" filter="fade">
                                      <p:cBhvr>
                                        <p:cTn id="76" dur="1000"/>
                                        <p:tgtEl>
                                          <p:spTgt spid="47"/>
                                        </p:tgtEl>
                                      </p:cBhvr>
                                    </p:animEffect>
                                  </p:childTnLst>
                                </p:cTn>
                              </p:par>
                              <p:par>
                                <p:cTn id="77" presetID="31" presetClass="entr" presetSubtype="0" fill="hold" nodeType="withEffect">
                                  <p:stCondLst>
                                    <p:cond delay="0"/>
                                  </p:stCondLst>
                                  <p:childTnLst>
                                    <p:set>
                                      <p:cBhvr>
                                        <p:cTn id="78" dur="1" fill="hold">
                                          <p:stCondLst>
                                            <p:cond delay="0"/>
                                          </p:stCondLst>
                                        </p:cTn>
                                        <p:tgtEl>
                                          <p:spTgt spid="48"/>
                                        </p:tgtEl>
                                        <p:attrNameLst>
                                          <p:attrName>style.visibility</p:attrName>
                                        </p:attrNameLst>
                                      </p:cBhvr>
                                      <p:to>
                                        <p:strVal val="visible"/>
                                      </p:to>
                                    </p:set>
                                    <p:anim calcmode="lin" valueType="num">
                                      <p:cBhvr>
                                        <p:cTn id="79" dur="1000" fill="hold"/>
                                        <p:tgtEl>
                                          <p:spTgt spid="48"/>
                                        </p:tgtEl>
                                        <p:attrNameLst>
                                          <p:attrName>ppt_w</p:attrName>
                                        </p:attrNameLst>
                                      </p:cBhvr>
                                      <p:tavLst>
                                        <p:tav tm="0">
                                          <p:val>
                                            <p:fltVal val="0"/>
                                          </p:val>
                                        </p:tav>
                                        <p:tav tm="100000">
                                          <p:val>
                                            <p:strVal val="#ppt_w"/>
                                          </p:val>
                                        </p:tav>
                                      </p:tavLst>
                                    </p:anim>
                                    <p:anim calcmode="lin" valueType="num">
                                      <p:cBhvr>
                                        <p:cTn id="80" dur="1000" fill="hold"/>
                                        <p:tgtEl>
                                          <p:spTgt spid="48"/>
                                        </p:tgtEl>
                                        <p:attrNameLst>
                                          <p:attrName>ppt_h</p:attrName>
                                        </p:attrNameLst>
                                      </p:cBhvr>
                                      <p:tavLst>
                                        <p:tav tm="0">
                                          <p:val>
                                            <p:fltVal val="0"/>
                                          </p:val>
                                        </p:tav>
                                        <p:tav tm="100000">
                                          <p:val>
                                            <p:strVal val="#ppt_h"/>
                                          </p:val>
                                        </p:tav>
                                      </p:tavLst>
                                    </p:anim>
                                    <p:anim calcmode="lin" valueType="num">
                                      <p:cBhvr>
                                        <p:cTn id="81" dur="1000" fill="hold"/>
                                        <p:tgtEl>
                                          <p:spTgt spid="48"/>
                                        </p:tgtEl>
                                        <p:attrNameLst>
                                          <p:attrName>style.rotation</p:attrName>
                                        </p:attrNameLst>
                                      </p:cBhvr>
                                      <p:tavLst>
                                        <p:tav tm="0">
                                          <p:val>
                                            <p:fltVal val="90"/>
                                          </p:val>
                                        </p:tav>
                                        <p:tav tm="100000">
                                          <p:val>
                                            <p:fltVal val="0"/>
                                          </p:val>
                                        </p:tav>
                                      </p:tavLst>
                                    </p:anim>
                                    <p:animEffect transition="in" filter="fade">
                                      <p:cBhvr>
                                        <p:cTn id="82" dur="1000"/>
                                        <p:tgtEl>
                                          <p:spTgt spid="48"/>
                                        </p:tgtEl>
                                      </p:cBhvr>
                                    </p:animEffect>
                                  </p:childTnLst>
                                </p:cTn>
                              </p:par>
                              <p:par>
                                <p:cTn id="83" presetID="31" presetClass="entr" presetSubtype="0" fill="hold" grpId="0" nodeType="withEffect">
                                  <p:stCondLst>
                                    <p:cond delay="0"/>
                                  </p:stCondLst>
                                  <p:childTnLst>
                                    <p:set>
                                      <p:cBhvr>
                                        <p:cTn id="84" dur="1" fill="hold">
                                          <p:stCondLst>
                                            <p:cond delay="0"/>
                                          </p:stCondLst>
                                        </p:cTn>
                                        <p:tgtEl>
                                          <p:spTgt spid="51"/>
                                        </p:tgtEl>
                                        <p:attrNameLst>
                                          <p:attrName>style.visibility</p:attrName>
                                        </p:attrNameLst>
                                      </p:cBhvr>
                                      <p:to>
                                        <p:strVal val="visible"/>
                                      </p:to>
                                    </p:set>
                                    <p:anim calcmode="lin" valueType="num">
                                      <p:cBhvr>
                                        <p:cTn id="85" dur="1000" fill="hold"/>
                                        <p:tgtEl>
                                          <p:spTgt spid="51"/>
                                        </p:tgtEl>
                                        <p:attrNameLst>
                                          <p:attrName>ppt_w</p:attrName>
                                        </p:attrNameLst>
                                      </p:cBhvr>
                                      <p:tavLst>
                                        <p:tav tm="0">
                                          <p:val>
                                            <p:fltVal val="0"/>
                                          </p:val>
                                        </p:tav>
                                        <p:tav tm="100000">
                                          <p:val>
                                            <p:strVal val="#ppt_w"/>
                                          </p:val>
                                        </p:tav>
                                      </p:tavLst>
                                    </p:anim>
                                    <p:anim calcmode="lin" valueType="num">
                                      <p:cBhvr>
                                        <p:cTn id="86" dur="1000" fill="hold"/>
                                        <p:tgtEl>
                                          <p:spTgt spid="51"/>
                                        </p:tgtEl>
                                        <p:attrNameLst>
                                          <p:attrName>ppt_h</p:attrName>
                                        </p:attrNameLst>
                                      </p:cBhvr>
                                      <p:tavLst>
                                        <p:tav tm="0">
                                          <p:val>
                                            <p:fltVal val="0"/>
                                          </p:val>
                                        </p:tav>
                                        <p:tav tm="100000">
                                          <p:val>
                                            <p:strVal val="#ppt_h"/>
                                          </p:val>
                                        </p:tav>
                                      </p:tavLst>
                                    </p:anim>
                                    <p:anim calcmode="lin" valueType="num">
                                      <p:cBhvr>
                                        <p:cTn id="87" dur="1000" fill="hold"/>
                                        <p:tgtEl>
                                          <p:spTgt spid="51"/>
                                        </p:tgtEl>
                                        <p:attrNameLst>
                                          <p:attrName>style.rotation</p:attrName>
                                        </p:attrNameLst>
                                      </p:cBhvr>
                                      <p:tavLst>
                                        <p:tav tm="0">
                                          <p:val>
                                            <p:fltVal val="90"/>
                                          </p:val>
                                        </p:tav>
                                        <p:tav tm="100000">
                                          <p:val>
                                            <p:fltVal val="0"/>
                                          </p:val>
                                        </p:tav>
                                      </p:tavLst>
                                    </p:anim>
                                    <p:animEffect transition="in" filter="fade">
                                      <p:cBhvr>
                                        <p:cTn id="88" dur="1000"/>
                                        <p:tgtEl>
                                          <p:spTgt spid="51"/>
                                        </p:tgtEl>
                                      </p:cBhvr>
                                    </p:animEffect>
                                  </p:childTnLst>
                                </p:cTn>
                              </p:par>
                              <p:par>
                                <p:cTn id="89" presetID="31" presetClass="entr" presetSubtype="0" fill="hold" grpId="0" nodeType="withEffect">
                                  <p:stCondLst>
                                    <p:cond delay="0"/>
                                  </p:stCondLst>
                                  <p:childTnLst>
                                    <p:set>
                                      <p:cBhvr>
                                        <p:cTn id="90" dur="1" fill="hold">
                                          <p:stCondLst>
                                            <p:cond delay="0"/>
                                          </p:stCondLst>
                                        </p:cTn>
                                        <p:tgtEl>
                                          <p:spTgt spid="53"/>
                                        </p:tgtEl>
                                        <p:attrNameLst>
                                          <p:attrName>style.visibility</p:attrName>
                                        </p:attrNameLst>
                                      </p:cBhvr>
                                      <p:to>
                                        <p:strVal val="visible"/>
                                      </p:to>
                                    </p:set>
                                    <p:anim calcmode="lin" valueType="num">
                                      <p:cBhvr>
                                        <p:cTn id="91" dur="1000" fill="hold"/>
                                        <p:tgtEl>
                                          <p:spTgt spid="53"/>
                                        </p:tgtEl>
                                        <p:attrNameLst>
                                          <p:attrName>ppt_w</p:attrName>
                                        </p:attrNameLst>
                                      </p:cBhvr>
                                      <p:tavLst>
                                        <p:tav tm="0">
                                          <p:val>
                                            <p:fltVal val="0"/>
                                          </p:val>
                                        </p:tav>
                                        <p:tav tm="100000">
                                          <p:val>
                                            <p:strVal val="#ppt_w"/>
                                          </p:val>
                                        </p:tav>
                                      </p:tavLst>
                                    </p:anim>
                                    <p:anim calcmode="lin" valueType="num">
                                      <p:cBhvr>
                                        <p:cTn id="92" dur="1000" fill="hold"/>
                                        <p:tgtEl>
                                          <p:spTgt spid="53"/>
                                        </p:tgtEl>
                                        <p:attrNameLst>
                                          <p:attrName>ppt_h</p:attrName>
                                        </p:attrNameLst>
                                      </p:cBhvr>
                                      <p:tavLst>
                                        <p:tav tm="0">
                                          <p:val>
                                            <p:fltVal val="0"/>
                                          </p:val>
                                        </p:tav>
                                        <p:tav tm="100000">
                                          <p:val>
                                            <p:strVal val="#ppt_h"/>
                                          </p:val>
                                        </p:tav>
                                      </p:tavLst>
                                    </p:anim>
                                    <p:anim calcmode="lin" valueType="num">
                                      <p:cBhvr>
                                        <p:cTn id="93" dur="1000" fill="hold"/>
                                        <p:tgtEl>
                                          <p:spTgt spid="53"/>
                                        </p:tgtEl>
                                        <p:attrNameLst>
                                          <p:attrName>style.rotation</p:attrName>
                                        </p:attrNameLst>
                                      </p:cBhvr>
                                      <p:tavLst>
                                        <p:tav tm="0">
                                          <p:val>
                                            <p:fltVal val="90"/>
                                          </p:val>
                                        </p:tav>
                                        <p:tav tm="100000">
                                          <p:val>
                                            <p:fltVal val="0"/>
                                          </p:val>
                                        </p:tav>
                                      </p:tavLst>
                                    </p:anim>
                                    <p:animEffect transition="in" filter="fade">
                                      <p:cBhvr>
                                        <p:cTn id="94" dur="1000"/>
                                        <p:tgtEl>
                                          <p:spTgt spid="53"/>
                                        </p:tgtEl>
                                      </p:cBhvr>
                                    </p:animEffect>
                                  </p:childTnLst>
                                </p:cTn>
                              </p:par>
                              <p:par>
                                <p:cTn id="95" presetID="31" presetClass="entr" presetSubtype="0" fill="hold" grpId="0" nodeType="withEffect">
                                  <p:stCondLst>
                                    <p:cond delay="0"/>
                                  </p:stCondLst>
                                  <p:childTnLst>
                                    <p:set>
                                      <p:cBhvr>
                                        <p:cTn id="96" dur="1" fill="hold">
                                          <p:stCondLst>
                                            <p:cond delay="0"/>
                                          </p:stCondLst>
                                        </p:cTn>
                                        <p:tgtEl>
                                          <p:spTgt spid="54"/>
                                        </p:tgtEl>
                                        <p:attrNameLst>
                                          <p:attrName>style.visibility</p:attrName>
                                        </p:attrNameLst>
                                      </p:cBhvr>
                                      <p:to>
                                        <p:strVal val="visible"/>
                                      </p:to>
                                    </p:set>
                                    <p:anim calcmode="lin" valueType="num">
                                      <p:cBhvr>
                                        <p:cTn id="97" dur="1000" fill="hold"/>
                                        <p:tgtEl>
                                          <p:spTgt spid="54"/>
                                        </p:tgtEl>
                                        <p:attrNameLst>
                                          <p:attrName>ppt_w</p:attrName>
                                        </p:attrNameLst>
                                      </p:cBhvr>
                                      <p:tavLst>
                                        <p:tav tm="0">
                                          <p:val>
                                            <p:fltVal val="0"/>
                                          </p:val>
                                        </p:tav>
                                        <p:tav tm="100000">
                                          <p:val>
                                            <p:strVal val="#ppt_w"/>
                                          </p:val>
                                        </p:tav>
                                      </p:tavLst>
                                    </p:anim>
                                    <p:anim calcmode="lin" valueType="num">
                                      <p:cBhvr>
                                        <p:cTn id="98" dur="1000" fill="hold"/>
                                        <p:tgtEl>
                                          <p:spTgt spid="54"/>
                                        </p:tgtEl>
                                        <p:attrNameLst>
                                          <p:attrName>ppt_h</p:attrName>
                                        </p:attrNameLst>
                                      </p:cBhvr>
                                      <p:tavLst>
                                        <p:tav tm="0">
                                          <p:val>
                                            <p:fltVal val="0"/>
                                          </p:val>
                                        </p:tav>
                                        <p:tav tm="100000">
                                          <p:val>
                                            <p:strVal val="#ppt_h"/>
                                          </p:val>
                                        </p:tav>
                                      </p:tavLst>
                                    </p:anim>
                                    <p:anim calcmode="lin" valueType="num">
                                      <p:cBhvr>
                                        <p:cTn id="99" dur="1000" fill="hold"/>
                                        <p:tgtEl>
                                          <p:spTgt spid="54"/>
                                        </p:tgtEl>
                                        <p:attrNameLst>
                                          <p:attrName>style.rotation</p:attrName>
                                        </p:attrNameLst>
                                      </p:cBhvr>
                                      <p:tavLst>
                                        <p:tav tm="0">
                                          <p:val>
                                            <p:fltVal val="90"/>
                                          </p:val>
                                        </p:tav>
                                        <p:tav tm="100000">
                                          <p:val>
                                            <p:fltVal val="0"/>
                                          </p:val>
                                        </p:tav>
                                      </p:tavLst>
                                    </p:anim>
                                    <p:animEffect transition="in" filter="fade">
                                      <p:cBhvr>
                                        <p:cTn id="100" dur="1000"/>
                                        <p:tgtEl>
                                          <p:spTgt spid="54"/>
                                        </p:tgtEl>
                                      </p:cBhvr>
                                    </p:animEffect>
                                  </p:childTnLst>
                                </p:cTn>
                              </p:par>
                              <p:par>
                                <p:cTn id="101" presetID="31" presetClass="entr" presetSubtype="0" fill="hold" grpId="0" nodeType="withEffect">
                                  <p:stCondLst>
                                    <p:cond delay="0"/>
                                  </p:stCondLst>
                                  <p:childTnLst>
                                    <p:set>
                                      <p:cBhvr>
                                        <p:cTn id="102" dur="1" fill="hold">
                                          <p:stCondLst>
                                            <p:cond delay="0"/>
                                          </p:stCondLst>
                                        </p:cTn>
                                        <p:tgtEl>
                                          <p:spTgt spid="56"/>
                                        </p:tgtEl>
                                        <p:attrNameLst>
                                          <p:attrName>style.visibility</p:attrName>
                                        </p:attrNameLst>
                                      </p:cBhvr>
                                      <p:to>
                                        <p:strVal val="visible"/>
                                      </p:to>
                                    </p:set>
                                    <p:anim calcmode="lin" valueType="num">
                                      <p:cBhvr>
                                        <p:cTn id="103" dur="1000" fill="hold"/>
                                        <p:tgtEl>
                                          <p:spTgt spid="56"/>
                                        </p:tgtEl>
                                        <p:attrNameLst>
                                          <p:attrName>ppt_w</p:attrName>
                                        </p:attrNameLst>
                                      </p:cBhvr>
                                      <p:tavLst>
                                        <p:tav tm="0">
                                          <p:val>
                                            <p:fltVal val="0"/>
                                          </p:val>
                                        </p:tav>
                                        <p:tav tm="100000">
                                          <p:val>
                                            <p:strVal val="#ppt_w"/>
                                          </p:val>
                                        </p:tav>
                                      </p:tavLst>
                                    </p:anim>
                                    <p:anim calcmode="lin" valueType="num">
                                      <p:cBhvr>
                                        <p:cTn id="104" dur="1000" fill="hold"/>
                                        <p:tgtEl>
                                          <p:spTgt spid="56"/>
                                        </p:tgtEl>
                                        <p:attrNameLst>
                                          <p:attrName>ppt_h</p:attrName>
                                        </p:attrNameLst>
                                      </p:cBhvr>
                                      <p:tavLst>
                                        <p:tav tm="0">
                                          <p:val>
                                            <p:fltVal val="0"/>
                                          </p:val>
                                        </p:tav>
                                        <p:tav tm="100000">
                                          <p:val>
                                            <p:strVal val="#ppt_h"/>
                                          </p:val>
                                        </p:tav>
                                      </p:tavLst>
                                    </p:anim>
                                    <p:anim calcmode="lin" valueType="num">
                                      <p:cBhvr>
                                        <p:cTn id="105" dur="1000" fill="hold"/>
                                        <p:tgtEl>
                                          <p:spTgt spid="56"/>
                                        </p:tgtEl>
                                        <p:attrNameLst>
                                          <p:attrName>style.rotation</p:attrName>
                                        </p:attrNameLst>
                                      </p:cBhvr>
                                      <p:tavLst>
                                        <p:tav tm="0">
                                          <p:val>
                                            <p:fltVal val="90"/>
                                          </p:val>
                                        </p:tav>
                                        <p:tav tm="100000">
                                          <p:val>
                                            <p:fltVal val="0"/>
                                          </p:val>
                                        </p:tav>
                                      </p:tavLst>
                                    </p:anim>
                                    <p:animEffect transition="in" filter="fade">
                                      <p:cBhvr>
                                        <p:cTn id="106" dur="1000"/>
                                        <p:tgtEl>
                                          <p:spTgt spid="56"/>
                                        </p:tgtEl>
                                      </p:cBhvr>
                                    </p:animEffect>
                                  </p:childTnLst>
                                </p:cTn>
                              </p:par>
                              <p:par>
                                <p:cTn id="107" presetID="31" presetClass="entr" presetSubtype="0" fill="hold" grpId="0" nodeType="withEffect">
                                  <p:stCondLst>
                                    <p:cond delay="0"/>
                                  </p:stCondLst>
                                  <p:childTnLst>
                                    <p:set>
                                      <p:cBhvr>
                                        <p:cTn id="108" dur="1" fill="hold">
                                          <p:stCondLst>
                                            <p:cond delay="0"/>
                                          </p:stCondLst>
                                        </p:cTn>
                                        <p:tgtEl>
                                          <p:spTgt spid="57"/>
                                        </p:tgtEl>
                                        <p:attrNameLst>
                                          <p:attrName>style.visibility</p:attrName>
                                        </p:attrNameLst>
                                      </p:cBhvr>
                                      <p:to>
                                        <p:strVal val="visible"/>
                                      </p:to>
                                    </p:set>
                                    <p:anim calcmode="lin" valueType="num">
                                      <p:cBhvr>
                                        <p:cTn id="109" dur="1000" fill="hold"/>
                                        <p:tgtEl>
                                          <p:spTgt spid="57"/>
                                        </p:tgtEl>
                                        <p:attrNameLst>
                                          <p:attrName>ppt_w</p:attrName>
                                        </p:attrNameLst>
                                      </p:cBhvr>
                                      <p:tavLst>
                                        <p:tav tm="0">
                                          <p:val>
                                            <p:fltVal val="0"/>
                                          </p:val>
                                        </p:tav>
                                        <p:tav tm="100000">
                                          <p:val>
                                            <p:strVal val="#ppt_w"/>
                                          </p:val>
                                        </p:tav>
                                      </p:tavLst>
                                    </p:anim>
                                    <p:anim calcmode="lin" valueType="num">
                                      <p:cBhvr>
                                        <p:cTn id="110" dur="1000" fill="hold"/>
                                        <p:tgtEl>
                                          <p:spTgt spid="57"/>
                                        </p:tgtEl>
                                        <p:attrNameLst>
                                          <p:attrName>ppt_h</p:attrName>
                                        </p:attrNameLst>
                                      </p:cBhvr>
                                      <p:tavLst>
                                        <p:tav tm="0">
                                          <p:val>
                                            <p:fltVal val="0"/>
                                          </p:val>
                                        </p:tav>
                                        <p:tav tm="100000">
                                          <p:val>
                                            <p:strVal val="#ppt_h"/>
                                          </p:val>
                                        </p:tav>
                                      </p:tavLst>
                                    </p:anim>
                                    <p:anim calcmode="lin" valueType="num">
                                      <p:cBhvr>
                                        <p:cTn id="111" dur="1000" fill="hold"/>
                                        <p:tgtEl>
                                          <p:spTgt spid="57"/>
                                        </p:tgtEl>
                                        <p:attrNameLst>
                                          <p:attrName>style.rotation</p:attrName>
                                        </p:attrNameLst>
                                      </p:cBhvr>
                                      <p:tavLst>
                                        <p:tav tm="0">
                                          <p:val>
                                            <p:fltVal val="90"/>
                                          </p:val>
                                        </p:tav>
                                        <p:tav tm="100000">
                                          <p:val>
                                            <p:fltVal val="0"/>
                                          </p:val>
                                        </p:tav>
                                      </p:tavLst>
                                    </p:anim>
                                    <p:animEffect transition="in" filter="fade">
                                      <p:cBhvr>
                                        <p:cTn id="112" dur="1000"/>
                                        <p:tgtEl>
                                          <p:spTgt spid="57"/>
                                        </p:tgtEl>
                                      </p:cBhvr>
                                    </p:animEffect>
                                  </p:childTnLst>
                                </p:cTn>
                              </p:par>
                              <p:par>
                                <p:cTn id="113" presetID="31" presetClass="entr" presetSubtype="0" fill="hold" nodeType="withEffect">
                                  <p:stCondLst>
                                    <p:cond delay="0"/>
                                  </p:stCondLst>
                                  <p:childTnLst>
                                    <p:set>
                                      <p:cBhvr>
                                        <p:cTn id="114" dur="1" fill="hold">
                                          <p:stCondLst>
                                            <p:cond delay="0"/>
                                          </p:stCondLst>
                                        </p:cTn>
                                        <p:tgtEl>
                                          <p:spTgt spid="83"/>
                                        </p:tgtEl>
                                        <p:attrNameLst>
                                          <p:attrName>style.visibility</p:attrName>
                                        </p:attrNameLst>
                                      </p:cBhvr>
                                      <p:to>
                                        <p:strVal val="visible"/>
                                      </p:to>
                                    </p:set>
                                    <p:anim calcmode="lin" valueType="num">
                                      <p:cBhvr>
                                        <p:cTn id="115" dur="1000" fill="hold"/>
                                        <p:tgtEl>
                                          <p:spTgt spid="83"/>
                                        </p:tgtEl>
                                        <p:attrNameLst>
                                          <p:attrName>ppt_w</p:attrName>
                                        </p:attrNameLst>
                                      </p:cBhvr>
                                      <p:tavLst>
                                        <p:tav tm="0">
                                          <p:val>
                                            <p:fltVal val="0"/>
                                          </p:val>
                                        </p:tav>
                                        <p:tav tm="100000">
                                          <p:val>
                                            <p:strVal val="#ppt_w"/>
                                          </p:val>
                                        </p:tav>
                                      </p:tavLst>
                                    </p:anim>
                                    <p:anim calcmode="lin" valueType="num">
                                      <p:cBhvr>
                                        <p:cTn id="116" dur="1000" fill="hold"/>
                                        <p:tgtEl>
                                          <p:spTgt spid="83"/>
                                        </p:tgtEl>
                                        <p:attrNameLst>
                                          <p:attrName>ppt_h</p:attrName>
                                        </p:attrNameLst>
                                      </p:cBhvr>
                                      <p:tavLst>
                                        <p:tav tm="0">
                                          <p:val>
                                            <p:fltVal val="0"/>
                                          </p:val>
                                        </p:tav>
                                        <p:tav tm="100000">
                                          <p:val>
                                            <p:strVal val="#ppt_h"/>
                                          </p:val>
                                        </p:tav>
                                      </p:tavLst>
                                    </p:anim>
                                    <p:anim calcmode="lin" valueType="num">
                                      <p:cBhvr>
                                        <p:cTn id="117" dur="1000" fill="hold"/>
                                        <p:tgtEl>
                                          <p:spTgt spid="83"/>
                                        </p:tgtEl>
                                        <p:attrNameLst>
                                          <p:attrName>style.rotation</p:attrName>
                                        </p:attrNameLst>
                                      </p:cBhvr>
                                      <p:tavLst>
                                        <p:tav tm="0">
                                          <p:val>
                                            <p:fltVal val="90"/>
                                          </p:val>
                                        </p:tav>
                                        <p:tav tm="100000">
                                          <p:val>
                                            <p:fltVal val="0"/>
                                          </p:val>
                                        </p:tav>
                                      </p:tavLst>
                                    </p:anim>
                                    <p:animEffect transition="in" filter="fade">
                                      <p:cBhvr>
                                        <p:cTn id="118" dur="1000"/>
                                        <p:tgtEl>
                                          <p:spTgt spid="83"/>
                                        </p:tgtEl>
                                      </p:cBhvr>
                                    </p:animEffect>
                                  </p:childTnLst>
                                </p:cTn>
                              </p:par>
                              <p:par>
                                <p:cTn id="119" presetID="31" presetClass="entr" presetSubtype="0" fill="hold" nodeType="withEffect">
                                  <p:stCondLst>
                                    <p:cond delay="0"/>
                                  </p:stCondLst>
                                  <p:childTnLst>
                                    <p:set>
                                      <p:cBhvr>
                                        <p:cTn id="120" dur="1" fill="hold">
                                          <p:stCondLst>
                                            <p:cond delay="0"/>
                                          </p:stCondLst>
                                        </p:cTn>
                                        <p:tgtEl>
                                          <p:spTgt spid="84"/>
                                        </p:tgtEl>
                                        <p:attrNameLst>
                                          <p:attrName>style.visibility</p:attrName>
                                        </p:attrNameLst>
                                      </p:cBhvr>
                                      <p:to>
                                        <p:strVal val="visible"/>
                                      </p:to>
                                    </p:set>
                                    <p:anim calcmode="lin" valueType="num">
                                      <p:cBhvr>
                                        <p:cTn id="121" dur="1000" fill="hold"/>
                                        <p:tgtEl>
                                          <p:spTgt spid="84"/>
                                        </p:tgtEl>
                                        <p:attrNameLst>
                                          <p:attrName>ppt_w</p:attrName>
                                        </p:attrNameLst>
                                      </p:cBhvr>
                                      <p:tavLst>
                                        <p:tav tm="0">
                                          <p:val>
                                            <p:fltVal val="0"/>
                                          </p:val>
                                        </p:tav>
                                        <p:tav tm="100000">
                                          <p:val>
                                            <p:strVal val="#ppt_w"/>
                                          </p:val>
                                        </p:tav>
                                      </p:tavLst>
                                    </p:anim>
                                    <p:anim calcmode="lin" valueType="num">
                                      <p:cBhvr>
                                        <p:cTn id="122" dur="1000" fill="hold"/>
                                        <p:tgtEl>
                                          <p:spTgt spid="84"/>
                                        </p:tgtEl>
                                        <p:attrNameLst>
                                          <p:attrName>ppt_h</p:attrName>
                                        </p:attrNameLst>
                                      </p:cBhvr>
                                      <p:tavLst>
                                        <p:tav tm="0">
                                          <p:val>
                                            <p:fltVal val="0"/>
                                          </p:val>
                                        </p:tav>
                                        <p:tav tm="100000">
                                          <p:val>
                                            <p:strVal val="#ppt_h"/>
                                          </p:val>
                                        </p:tav>
                                      </p:tavLst>
                                    </p:anim>
                                    <p:anim calcmode="lin" valueType="num">
                                      <p:cBhvr>
                                        <p:cTn id="123" dur="1000" fill="hold"/>
                                        <p:tgtEl>
                                          <p:spTgt spid="84"/>
                                        </p:tgtEl>
                                        <p:attrNameLst>
                                          <p:attrName>style.rotation</p:attrName>
                                        </p:attrNameLst>
                                      </p:cBhvr>
                                      <p:tavLst>
                                        <p:tav tm="0">
                                          <p:val>
                                            <p:fltVal val="90"/>
                                          </p:val>
                                        </p:tav>
                                        <p:tav tm="100000">
                                          <p:val>
                                            <p:fltVal val="0"/>
                                          </p:val>
                                        </p:tav>
                                      </p:tavLst>
                                    </p:anim>
                                    <p:animEffect transition="in" filter="fade">
                                      <p:cBhvr>
                                        <p:cTn id="124" dur="1000"/>
                                        <p:tgtEl>
                                          <p:spTgt spid="84"/>
                                        </p:tgtEl>
                                      </p:cBhvr>
                                    </p:animEffect>
                                  </p:childTnLst>
                                </p:cTn>
                              </p:par>
                              <p:par>
                                <p:cTn id="125" presetID="31" presetClass="entr" presetSubtype="0" fill="hold" nodeType="withEffect">
                                  <p:stCondLst>
                                    <p:cond delay="0"/>
                                  </p:stCondLst>
                                  <p:childTnLst>
                                    <p:set>
                                      <p:cBhvr>
                                        <p:cTn id="126" dur="1" fill="hold">
                                          <p:stCondLst>
                                            <p:cond delay="0"/>
                                          </p:stCondLst>
                                        </p:cTn>
                                        <p:tgtEl>
                                          <p:spTgt spid="69"/>
                                        </p:tgtEl>
                                        <p:attrNameLst>
                                          <p:attrName>style.visibility</p:attrName>
                                        </p:attrNameLst>
                                      </p:cBhvr>
                                      <p:to>
                                        <p:strVal val="visible"/>
                                      </p:to>
                                    </p:set>
                                    <p:anim calcmode="lin" valueType="num">
                                      <p:cBhvr>
                                        <p:cTn id="127" dur="1000" fill="hold"/>
                                        <p:tgtEl>
                                          <p:spTgt spid="69"/>
                                        </p:tgtEl>
                                        <p:attrNameLst>
                                          <p:attrName>ppt_w</p:attrName>
                                        </p:attrNameLst>
                                      </p:cBhvr>
                                      <p:tavLst>
                                        <p:tav tm="0">
                                          <p:val>
                                            <p:fltVal val="0"/>
                                          </p:val>
                                        </p:tav>
                                        <p:tav tm="100000">
                                          <p:val>
                                            <p:strVal val="#ppt_w"/>
                                          </p:val>
                                        </p:tav>
                                      </p:tavLst>
                                    </p:anim>
                                    <p:anim calcmode="lin" valueType="num">
                                      <p:cBhvr>
                                        <p:cTn id="128" dur="1000" fill="hold"/>
                                        <p:tgtEl>
                                          <p:spTgt spid="69"/>
                                        </p:tgtEl>
                                        <p:attrNameLst>
                                          <p:attrName>ppt_h</p:attrName>
                                        </p:attrNameLst>
                                      </p:cBhvr>
                                      <p:tavLst>
                                        <p:tav tm="0">
                                          <p:val>
                                            <p:fltVal val="0"/>
                                          </p:val>
                                        </p:tav>
                                        <p:tav tm="100000">
                                          <p:val>
                                            <p:strVal val="#ppt_h"/>
                                          </p:val>
                                        </p:tav>
                                      </p:tavLst>
                                    </p:anim>
                                    <p:anim calcmode="lin" valueType="num">
                                      <p:cBhvr>
                                        <p:cTn id="129" dur="1000" fill="hold"/>
                                        <p:tgtEl>
                                          <p:spTgt spid="69"/>
                                        </p:tgtEl>
                                        <p:attrNameLst>
                                          <p:attrName>style.rotation</p:attrName>
                                        </p:attrNameLst>
                                      </p:cBhvr>
                                      <p:tavLst>
                                        <p:tav tm="0">
                                          <p:val>
                                            <p:fltVal val="90"/>
                                          </p:val>
                                        </p:tav>
                                        <p:tav tm="100000">
                                          <p:val>
                                            <p:fltVal val="0"/>
                                          </p:val>
                                        </p:tav>
                                      </p:tavLst>
                                    </p:anim>
                                    <p:animEffect transition="in" filter="fade">
                                      <p:cBhvr>
                                        <p:cTn id="130" dur="1000"/>
                                        <p:tgtEl>
                                          <p:spTgt spid="69"/>
                                        </p:tgtEl>
                                      </p:cBhvr>
                                    </p:animEffect>
                                  </p:childTnLst>
                                </p:cTn>
                              </p:par>
                              <p:par>
                                <p:cTn id="131" presetID="31" presetClass="entr" presetSubtype="0" fill="hold" grpId="0" nodeType="withEffect">
                                  <p:stCondLst>
                                    <p:cond delay="0"/>
                                  </p:stCondLst>
                                  <p:childTnLst>
                                    <p:set>
                                      <p:cBhvr>
                                        <p:cTn id="132" dur="1" fill="hold">
                                          <p:stCondLst>
                                            <p:cond delay="0"/>
                                          </p:stCondLst>
                                        </p:cTn>
                                        <p:tgtEl>
                                          <p:spTgt spid="2"/>
                                        </p:tgtEl>
                                        <p:attrNameLst>
                                          <p:attrName>style.visibility</p:attrName>
                                        </p:attrNameLst>
                                      </p:cBhvr>
                                      <p:to>
                                        <p:strVal val="visible"/>
                                      </p:to>
                                    </p:set>
                                    <p:anim calcmode="lin" valueType="num">
                                      <p:cBhvr>
                                        <p:cTn id="133" dur="1000" fill="hold"/>
                                        <p:tgtEl>
                                          <p:spTgt spid="2"/>
                                        </p:tgtEl>
                                        <p:attrNameLst>
                                          <p:attrName>ppt_w</p:attrName>
                                        </p:attrNameLst>
                                      </p:cBhvr>
                                      <p:tavLst>
                                        <p:tav tm="0">
                                          <p:val>
                                            <p:fltVal val="0"/>
                                          </p:val>
                                        </p:tav>
                                        <p:tav tm="100000">
                                          <p:val>
                                            <p:strVal val="#ppt_w"/>
                                          </p:val>
                                        </p:tav>
                                      </p:tavLst>
                                    </p:anim>
                                    <p:anim calcmode="lin" valueType="num">
                                      <p:cBhvr>
                                        <p:cTn id="134" dur="1000" fill="hold"/>
                                        <p:tgtEl>
                                          <p:spTgt spid="2"/>
                                        </p:tgtEl>
                                        <p:attrNameLst>
                                          <p:attrName>ppt_h</p:attrName>
                                        </p:attrNameLst>
                                      </p:cBhvr>
                                      <p:tavLst>
                                        <p:tav tm="0">
                                          <p:val>
                                            <p:fltVal val="0"/>
                                          </p:val>
                                        </p:tav>
                                        <p:tav tm="100000">
                                          <p:val>
                                            <p:strVal val="#ppt_h"/>
                                          </p:val>
                                        </p:tav>
                                      </p:tavLst>
                                    </p:anim>
                                    <p:anim calcmode="lin" valueType="num">
                                      <p:cBhvr>
                                        <p:cTn id="135" dur="1000" fill="hold"/>
                                        <p:tgtEl>
                                          <p:spTgt spid="2"/>
                                        </p:tgtEl>
                                        <p:attrNameLst>
                                          <p:attrName>style.rotation</p:attrName>
                                        </p:attrNameLst>
                                      </p:cBhvr>
                                      <p:tavLst>
                                        <p:tav tm="0">
                                          <p:val>
                                            <p:fltVal val="90"/>
                                          </p:val>
                                        </p:tav>
                                        <p:tav tm="100000">
                                          <p:val>
                                            <p:fltVal val="0"/>
                                          </p:val>
                                        </p:tav>
                                      </p:tavLst>
                                    </p:anim>
                                    <p:animEffect transition="in" filter="fade">
                                      <p:cBhvr>
                                        <p:cTn id="136" dur="1000"/>
                                        <p:tgtEl>
                                          <p:spTgt spid="2"/>
                                        </p:tgtEl>
                                      </p:cBhvr>
                                    </p:animEffect>
                                  </p:childTnLst>
                                </p:cTn>
                              </p:par>
                              <p:par>
                                <p:cTn id="137" presetID="31" presetClass="entr" presetSubtype="0" fill="hold" nodeType="withEffect">
                                  <p:stCondLst>
                                    <p:cond delay="0"/>
                                  </p:stCondLst>
                                  <p:childTnLst>
                                    <p:set>
                                      <p:cBhvr>
                                        <p:cTn id="138" dur="1" fill="hold">
                                          <p:stCondLst>
                                            <p:cond delay="0"/>
                                          </p:stCondLst>
                                        </p:cTn>
                                        <p:tgtEl>
                                          <p:spTgt spid="4"/>
                                        </p:tgtEl>
                                        <p:attrNameLst>
                                          <p:attrName>style.visibility</p:attrName>
                                        </p:attrNameLst>
                                      </p:cBhvr>
                                      <p:to>
                                        <p:strVal val="visible"/>
                                      </p:to>
                                    </p:set>
                                    <p:anim calcmode="lin" valueType="num">
                                      <p:cBhvr>
                                        <p:cTn id="139" dur="1000" fill="hold"/>
                                        <p:tgtEl>
                                          <p:spTgt spid="4"/>
                                        </p:tgtEl>
                                        <p:attrNameLst>
                                          <p:attrName>ppt_w</p:attrName>
                                        </p:attrNameLst>
                                      </p:cBhvr>
                                      <p:tavLst>
                                        <p:tav tm="0">
                                          <p:val>
                                            <p:fltVal val="0"/>
                                          </p:val>
                                        </p:tav>
                                        <p:tav tm="100000">
                                          <p:val>
                                            <p:strVal val="#ppt_w"/>
                                          </p:val>
                                        </p:tav>
                                      </p:tavLst>
                                    </p:anim>
                                    <p:anim calcmode="lin" valueType="num">
                                      <p:cBhvr>
                                        <p:cTn id="140" dur="1000" fill="hold"/>
                                        <p:tgtEl>
                                          <p:spTgt spid="4"/>
                                        </p:tgtEl>
                                        <p:attrNameLst>
                                          <p:attrName>ppt_h</p:attrName>
                                        </p:attrNameLst>
                                      </p:cBhvr>
                                      <p:tavLst>
                                        <p:tav tm="0">
                                          <p:val>
                                            <p:fltVal val="0"/>
                                          </p:val>
                                        </p:tav>
                                        <p:tav tm="100000">
                                          <p:val>
                                            <p:strVal val="#ppt_h"/>
                                          </p:val>
                                        </p:tav>
                                      </p:tavLst>
                                    </p:anim>
                                    <p:anim calcmode="lin" valueType="num">
                                      <p:cBhvr>
                                        <p:cTn id="141" dur="1000" fill="hold"/>
                                        <p:tgtEl>
                                          <p:spTgt spid="4"/>
                                        </p:tgtEl>
                                        <p:attrNameLst>
                                          <p:attrName>style.rotation</p:attrName>
                                        </p:attrNameLst>
                                      </p:cBhvr>
                                      <p:tavLst>
                                        <p:tav tm="0">
                                          <p:val>
                                            <p:fltVal val="90"/>
                                          </p:val>
                                        </p:tav>
                                        <p:tav tm="100000">
                                          <p:val>
                                            <p:fltVal val="0"/>
                                          </p:val>
                                        </p:tav>
                                      </p:tavLst>
                                    </p:anim>
                                    <p:animEffect transition="in" filter="fade">
                                      <p:cBhvr>
                                        <p:cTn id="142" dur="1000"/>
                                        <p:tgtEl>
                                          <p:spTgt spid="4"/>
                                        </p:tgtEl>
                                      </p:cBhvr>
                                    </p:animEffect>
                                  </p:childTnLst>
                                </p:cTn>
                              </p:par>
                              <p:par>
                                <p:cTn id="143" presetID="31" presetClass="entr" presetSubtype="0" fill="hold" nodeType="withEffect">
                                  <p:stCondLst>
                                    <p:cond delay="0"/>
                                  </p:stCondLst>
                                  <p:childTnLst>
                                    <p:set>
                                      <p:cBhvr>
                                        <p:cTn id="144" dur="1" fill="hold">
                                          <p:stCondLst>
                                            <p:cond delay="0"/>
                                          </p:stCondLst>
                                        </p:cTn>
                                        <p:tgtEl>
                                          <p:spTgt spid="5"/>
                                        </p:tgtEl>
                                        <p:attrNameLst>
                                          <p:attrName>style.visibility</p:attrName>
                                        </p:attrNameLst>
                                      </p:cBhvr>
                                      <p:to>
                                        <p:strVal val="visible"/>
                                      </p:to>
                                    </p:set>
                                    <p:anim calcmode="lin" valueType="num">
                                      <p:cBhvr>
                                        <p:cTn id="145" dur="1000" fill="hold"/>
                                        <p:tgtEl>
                                          <p:spTgt spid="5"/>
                                        </p:tgtEl>
                                        <p:attrNameLst>
                                          <p:attrName>ppt_w</p:attrName>
                                        </p:attrNameLst>
                                      </p:cBhvr>
                                      <p:tavLst>
                                        <p:tav tm="0">
                                          <p:val>
                                            <p:fltVal val="0"/>
                                          </p:val>
                                        </p:tav>
                                        <p:tav tm="100000">
                                          <p:val>
                                            <p:strVal val="#ppt_w"/>
                                          </p:val>
                                        </p:tav>
                                      </p:tavLst>
                                    </p:anim>
                                    <p:anim calcmode="lin" valueType="num">
                                      <p:cBhvr>
                                        <p:cTn id="146" dur="1000" fill="hold"/>
                                        <p:tgtEl>
                                          <p:spTgt spid="5"/>
                                        </p:tgtEl>
                                        <p:attrNameLst>
                                          <p:attrName>ppt_h</p:attrName>
                                        </p:attrNameLst>
                                      </p:cBhvr>
                                      <p:tavLst>
                                        <p:tav tm="0">
                                          <p:val>
                                            <p:fltVal val="0"/>
                                          </p:val>
                                        </p:tav>
                                        <p:tav tm="100000">
                                          <p:val>
                                            <p:strVal val="#ppt_h"/>
                                          </p:val>
                                        </p:tav>
                                      </p:tavLst>
                                    </p:anim>
                                    <p:anim calcmode="lin" valueType="num">
                                      <p:cBhvr>
                                        <p:cTn id="147" dur="1000" fill="hold"/>
                                        <p:tgtEl>
                                          <p:spTgt spid="5"/>
                                        </p:tgtEl>
                                        <p:attrNameLst>
                                          <p:attrName>style.rotation</p:attrName>
                                        </p:attrNameLst>
                                      </p:cBhvr>
                                      <p:tavLst>
                                        <p:tav tm="0">
                                          <p:val>
                                            <p:fltVal val="90"/>
                                          </p:val>
                                        </p:tav>
                                        <p:tav tm="100000">
                                          <p:val>
                                            <p:fltVal val="0"/>
                                          </p:val>
                                        </p:tav>
                                      </p:tavLst>
                                    </p:anim>
                                    <p:animEffect transition="in" filter="fade">
                                      <p:cBhvr>
                                        <p:cTn id="148" dur="1000"/>
                                        <p:tgtEl>
                                          <p:spTgt spid="5"/>
                                        </p:tgtEl>
                                      </p:cBhvr>
                                    </p:animEffect>
                                  </p:childTnLst>
                                </p:cTn>
                              </p:par>
                              <p:par>
                                <p:cTn id="149" presetID="31" presetClass="entr" presetSubtype="0" fill="hold" grpId="0" nodeType="withEffect">
                                  <p:stCondLst>
                                    <p:cond delay="0"/>
                                  </p:stCondLst>
                                  <p:childTnLst>
                                    <p:set>
                                      <p:cBhvr>
                                        <p:cTn id="150" dur="1" fill="hold">
                                          <p:stCondLst>
                                            <p:cond delay="0"/>
                                          </p:stCondLst>
                                        </p:cTn>
                                        <p:tgtEl>
                                          <p:spTgt spid="8"/>
                                        </p:tgtEl>
                                        <p:attrNameLst>
                                          <p:attrName>style.visibility</p:attrName>
                                        </p:attrNameLst>
                                      </p:cBhvr>
                                      <p:to>
                                        <p:strVal val="visible"/>
                                      </p:to>
                                    </p:set>
                                    <p:anim calcmode="lin" valueType="num">
                                      <p:cBhvr>
                                        <p:cTn id="151" dur="1000" fill="hold"/>
                                        <p:tgtEl>
                                          <p:spTgt spid="8"/>
                                        </p:tgtEl>
                                        <p:attrNameLst>
                                          <p:attrName>ppt_w</p:attrName>
                                        </p:attrNameLst>
                                      </p:cBhvr>
                                      <p:tavLst>
                                        <p:tav tm="0">
                                          <p:val>
                                            <p:fltVal val="0"/>
                                          </p:val>
                                        </p:tav>
                                        <p:tav tm="100000">
                                          <p:val>
                                            <p:strVal val="#ppt_w"/>
                                          </p:val>
                                        </p:tav>
                                      </p:tavLst>
                                    </p:anim>
                                    <p:anim calcmode="lin" valueType="num">
                                      <p:cBhvr>
                                        <p:cTn id="152" dur="1000" fill="hold"/>
                                        <p:tgtEl>
                                          <p:spTgt spid="8"/>
                                        </p:tgtEl>
                                        <p:attrNameLst>
                                          <p:attrName>ppt_h</p:attrName>
                                        </p:attrNameLst>
                                      </p:cBhvr>
                                      <p:tavLst>
                                        <p:tav tm="0">
                                          <p:val>
                                            <p:fltVal val="0"/>
                                          </p:val>
                                        </p:tav>
                                        <p:tav tm="100000">
                                          <p:val>
                                            <p:strVal val="#ppt_h"/>
                                          </p:val>
                                        </p:tav>
                                      </p:tavLst>
                                    </p:anim>
                                    <p:anim calcmode="lin" valueType="num">
                                      <p:cBhvr>
                                        <p:cTn id="153" dur="1000" fill="hold"/>
                                        <p:tgtEl>
                                          <p:spTgt spid="8"/>
                                        </p:tgtEl>
                                        <p:attrNameLst>
                                          <p:attrName>style.rotation</p:attrName>
                                        </p:attrNameLst>
                                      </p:cBhvr>
                                      <p:tavLst>
                                        <p:tav tm="0">
                                          <p:val>
                                            <p:fltVal val="90"/>
                                          </p:val>
                                        </p:tav>
                                        <p:tav tm="100000">
                                          <p:val>
                                            <p:fltVal val="0"/>
                                          </p:val>
                                        </p:tav>
                                      </p:tavLst>
                                    </p:anim>
                                    <p:animEffect transition="in" filter="fade">
                                      <p:cBhvr>
                                        <p:cTn id="154" dur="1000"/>
                                        <p:tgtEl>
                                          <p:spTgt spid="8"/>
                                        </p:tgtEl>
                                      </p:cBhvr>
                                    </p:animEffect>
                                  </p:childTnLst>
                                </p:cTn>
                              </p:par>
                              <p:par>
                                <p:cTn id="155" presetID="31" presetClass="entr" presetSubtype="0" fill="hold" grpId="0" nodeType="withEffect">
                                  <p:stCondLst>
                                    <p:cond delay="0"/>
                                  </p:stCondLst>
                                  <p:childTnLst>
                                    <p:set>
                                      <p:cBhvr>
                                        <p:cTn id="156" dur="1" fill="hold">
                                          <p:stCondLst>
                                            <p:cond delay="0"/>
                                          </p:stCondLst>
                                        </p:cTn>
                                        <p:tgtEl>
                                          <p:spTgt spid="9"/>
                                        </p:tgtEl>
                                        <p:attrNameLst>
                                          <p:attrName>style.visibility</p:attrName>
                                        </p:attrNameLst>
                                      </p:cBhvr>
                                      <p:to>
                                        <p:strVal val="visible"/>
                                      </p:to>
                                    </p:set>
                                    <p:anim calcmode="lin" valueType="num">
                                      <p:cBhvr>
                                        <p:cTn id="157" dur="1000" fill="hold"/>
                                        <p:tgtEl>
                                          <p:spTgt spid="9"/>
                                        </p:tgtEl>
                                        <p:attrNameLst>
                                          <p:attrName>ppt_w</p:attrName>
                                        </p:attrNameLst>
                                      </p:cBhvr>
                                      <p:tavLst>
                                        <p:tav tm="0">
                                          <p:val>
                                            <p:fltVal val="0"/>
                                          </p:val>
                                        </p:tav>
                                        <p:tav tm="100000">
                                          <p:val>
                                            <p:strVal val="#ppt_w"/>
                                          </p:val>
                                        </p:tav>
                                      </p:tavLst>
                                    </p:anim>
                                    <p:anim calcmode="lin" valueType="num">
                                      <p:cBhvr>
                                        <p:cTn id="158" dur="1000" fill="hold"/>
                                        <p:tgtEl>
                                          <p:spTgt spid="9"/>
                                        </p:tgtEl>
                                        <p:attrNameLst>
                                          <p:attrName>ppt_h</p:attrName>
                                        </p:attrNameLst>
                                      </p:cBhvr>
                                      <p:tavLst>
                                        <p:tav tm="0">
                                          <p:val>
                                            <p:fltVal val="0"/>
                                          </p:val>
                                        </p:tav>
                                        <p:tav tm="100000">
                                          <p:val>
                                            <p:strVal val="#ppt_h"/>
                                          </p:val>
                                        </p:tav>
                                      </p:tavLst>
                                    </p:anim>
                                    <p:anim calcmode="lin" valueType="num">
                                      <p:cBhvr>
                                        <p:cTn id="159" dur="1000" fill="hold"/>
                                        <p:tgtEl>
                                          <p:spTgt spid="9"/>
                                        </p:tgtEl>
                                        <p:attrNameLst>
                                          <p:attrName>style.rotation</p:attrName>
                                        </p:attrNameLst>
                                      </p:cBhvr>
                                      <p:tavLst>
                                        <p:tav tm="0">
                                          <p:val>
                                            <p:fltVal val="90"/>
                                          </p:val>
                                        </p:tav>
                                        <p:tav tm="100000">
                                          <p:val>
                                            <p:fltVal val="0"/>
                                          </p:val>
                                        </p:tav>
                                      </p:tavLst>
                                    </p:anim>
                                    <p:animEffect transition="in" filter="fade">
                                      <p:cBhvr>
                                        <p:cTn id="160" dur="1000"/>
                                        <p:tgtEl>
                                          <p:spTgt spid="9"/>
                                        </p:tgtEl>
                                      </p:cBhvr>
                                    </p:animEffect>
                                  </p:childTnLst>
                                </p:cTn>
                              </p:par>
                              <p:par>
                                <p:cTn id="161" presetID="31" presetClass="entr" presetSubtype="0" fill="hold" grpId="0" nodeType="withEffect">
                                  <p:stCondLst>
                                    <p:cond delay="0"/>
                                  </p:stCondLst>
                                  <p:childTnLst>
                                    <p:set>
                                      <p:cBhvr>
                                        <p:cTn id="162" dur="1" fill="hold">
                                          <p:stCondLst>
                                            <p:cond delay="0"/>
                                          </p:stCondLst>
                                        </p:cTn>
                                        <p:tgtEl>
                                          <p:spTgt spid="10"/>
                                        </p:tgtEl>
                                        <p:attrNameLst>
                                          <p:attrName>style.visibility</p:attrName>
                                        </p:attrNameLst>
                                      </p:cBhvr>
                                      <p:to>
                                        <p:strVal val="visible"/>
                                      </p:to>
                                    </p:set>
                                    <p:anim calcmode="lin" valueType="num">
                                      <p:cBhvr>
                                        <p:cTn id="163" dur="1000" fill="hold"/>
                                        <p:tgtEl>
                                          <p:spTgt spid="10"/>
                                        </p:tgtEl>
                                        <p:attrNameLst>
                                          <p:attrName>ppt_w</p:attrName>
                                        </p:attrNameLst>
                                      </p:cBhvr>
                                      <p:tavLst>
                                        <p:tav tm="0">
                                          <p:val>
                                            <p:fltVal val="0"/>
                                          </p:val>
                                        </p:tav>
                                        <p:tav tm="100000">
                                          <p:val>
                                            <p:strVal val="#ppt_w"/>
                                          </p:val>
                                        </p:tav>
                                      </p:tavLst>
                                    </p:anim>
                                    <p:anim calcmode="lin" valueType="num">
                                      <p:cBhvr>
                                        <p:cTn id="164" dur="1000" fill="hold"/>
                                        <p:tgtEl>
                                          <p:spTgt spid="10"/>
                                        </p:tgtEl>
                                        <p:attrNameLst>
                                          <p:attrName>ppt_h</p:attrName>
                                        </p:attrNameLst>
                                      </p:cBhvr>
                                      <p:tavLst>
                                        <p:tav tm="0">
                                          <p:val>
                                            <p:fltVal val="0"/>
                                          </p:val>
                                        </p:tav>
                                        <p:tav tm="100000">
                                          <p:val>
                                            <p:strVal val="#ppt_h"/>
                                          </p:val>
                                        </p:tav>
                                      </p:tavLst>
                                    </p:anim>
                                    <p:anim calcmode="lin" valueType="num">
                                      <p:cBhvr>
                                        <p:cTn id="165" dur="1000" fill="hold"/>
                                        <p:tgtEl>
                                          <p:spTgt spid="10"/>
                                        </p:tgtEl>
                                        <p:attrNameLst>
                                          <p:attrName>style.rotation</p:attrName>
                                        </p:attrNameLst>
                                      </p:cBhvr>
                                      <p:tavLst>
                                        <p:tav tm="0">
                                          <p:val>
                                            <p:fltVal val="90"/>
                                          </p:val>
                                        </p:tav>
                                        <p:tav tm="100000">
                                          <p:val>
                                            <p:fltVal val="0"/>
                                          </p:val>
                                        </p:tav>
                                      </p:tavLst>
                                    </p:anim>
                                    <p:animEffect transition="in" filter="fade">
                                      <p:cBhvr>
                                        <p:cTn id="166" dur="1000"/>
                                        <p:tgtEl>
                                          <p:spTgt spid="10"/>
                                        </p:tgtEl>
                                      </p:cBhvr>
                                    </p:animEffect>
                                  </p:childTnLst>
                                </p:cTn>
                              </p:par>
                              <p:par>
                                <p:cTn id="167" presetID="31" presetClass="entr" presetSubtype="0" fill="hold" grpId="0" nodeType="withEffect">
                                  <p:stCondLst>
                                    <p:cond delay="0"/>
                                  </p:stCondLst>
                                  <p:childTnLst>
                                    <p:set>
                                      <p:cBhvr>
                                        <p:cTn id="168" dur="1" fill="hold">
                                          <p:stCondLst>
                                            <p:cond delay="0"/>
                                          </p:stCondLst>
                                        </p:cTn>
                                        <p:tgtEl>
                                          <p:spTgt spid="12"/>
                                        </p:tgtEl>
                                        <p:attrNameLst>
                                          <p:attrName>style.visibility</p:attrName>
                                        </p:attrNameLst>
                                      </p:cBhvr>
                                      <p:to>
                                        <p:strVal val="visible"/>
                                      </p:to>
                                    </p:set>
                                    <p:anim calcmode="lin" valueType="num">
                                      <p:cBhvr>
                                        <p:cTn id="169" dur="1000" fill="hold"/>
                                        <p:tgtEl>
                                          <p:spTgt spid="12"/>
                                        </p:tgtEl>
                                        <p:attrNameLst>
                                          <p:attrName>ppt_w</p:attrName>
                                        </p:attrNameLst>
                                      </p:cBhvr>
                                      <p:tavLst>
                                        <p:tav tm="0">
                                          <p:val>
                                            <p:fltVal val="0"/>
                                          </p:val>
                                        </p:tav>
                                        <p:tav tm="100000">
                                          <p:val>
                                            <p:strVal val="#ppt_w"/>
                                          </p:val>
                                        </p:tav>
                                      </p:tavLst>
                                    </p:anim>
                                    <p:anim calcmode="lin" valueType="num">
                                      <p:cBhvr>
                                        <p:cTn id="170" dur="1000" fill="hold"/>
                                        <p:tgtEl>
                                          <p:spTgt spid="12"/>
                                        </p:tgtEl>
                                        <p:attrNameLst>
                                          <p:attrName>ppt_h</p:attrName>
                                        </p:attrNameLst>
                                      </p:cBhvr>
                                      <p:tavLst>
                                        <p:tav tm="0">
                                          <p:val>
                                            <p:fltVal val="0"/>
                                          </p:val>
                                        </p:tav>
                                        <p:tav tm="100000">
                                          <p:val>
                                            <p:strVal val="#ppt_h"/>
                                          </p:val>
                                        </p:tav>
                                      </p:tavLst>
                                    </p:anim>
                                    <p:anim calcmode="lin" valueType="num">
                                      <p:cBhvr>
                                        <p:cTn id="171" dur="1000" fill="hold"/>
                                        <p:tgtEl>
                                          <p:spTgt spid="12"/>
                                        </p:tgtEl>
                                        <p:attrNameLst>
                                          <p:attrName>style.rotation</p:attrName>
                                        </p:attrNameLst>
                                      </p:cBhvr>
                                      <p:tavLst>
                                        <p:tav tm="0">
                                          <p:val>
                                            <p:fltVal val="90"/>
                                          </p:val>
                                        </p:tav>
                                        <p:tav tm="100000">
                                          <p:val>
                                            <p:fltVal val="0"/>
                                          </p:val>
                                        </p:tav>
                                      </p:tavLst>
                                    </p:anim>
                                    <p:animEffect transition="in" filter="fade">
                                      <p:cBhvr>
                                        <p:cTn id="172" dur="1000"/>
                                        <p:tgtEl>
                                          <p:spTgt spid="12"/>
                                        </p:tgtEl>
                                      </p:cBhvr>
                                    </p:animEffect>
                                  </p:childTnLst>
                                </p:cTn>
                              </p:par>
                              <p:par>
                                <p:cTn id="173" presetID="31" presetClass="entr" presetSubtype="0" fill="hold" nodeType="withEffect">
                                  <p:stCondLst>
                                    <p:cond delay="0"/>
                                  </p:stCondLst>
                                  <p:childTnLst>
                                    <p:set>
                                      <p:cBhvr>
                                        <p:cTn id="174" dur="1" fill="hold">
                                          <p:stCondLst>
                                            <p:cond delay="0"/>
                                          </p:stCondLst>
                                        </p:cTn>
                                        <p:tgtEl>
                                          <p:spTgt spid="13"/>
                                        </p:tgtEl>
                                        <p:attrNameLst>
                                          <p:attrName>style.visibility</p:attrName>
                                        </p:attrNameLst>
                                      </p:cBhvr>
                                      <p:to>
                                        <p:strVal val="visible"/>
                                      </p:to>
                                    </p:set>
                                    <p:anim calcmode="lin" valueType="num">
                                      <p:cBhvr>
                                        <p:cTn id="175" dur="1000" fill="hold"/>
                                        <p:tgtEl>
                                          <p:spTgt spid="13"/>
                                        </p:tgtEl>
                                        <p:attrNameLst>
                                          <p:attrName>ppt_w</p:attrName>
                                        </p:attrNameLst>
                                      </p:cBhvr>
                                      <p:tavLst>
                                        <p:tav tm="0">
                                          <p:val>
                                            <p:fltVal val="0"/>
                                          </p:val>
                                        </p:tav>
                                        <p:tav tm="100000">
                                          <p:val>
                                            <p:strVal val="#ppt_w"/>
                                          </p:val>
                                        </p:tav>
                                      </p:tavLst>
                                    </p:anim>
                                    <p:anim calcmode="lin" valueType="num">
                                      <p:cBhvr>
                                        <p:cTn id="176" dur="1000" fill="hold"/>
                                        <p:tgtEl>
                                          <p:spTgt spid="13"/>
                                        </p:tgtEl>
                                        <p:attrNameLst>
                                          <p:attrName>ppt_h</p:attrName>
                                        </p:attrNameLst>
                                      </p:cBhvr>
                                      <p:tavLst>
                                        <p:tav tm="0">
                                          <p:val>
                                            <p:fltVal val="0"/>
                                          </p:val>
                                        </p:tav>
                                        <p:tav tm="100000">
                                          <p:val>
                                            <p:strVal val="#ppt_h"/>
                                          </p:val>
                                        </p:tav>
                                      </p:tavLst>
                                    </p:anim>
                                    <p:anim calcmode="lin" valueType="num">
                                      <p:cBhvr>
                                        <p:cTn id="177" dur="1000" fill="hold"/>
                                        <p:tgtEl>
                                          <p:spTgt spid="13"/>
                                        </p:tgtEl>
                                        <p:attrNameLst>
                                          <p:attrName>style.rotation</p:attrName>
                                        </p:attrNameLst>
                                      </p:cBhvr>
                                      <p:tavLst>
                                        <p:tav tm="0">
                                          <p:val>
                                            <p:fltVal val="90"/>
                                          </p:val>
                                        </p:tav>
                                        <p:tav tm="100000">
                                          <p:val>
                                            <p:fltVal val="0"/>
                                          </p:val>
                                        </p:tav>
                                      </p:tavLst>
                                    </p:anim>
                                    <p:animEffect transition="in" filter="fade">
                                      <p:cBhvr>
                                        <p:cTn id="178" dur="1000"/>
                                        <p:tgtEl>
                                          <p:spTgt spid="13"/>
                                        </p:tgtEl>
                                      </p:cBhvr>
                                    </p:animEffect>
                                  </p:childTnLst>
                                </p:cTn>
                              </p:par>
                              <p:par>
                                <p:cTn id="179" presetID="31" presetClass="entr" presetSubtype="0" fill="hold" nodeType="withEffect">
                                  <p:stCondLst>
                                    <p:cond delay="0"/>
                                  </p:stCondLst>
                                  <p:childTnLst>
                                    <p:set>
                                      <p:cBhvr>
                                        <p:cTn id="180" dur="1" fill="hold">
                                          <p:stCondLst>
                                            <p:cond delay="0"/>
                                          </p:stCondLst>
                                        </p:cTn>
                                        <p:tgtEl>
                                          <p:spTgt spid="14"/>
                                        </p:tgtEl>
                                        <p:attrNameLst>
                                          <p:attrName>style.visibility</p:attrName>
                                        </p:attrNameLst>
                                      </p:cBhvr>
                                      <p:to>
                                        <p:strVal val="visible"/>
                                      </p:to>
                                    </p:set>
                                    <p:anim calcmode="lin" valueType="num">
                                      <p:cBhvr>
                                        <p:cTn id="181" dur="1000" fill="hold"/>
                                        <p:tgtEl>
                                          <p:spTgt spid="14"/>
                                        </p:tgtEl>
                                        <p:attrNameLst>
                                          <p:attrName>ppt_w</p:attrName>
                                        </p:attrNameLst>
                                      </p:cBhvr>
                                      <p:tavLst>
                                        <p:tav tm="0">
                                          <p:val>
                                            <p:fltVal val="0"/>
                                          </p:val>
                                        </p:tav>
                                        <p:tav tm="100000">
                                          <p:val>
                                            <p:strVal val="#ppt_w"/>
                                          </p:val>
                                        </p:tav>
                                      </p:tavLst>
                                    </p:anim>
                                    <p:anim calcmode="lin" valueType="num">
                                      <p:cBhvr>
                                        <p:cTn id="182" dur="1000" fill="hold"/>
                                        <p:tgtEl>
                                          <p:spTgt spid="14"/>
                                        </p:tgtEl>
                                        <p:attrNameLst>
                                          <p:attrName>ppt_h</p:attrName>
                                        </p:attrNameLst>
                                      </p:cBhvr>
                                      <p:tavLst>
                                        <p:tav tm="0">
                                          <p:val>
                                            <p:fltVal val="0"/>
                                          </p:val>
                                        </p:tav>
                                        <p:tav tm="100000">
                                          <p:val>
                                            <p:strVal val="#ppt_h"/>
                                          </p:val>
                                        </p:tav>
                                      </p:tavLst>
                                    </p:anim>
                                    <p:anim calcmode="lin" valueType="num">
                                      <p:cBhvr>
                                        <p:cTn id="183" dur="1000" fill="hold"/>
                                        <p:tgtEl>
                                          <p:spTgt spid="14"/>
                                        </p:tgtEl>
                                        <p:attrNameLst>
                                          <p:attrName>style.rotation</p:attrName>
                                        </p:attrNameLst>
                                      </p:cBhvr>
                                      <p:tavLst>
                                        <p:tav tm="0">
                                          <p:val>
                                            <p:fltVal val="90"/>
                                          </p:val>
                                        </p:tav>
                                        <p:tav tm="100000">
                                          <p:val>
                                            <p:fltVal val="0"/>
                                          </p:val>
                                        </p:tav>
                                      </p:tavLst>
                                    </p:anim>
                                    <p:animEffect transition="in" filter="fade">
                                      <p:cBhvr>
                                        <p:cTn id="184" dur="1000"/>
                                        <p:tgtEl>
                                          <p:spTgt spid="14"/>
                                        </p:tgtEl>
                                      </p:cBhvr>
                                    </p:animEffect>
                                  </p:childTnLst>
                                </p:cTn>
                              </p:par>
                              <p:par>
                                <p:cTn id="185" presetID="31" presetClass="entr" presetSubtype="0" fill="hold" grpId="0" nodeType="withEffect">
                                  <p:stCondLst>
                                    <p:cond delay="0"/>
                                  </p:stCondLst>
                                  <p:childTnLst>
                                    <p:set>
                                      <p:cBhvr>
                                        <p:cTn id="186" dur="1" fill="hold">
                                          <p:stCondLst>
                                            <p:cond delay="0"/>
                                          </p:stCondLst>
                                        </p:cTn>
                                        <p:tgtEl>
                                          <p:spTgt spid="17"/>
                                        </p:tgtEl>
                                        <p:attrNameLst>
                                          <p:attrName>style.visibility</p:attrName>
                                        </p:attrNameLst>
                                      </p:cBhvr>
                                      <p:to>
                                        <p:strVal val="visible"/>
                                      </p:to>
                                    </p:set>
                                    <p:anim calcmode="lin" valueType="num">
                                      <p:cBhvr>
                                        <p:cTn id="187" dur="1000" fill="hold"/>
                                        <p:tgtEl>
                                          <p:spTgt spid="17"/>
                                        </p:tgtEl>
                                        <p:attrNameLst>
                                          <p:attrName>ppt_w</p:attrName>
                                        </p:attrNameLst>
                                      </p:cBhvr>
                                      <p:tavLst>
                                        <p:tav tm="0">
                                          <p:val>
                                            <p:fltVal val="0"/>
                                          </p:val>
                                        </p:tav>
                                        <p:tav tm="100000">
                                          <p:val>
                                            <p:strVal val="#ppt_w"/>
                                          </p:val>
                                        </p:tav>
                                      </p:tavLst>
                                    </p:anim>
                                    <p:anim calcmode="lin" valueType="num">
                                      <p:cBhvr>
                                        <p:cTn id="188" dur="1000" fill="hold"/>
                                        <p:tgtEl>
                                          <p:spTgt spid="17"/>
                                        </p:tgtEl>
                                        <p:attrNameLst>
                                          <p:attrName>ppt_h</p:attrName>
                                        </p:attrNameLst>
                                      </p:cBhvr>
                                      <p:tavLst>
                                        <p:tav tm="0">
                                          <p:val>
                                            <p:fltVal val="0"/>
                                          </p:val>
                                        </p:tav>
                                        <p:tav tm="100000">
                                          <p:val>
                                            <p:strVal val="#ppt_h"/>
                                          </p:val>
                                        </p:tav>
                                      </p:tavLst>
                                    </p:anim>
                                    <p:anim calcmode="lin" valueType="num">
                                      <p:cBhvr>
                                        <p:cTn id="189" dur="1000" fill="hold"/>
                                        <p:tgtEl>
                                          <p:spTgt spid="17"/>
                                        </p:tgtEl>
                                        <p:attrNameLst>
                                          <p:attrName>style.rotation</p:attrName>
                                        </p:attrNameLst>
                                      </p:cBhvr>
                                      <p:tavLst>
                                        <p:tav tm="0">
                                          <p:val>
                                            <p:fltVal val="90"/>
                                          </p:val>
                                        </p:tav>
                                        <p:tav tm="100000">
                                          <p:val>
                                            <p:fltVal val="0"/>
                                          </p:val>
                                        </p:tav>
                                      </p:tavLst>
                                    </p:anim>
                                    <p:animEffect transition="in" filter="fade">
                                      <p:cBhvr>
                                        <p:cTn id="190" dur="1000"/>
                                        <p:tgtEl>
                                          <p:spTgt spid="17"/>
                                        </p:tgtEl>
                                      </p:cBhvr>
                                    </p:animEffect>
                                  </p:childTnLst>
                                </p:cTn>
                              </p:par>
                              <p:par>
                                <p:cTn id="191" presetID="31" presetClass="entr" presetSubtype="0" fill="hold" grpId="0" nodeType="withEffect">
                                  <p:stCondLst>
                                    <p:cond delay="0"/>
                                  </p:stCondLst>
                                  <p:childTnLst>
                                    <p:set>
                                      <p:cBhvr>
                                        <p:cTn id="192" dur="1" fill="hold">
                                          <p:stCondLst>
                                            <p:cond delay="0"/>
                                          </p:stCondLst>
                                        </p:cTn>
                                        <p:tgtEl>
                                          <p:spTgt spid="18"/>
                                        </p:tgtEl>
                                        <p:attrNameLst>
                                          <p:attrName>style.visibility</p:attrName>
                                        </p:attrNameLst>
                                      </p:cBhvr>
                                      <p:to>
                                        <p:strVal val="visible"/>
                                      </p:to>
                                    </p:set>
                                    <p:anim calcmode="lin" valueType="num">
                                      <p:cBhvr>
                                        <p:cTn id="193" dur="1000" fill="hold"/>
                                        <p:tgtEl>
                                          <p:spTgt spid="18"/>
                                        </p:tgtEl>
                                        <p:attrNameLst>
                                          <p:attrName>ppt_w</p:attrName>
                                        </p:attrNameLst>
                                      </p:cBhvr>
                                      <p:tavLst>
                                        <p:tav tm="0">
                                          <p:val>
                                            <p:fltVal val="0"/>
                                          </p:val>
                                        </p:tav>
                                        <p:tav tm="100000">
                                          <p:val>
                                            <p:strVal val="#ppt_w"/>
                                          </p:val>
                                        </p:tav>
                                      </p:tavLst>
                                    </p:anim>
                                    <p:anim calcmode="lin" valueType="num">
                                      <p:cBhvr>
                                        <p:cTn id="194" dur="1000" fill="hold"/>
                                        <p:tgtEl>
                                          <p:spTgt spid="18"/>
                                        </p:tgtEl>
                                        <p:attrNameLst>
                                          <p:attrName>ppt_h</p:attrName>
                                        </p:attrNameLst>
                                      </p:cBhvr>
                                      <p:tavLst>
                                        <p:tav tm="0">
                                          <p:val>
                                            <p:fltVal val="0"/>
                                          </p:val>
                                        </p:tav>
                                        <p:tav tm="100000">
                                          <p:val>
                                            <p:strVal val="#ppt_h"/>
                                          </p:val>
                                        </p:tav>
                                      </p:tavLst>
                                    </p:anim>
                                    <p:anim calcmode="lin" valueType="num">
                                      <p:cBhvr>
                                        <p:cTn id="195" dur="1000" fill="hold"/>
                                        <p:tgtEl>
                                          <p:spTgt spid="18"/>
                                        </p:tgtEl>
                                        <p:attrNameLst>
                                          <p:attrName>style.rotation</p:attrName>
                                        </p:attrNameLst>
                                      </p:cBhvr>
                                      <p:tavLst>
                                        <p:tav tm="0">
                                          <p:val>
                                            <p:fltVal val="90"/>
                                          </p:val>
                                        </p:tav>
                                        <p:tav tm="100000">
                                          <p:val>
                                            <p:fltVal val="0"/>
                                          </p:val>
                                        </p:tav>
                                      </p:tavLst>
                                    </p:anim>
                                    <p:animEffect transition="in" filter="fade">
                                      <p:cBhvr>
                                        <p:cTn id="196" dur="1000"/>
                                        <p:tgtEl>
                                          <p:spTgt spid="18"/>
                                        </p:tgtEl>
                                      </p:cBhvr>
                                    </p:animEffect>
                                  </p:childTnLst>
                                </p:cTn>
                              </p:par>
                              <p:par>
                                <p:cTn id="197" presetID="31" presetClass="entr" presetSubtype="0" fill="hold" grpId="0" nodeType="withEffect">
                                  <p:stCondLst>
                                    <p:cond delay="0"/>
                                  </p:stCondLst>
                                  <p:childTnLst>
                                    <p:set>
                                      <p:cBhvr>
                                        <p:cTn id="198" dur="1" fill="hold">
                                          <p:stCondLst>
                                            <p:cond delay="0"/>
                                          </p:stCondLst>
                                        </p:cTn>
                                        <p:tgtEl>
                                          <p:spTgt spid="19"/>
                                        </p:tgtEl>
                                        <p:attrNameLst>
                                          <p:attrName>style.visibility</p:attrName>
                                        </p:attrNameLst>
                                      </p:cBhvr>
                                      <p:to>
                                        <p:strVal val="visible"/>
                                      </p:to>
                                    </p:set>
                                    <p:anim calcmode="lin" valueType="num">
                                      <p:cBhvr>
                                        <p:cTn id="199" dur="1000" fill="hold"/>
                                        <p:tgtEl>
                                          <p:spTgt spid="19"/>
                                        </p:tgtEl>
                                        <p:attrNameLst>
                                          <p:attrName>ppt_w</p:attrName>
                                        </p:attrNameLst>
                                      </p:cBhvr>
                                      <p:tavLst>
                                        <p:tav tm="0">
                                          <p:val>
                                            <p:fltVal val="0"/>
                                          </p:val>
                                        </p:tav>
                                        <p:tav tm="100000">
                                          <p:val>
                                            <p:strVal val="#ppt_w"/>
                                          </p:val>
                                        </p:tav>
                                      </p:tavLst>
                                    </p:anim>
                                    <p:anim calcmode="lin" valueType="num">
                                      <p:cBhvr>
                                        <p:cTn id="200" dur="1000" fill="hold"/>
                                        <p:tgtEl>
                                          <p:spTgt spid="19"/>
                                        </p:tgtEl>
                                        <p:attrNameLst>
                                          <p:attrName>ppt_h</p:attrName>
                                        </p:attrNameLst>
                                      </p:cBhvr>
                                      <p:tavLst>
                                        <p:tav tm="0">
                                          <p:val>
                                            <p:fltVal val="0"/>
                                          </p:val>
                                        </p:tav>
                                        <p:tav tm="100000">
                                          <p:val>
                                            <p:strVal val="#ppt_h"/>
                                          </p:val>
                                        </p:tav>
                                      </p:tavLst>
                                    </p:anim>
                                    <p:anim calcmode="lin" valueType="num">
                                      <p:cBhvr>
                                        <p:cTn id="201" dur="1000" fill="hold"/>
                                        <p:tgtEl>
                                          <p:spTgt spid="19"/>
                                        </p:tgtEl>
                                        <p:attrNameLst>
                                          <p:attrName>style.rotation</p:attrName>
                                        </p:attrNameLst>
                                      </p:cBhvr>
                                      <p:tavLst>
                                        <p:tav tm="0">
                                          <p:val>
                                            <p:fltVal val="90"/>
                                          </p:val>
                                        </p:tav>
                                        <p:tav tm="100000">
                                          <p:val>
                                            <p:fltVal val="0"/>
                                          </p:val>
                                        </p:tav>
                                      </p:tavLst>
                                    </p:anim>
                                    <p:animEffect transition="in" filter="fade">
                                      <p:cBhvr>
                                        <p:cTn id="202" dur="1000"/>
                                        <p:tgtEl>
                                          <p:spTgt spid="19"/>
                                        </p:tgtEl>
                                      </p:cBhvr>
                                    </p:animEffect>
                                  </p:childTnLst>
                                </p:cTn>
                              </p:par>
                              <p:par>
                                <p:cTn id="203" presetID="31" presetClass="entr" presetSubtype="0" fill="hold" nodeType="withEffect">
                                  <p:stCondLst>
                                    <p:cond delay="0"/>
                                  </p:stCondLst>
                                  <p:childTnLst>
                                    <p:set>
                                      <p:cBhvr>
                                        <p:cTn id="204" dur="1" fill="hold">
                                          <p:stCondLst>
                                            <p:cond delay="0"/>
                                          </p:stCondLst>
                                        </p:cTn>
                                        <p:tgtEl>
                                          <p:spTgt spid="22"/>
                                        </p:tgtEl>
                                        <p:attrNameLst>
                                          <p:attrName>style.visibility</p:attrName>
                                        </p:attrNameLst>
                                      </p:cBhvr>
                                      <p:to>
                                        <p:strVal val="visible"/>
                                      </p:to>
                                    </p:set>
                                    <p:anim calcmode="lin" valueType="num">
                                      <p:cBhvr>
                                        <p:cTn id="205" dur="1000" fill="hold"/>
                                        <p:tgtEl>
                                          <p:spTgt spid="22"/>
                                        </p:tgtEl>
                                        <p:attrNameLst>
                                          <p:attrName>ppt_w</p:attrName>
                                        </p:attrNameLst>
                                      </p:cBhvr>
                                      <p:tavLst>
                                        <p:tav tm="0">
                                          <p:val>
                                            <p:fltVal val="0"/>
                                          </p:val>
                                        </p:tav>
                                        <p:tav tm="100000">
                                          <p:val>
                                            <p:strVal val="#ppt_w"/>
                                          </p:val>
                                        </p:tav>
                                      </p:tavLst>
                                    </p:anim>
                                    <p:anim calcmode="lin" valueType="num">
                                      <p:cBhvr>
                                        <p:cTn id="206" dur="1000" fill="hold"/>
                                        <p:tgtEl>
                                          <p:spTgt spid="22"/>
                                        </p:tgtEl>
                                        <p:attrNameLst>
                                          <p:attrName>ppt_h</p:attrName>
                                        </p:attrNameLst>
                                      </p:cBhvr>
                                      <p:tavLst>
                                        <p:tav tm="0">
                                          <p:val>
                                            <p:fltVal val="0"/>
                                          </p:val>
                                        </p:tav>
                                        <p:tav tm="100000">
                                          <p:val>
                                            <p:strVal val="#ppt_h"/>
                                          </p:val>
                                        </p:tav>
                                      </p:tavLst>
                                    </p:anim>
                                    <p:anim calcmode="lin" valueType="num">
                                      <p:cBhvr>
                                        <p:cTn id="207" dur="1000" fill="hold"/>
                                        <p:tgtEl>
                                          <p:spTgt spid="22"/>
                                        </p:tgtEl>
                                        <p:attrNameLst>
                                          <p:attrName>style.rotation</p:attrName>
                                        </p:attrNameLst>
                                      </p:cBhvr>
                                      <p:tavLst>
                                        <p:tav tm="0">
                                          <p:val>
                                            <p:fltVal val="90"/>
                                          </p:val>
                                        </p:tav>
                                        <p:tav tm="100000">
                                          <p:val>
                                            <p:fltVal val="0"/>
                                          </p:val>
                                        </p:tav>
                                      </p:tavLst>
                                    </p:anim>
                                    <p:animEffect transition="in" filter="fade">
                                      <p:cBhvr>
                                        <p:cTn id="208" dur="1000"/>
                                        <p:tgtEl>
                                          <p:spTgt spid="22"/>
                                        </p:tgtEl>
                                      </p:cBhvr>
                                    </p:animEffect>
                                  </p:childTnLst>
                                </p:cTn>
                              </p:par>
                              <p:par>
                                <p:cTn id="209" presetID="31" presetClass="entr" presetSubtype="0" fill="hold" nodeType="withEffect">
                                  <p:stCondLst>
                                    <p:cond delay="0"/>
                                  </p:stCondLst>
                                  <p:childTnLst>
                                    <p:set>
                                      <p:cBhvr>
                                        <p:cTn id="210" dur="1" fill="hold">
                                          <p:stCondLst>
                                            <p:cond delay="0"/>
                                          </p:stCondLst>
                                        </p:cTn>
                                        <p:tgtEl>
                                          <p:spTgt spid="24"/>
                                        </p:tgtEl>
                                        <p:attrNameLst>
                                          <p:attrName>style.visibility</p:attrName>
                                        </p:attrNameLst>
                                      </p:cBhvr>
                                      <p:to>
                                        <p:strVal val="visible"/>
                                      </p:to>
                                    </p:set>
                                    <p:anim calcmode="lin" valueType="num">
                                      <p:cBhvr>
                                        <p:cTn id="211" dur="1000" fill="hold"/>
                                        <p:tgtEl>
                                          <p:spTgt spid="24"/>
                                        </p:tgtEl>
                                        <p:attrNameLst>
                                          <p:attrName>ppt_w</p:attrName>
                                        </p:attrNameLst>
                                      </p:cBhvr>
                                      <p:tavLst>
                                        <p:tav tm="0">
                                          <p:val>
                                            <p:fltVal val="0"/>
                                          </p:val>
                                        </p:tav>
                                        <p:tav tm="100000">
                                          <p:val>
                                            <p:strVal val="#ppt_w"/>
                                          </p:val>
                                        </p:tav>
                                      </p:tavLst>
                                    </p:anim>
                                    <p:anim calcmode="lin" valueType="num">
                                      <p:cBhvr>
                                        <p:cTn id="212" dur="1000" fill="hold"/>
                                        <p:tgtEl>
                                          <p:spTgt spid="24"/>
                                        </p:tgtEl>
                                        <p:attrNameLst>
                                          <p:attrName>ppt_h</p:attrName>
                                        </p:attrNameLst>
                                      </p:cBhvr>
                                      <p:tavLst>
                                        <p:tav tm="0">
                                          <p:val>
                                            <p:fltVal val="0"/>
                                          </p:val>
                                        </p:tav>
                                        <p:tav tm="100000">
                                          <p:val>
                                            <p:strVal val="#ppt_h"/>
                                          </p:val>
                                        </p:tav>
                                      </p:tavLst>
                                    </p:anim>
                                    <p:anim calcmode="lin" valueType="num">
                                      <p:cBhvr>
                                        <p:cTn id="213" dur="1000" fill="hold"/>
                                        <p:tgtEl>
                                          <p:spTgt spid="24"/>
                                        </p:tgtEl>
                                        <p:attrNameLst>
                                          <p:attrName>style.rotation</p:attrName>
                                        </p:attrNameLst>
                                      </p:cBhvr>
                                      <p:tavLst>
                                        <p:tav tm="0">
                                          <p:val>
                                            <p:fltVal val="90"/>
                                          </p:val>
                                        </p:tav>
                                        <p:tav tm="100000">
                                          <p:val>
                                            <p:fltVal val="0"/>
                                          </p:val>
                                        </p:tav>
                                      </p:tavLst>
                                    </p:anim>
                                    <p:animEffect transition="in" filter="fade">
                                      <p:cBhvr>
                                        <p:cTn id="214" dur="1000"/>
                                        <p:tgtEl>
                                          <p:spTgt spid="24"/>
                                        </p:tgtEl>
                                      </p:cBhvr>
                                    </p:animEffect>
                                  </p:childTnLst>
                                </p:cTn>
                              </p:par>
                              <p:par>
                                <p:cTn id="215" presetID="31" presetClass="entr" presetSubtype="0" fill="hold" grpId="0" nodeType="withEffect">
                                  <p:stCondLst>
                                    <p:cond delay="0"/>
                                  </p:stCondLst>
                                  <p:childTnLst>
                                    <p:set>
                                      <p:cBhvr>
                                        <p:cTn id="216" dur="1" fill="hold">
                                          <p:stCondLst>
                                            <p:cond delay="0"/>
                                          </p:stCondLst>
                                        </p:cTn>
                                        <p:tgtEl>
                                          <p:spTgt spid="26"/>
                                        </p:tgtEl>
                                        <p:attrNameLst>
                                          <p:attrName>style.visibility</p:attrName>
                                        </p:attrNameLst>
                                      </p:cBhvr>
                                      <p:to>
                                        <p:strVal val="visible"/>
                                      </p:to>
                                    </p:set>
                                    <p:anim calcmode="lin" valueType="num">
                                      <p:cBhvr>
                                        <p:cTn id="217" dur="1000" fill="hold"/>
                                        <p:tgtEl>
                                          <p:spTgt spid="26"/>
                                        </p:tgtEl>
                                        <p:attrNameLst>
                                          <p:attrName>ppt_w</p:attrName>
                                        </p:attrNameLst>
                                      </p:cBhvr>
                                      <p:tavLst>
                                        <p:tav tm="0">
                                          <p:val>
                                            <p:fltVal val="0"/>
                                          </p:val>
                                        </p:tav>
                                        <p:tav tm="100000">
                                          <p:val>
                                            <p:strVal val="#ppt_w"/>
                                          </p:val>
                                        </p:tav>
                                      </p:tavLst>
                                    </p:anim>
                                    <p:anim calcmode="lin" valueType="num">
                                      <p:cBhvr>
                                        <p:cTn id="218" dur="1000" fill="hold"/>
                                        <p:tgtEl>
                                          <p:spTgt spid="26"/>
                                        </p:tgtEl>
                                        <p:attrNameLst>
                                          <p:attrName>ppt_h</p:attrName>
                                        </p:attrNameLst>
                                      </p:cBhvr>
                                      <p:tavLst>
                                        <p:tav tm="0">
                                          <p:val>
                                            <p:fltVal val="0"/>
                                          </p:val>
                                        </p:tav>
                                        <p:tav tm="100000">
                                          <p:val>
                                            <p:strVal val="#ppt_h"/>
                                          </p:val>
                                        </p:tav>
                                      </p:tavLst>
                                    </p:anim>
                                    <p:anim calcmode="lin" valueType="num">
                                      <p:cBhvr>
                                        <p:cTn id="219" dur="1000" fill="hold"/>
                                        <p:tgtEl>
                                          <p:spTgt spid="26"/>
                                        </p:tgtEl>
                                        <p:attrNameLst>
                                          <p:attrName>style.rotation</p:attrName>
                                        </p:attrNameLst>
                                      </p:cBhvr>
                                      <p:tavLst>
                                        <p:tav tm="0">
                                          <p:val>
                                            <p:fltVal val="90"/>
                                          </p:val>
                                        </p:tav>
                                        <p:tav tm="100000">
                                          <p:val>
                                            <p:fltVal val="0"/>
                                          </p:val>
                                        </p:tav>
                                      </p:tavLst>
                                    </p:anim>
                                    <p:animEffect transition="in" filter="fade">
                                      <p:cBhvr>
                                        <p:cTn id="220" dur="1000"/>
                                        <p:tgtEl>
                                          <p:spTgt spid="26"/>
                                        </p:tgtEl>
                                      </p:cBhvr>
                                    </p:animEffect>
                                  </p:childTnLst>
                                </p:cTn>
                              </p:par>
                              <p:par>
                                <p:cTn id="221" presetID="31" presetClass="entr" presetSubtype="0" fill="hold" nodeType="withEffect">
                                  <p:stCondLst>
                                    <p:cond delay="0"/>
                                  </p:stCondLst>
                                  <p:childTnLst>
                                    <p:set>
                                      <p:cBhvr>
                                        <p:cTn id="222" dur="1" fill="hold">
                                          <p:stCondLst>
                                            <p:cond delay="0"/>
                                          </p:stCondLst>
                                        </p:cTn>
                                        <p:tgtEl>
                                          <p:spTgt spid="32"/>
                                        </p:tgtEl>
                                        <p:attrNameLst>
                                          <p:attrName>style.visibility</p:attrName>
                                        </p:attrNameLst>
                                      </p:cBhvr>
                                      <p:to>
                                        <p:strVal val="visible"/>
                                      </p:to>
                                    </p:set>
                                    <p:anim calcmode="lin" valueType="num">
                                      <p:cBhvr>
                                        <p:cTn id="223" dur="1000" fill="hold"/>
                                        <p:tgtEl>
                                          <p:spTgt spid="32"/>
                                        </p:tgtEl>
                                        <p:attrNameLst>
                                          <p:attrName>ppt_w</p:attrName>
                                        </p:attrNameLst>
                                      </p:cBhvr>
                                      <p:tavLst>
                                        <p:tav tm="0">
                                          <p:val>
                                            <p:fltVal val="0"/>
                                          </p:val>
                                        </p:tav>
                                        <p:tav tm="100000">
                                          <p:val>
                                            <p:strVal val="#ppt_w"/>
                                          </p:val>
                                        </p:tav>
                                      </p:tavLst>
                                    </p:anim>
                                    <p:anim calcmode="lin" valueType="num">
                                      <p:cBhvr>
                                        <p:cTn id="224" dur="1000" fill="hold"/>
                                        <p:tgtEl>
                                          <p:spTgt spid="32"/>
                                        </p:tgtEl>
                                        <p:attrNameLst>
                                          <p:attrName>ppt_h</p:attrName>
                                        </p:attrNameLst>
                                      </p:cBhvr>
                                      <p:tavLst>
                                        <p:tav tm="0">
                                          <p:val>
                                            <p:fltVal val="0"/>
                                          </p:val>
                                        </p:tav>
                                        <p:tav tm="100000">
                                          <p:val>
                                            <p:strVal val="#ppt_h"/>
                                          </p:val>
                                        </p:tav>
                                      </p:tavLst>
                                    </p:anim>
                                    <p:anim calcmode="lin" valueType="num">
                                      <p:cBhvr>
                                        <p:cTn id="225" dur="1000" fill="hold"/>
                                        <p:tgtEl>
                                          <p:spTgt spid="32"/>
                                        </p:tgtEl>
                                        <p:attrNameLst>
                                          <p:attrName>style.rotation</p:attrName>
                                        </p:attrNameLst>
                                      </p:cBhvr>
                                      <p:tavLst>
                                        <p:tav tm="0">
                                          <p:val>
                                            <p:fltVal val="90"/>
                                          </p:val>
                                        </p:tav>
                                        <p:tav tm="100000">
                                          <p:val>
                                            <p:fltVal val="0"/>
                                          </p:val>
                                        </p:tav>
                                      </p:tavLst>
                                    </p:anim>
                                    <p:animEffect transition="in" filter="fade">
                                      <p:cBhvr>
                                        <p:cTn id="226" dur="1000"/>
                                        <p:tgtEl>
                                          <p:spTgt spid="32"/>
                                        </p:tgtEl>
                                      </p:cBhvr>
                                    </p:animEffect>
                                  </p:childTnLst>
                                </p:cTn>
                              </p:par>
                              <p:par>
                                <p:cTn id="227" presetID="31" presetClass="entr" presetSubtype="0" fill="hold" nodeType="withEffect">
                                  <p:stCondLst>
                                    <p:cond delay="0"/>
                                  </p:stCondLst>
                                  <p:childTnLst>
                                    <p:set>
                                      <p:cBhvr>
                                        <p:cTn id="228" dur="1" fill="hold">
                                          <p:stCondLst>
                                            <p:cond delay="0"/>
                                          </p:stCondLst>
                                        </p:cTn>
                                        <p:tgtEl>
                                          <p:spTgt spid="44"/>
                                        </p:tgtEl>
                                        <p:attrNameLst>
                                          <p:attrName>style.visibility</p:attrName>
                                        </p:attrNameLst>
                                      </p:cBhvr>
                                      <p:to>
                                        <p:strVal val="visible"/>
                                      </p:to>
                                    </p:set>
                                    <p:anim calcmode="lin" valueType="num">
                                      <p:cBhvr>
                                        <p:cTn id="229" dur="1000" fill="hold"/>
                                        <p:tgtEl>
                                          <p:spTgt spid="44"/>
                                        </p:tgtEl>
                                        <p:attrNameLst>
                                          <p:attrName>ppt_w</p:attrName>
                                        </p:attrNameLst>
                                      </p:cBhvr>
                                      <p:tavLst>
                                        <p:tav tm="0">
                                          <p:val>
                                            <p:fltVal val="0"/>
                                          </p:val>
                                        </p:tav>
                                        <p:tav tm="100000">
                                          <p:val>
                                            <p:strVal val="#ppt_w"/>
                                          </p:val>
                                        </p:tav>
                                      </p:tavLst>
                                    </p:anim>
                                    <p:anim calcmode="lin" valueType="num">
                                      <p:cBhvr>
                                        <p:cTn id="230" dur="1000" fill="hold"/>
                                        <p:tgtEl>
                                          <p:spTgt spid="44"/>
                                        </p:tgtEl>
                                        <p:attrNameLst>
                                          <p:attrName>ppt_h</p:attrName>
                                        </p:attrNameLst>
                                      </p:cBhvr>
                                      <p:tavLst>
                                        <p:tav tm="0">
                                          <p:val>
                                            <p:fltVal val="0"/>
                                          </p:val>
                                        </p:tav>
                                        <p:tav tm="100000">
                                          <p:val>
                                            <p:strVal val="#ppt_h"/>
                                          </p:val>
                                        </p:tav>
                                      </p:tavLst>
                                    </p:anim>
                                    <p:anim calcmode="lin" valueType="num">
                                      <p:cBhvr>
                                        <p:cTn id="231" dur="1000" fill="hold"/>
                                        <p:tgtEl>
                                          <p:spTgt spid="44"/>
                                        </p:tgtEl>
                                        <p:attrNameLst>
                                          <p:attrName>style.rotation</p:attrName>
                                        </p:attrNameLst>
                                      </p:cBhvr>
                                      <p:tavLst>
                                        <p:tav tm="0">
                                          <p:val>
                                            <p:fltVal val="90"/>
                                          </p:val>
                                        </p:tav>
                                        <p:tav tm="100000">
                                          <p:val>
                                            <p:fltVal val="0"/>
                                          </p:val>
                                        </p:tav>
                                      </p:tavLst>
                                    </p:anim>
                                    <p:animEffect transition="in" filter="fade">
                                      <p:cBhvr>
                                        <p:cTn id="232" dur="1000"/>
                                        <p:tgtEl>
                                          <p:spTgt spid="44"/>
                                        </p:tgtEl>
                                      </p:cBhvr>
                                    </p:animEffect>
                                  </p:childTnLst>
                                </p:cTn>
                              </p:par>
                              <p:par>
                                <p:cTn id="233" presetID="31" presetClass="entr" presetSubtype="0" fill="hold" grpId="0" nodeType="withEffect">
                                  <p:stCondLst>
                                    <p:cond delay="0"/>
                                  </p:stCondLst>
                                  <p:childTnLst>
                                    <p:set>
                                      <p:cBhvr>
                                        <p:cTn id="234" dur="1" fill="hold">
                                          <p:stCondLst>
                                            <p:cond delay="0"/>
                                          </p:stCondLst>
                                        </p:cTn>
                                        <p:tgtEl>
                                          <p:spTgt spid="52"/>
                                        </p:tgtEl>
                                        <p:attrNameLst>
                                          <p:attrName>style.visibility</p:attrName>
                                        </p:attrNameLst>
                                      </p:cBhvr>
                                      <p:to>
                                        <p:strVal val="visible"/>
                                      </p:to>
                                    </p:set>
                                    <p:anim calcmode="lin" valueType="num">
                                      <p:cBhvr>
                                        <p:cTn id="235" dur="1000" fill="hold"/>
                                        <p:tgtEl>
                                          <p:spTgt spid="52"/>
                                        </p:tgtEl>
                                        <p:attrNameLst>
                                          <p:attrName>ppt_w</p:attrName>
                                        </p:attrNameLst>
                                      </p:cBhvr>
                                      <p:tavLst>
                                        <p:tav tm="0">
                                          <p:val>
                                            <p:fltVal val="0"/>
                                          </p:val>
                                        </p:tav>
                                        <p:tav tm="100000">
                                          <p:val>
                                            <p:strVal val="#ppt_w"/>
                                          </p:val>
                                        </p:tav>
                                      </p:tavLst>
                                    </p:anim>
                                    <p:anim calcmode="lin" valueType="num">
                                      <p:cBhvr>
                                        <p:cTn id="236" dur="1000" fill="hold"/>
                                        <p:tgtEl>
                                          <p:spTgt spid="52"/>
                                        </p:tgtEl>
                                        <p:attrNameLst>
                                          <p:attrName>ppt_h</p:attrName>
                                        </p:attrNameLst>
                                      </p:cBhvr>
                                      <p:tavLst>
                                        <p:tav tm="0">
                                          <p:val>
                                            <p:fltVal val="0"/>
                                          </p:val>
                                        </p:tav>
                                        <p:tav tm="100000">
                                          <p:val>
                                            <p:strVal val="#ppt_h"/>
                                          </p:val>
                                        </p:tav>
                                      </p:tavLst>
                                    </p:anim>
                                    <p:anim calcmode="lin" valueType="num">
                                      <p:cBhvr>
                                        <p:cTn id="237" dur="1000" fill="hold"/>
                                        <p:tgtEl>
                                          <p:spTgt spid="52"/>
                                        </p:tgtEl>
                                        <p:attrNameLst>
                                          <p:attrName>style.rotation</p:attrName>
                                        </p:attrNameLst>
                                      </p:cBhvr>
                                      <p:tavLst>
                                        <p:tav tm="0">
                                          <p:val>
                                            <p:fltVal val="90"/>
                                          </p:val>
                                        </p:tav>
                                        <p:tav tm="100000">
                                          <p:val>
                                            <p:fltVal val="0"/>
                                          </p:val>
                                        </p:tav>
                                      </p:tavLst>
                                    </p:anim>
                                    <p:animEffect transition="in" filter="fade">
                                      <p:cBhvr>
                                        <p:cTn id="238" dur="1000"/>
                                        <p:tgtEl>
                                          <p:spTgt spid="52"/>
                                        </p:tgtEl>
                                      </p:cBhvr>
                                    </p:animEffect>
                                  </p:childTnLst>
                                </p:cTn>
                              </p:par>
                              <p:par>
                                <p:cTn id="239" presetID="31" presetClass="entr" presetSubtype="0" fill="hold" grpId="0" nodeType="withEffect">
                                  <p:stCondLst>
                                    <p:cond delay="0"/>
                                  </p:stCondLst>
                                  <p:childTnLst>
                                    <p:set>
                                      <p:cBhvr>
                                        <p:cTn id="240" dur="1" fill="hold">
                                          <p:stCondLst>
                                            <p:cond delay="0"/>
                                          </p:stCondLst>
                                        </p:cTn>
                                        <p:tgtEl>
                                          <p:spTgt spid="55"/>
                                        </p:tgtEl>
                                        <p:attrNameLst>
                                          <p:attrName>style.visibility</p:attrName>
                                        </p:attrNameLst>
                                      </p:cBhvr>
                                      <p:to>
                                        <p:strVal val="visible"/>
                                      </p:to>
                                    </p:set>
                                    <p:anim calcmode="lin" valueType="num">
                                      <p:cBhvr>
                                        <p:cTn id="241" dur="1000" fill="hold"/>
                                        <p:tgtEl>
                                          <p:spTgt spid="55"/>
                                        </p:tgtEl>
                                        <p:attrNameLst>
                                          <p:attrName>ppt_w</p:attrName>
                                        </p:attrNameLst>
                                      </p:cBhvr>
                                      <p:tavLst>
                                        <p:tav tm="0">
                                          <p:val>
                                            <p:fltVal val="0"/>
                                          </p:val>
                                        </p:tav>
                                        <p:tav tm="100000">
                                          <p:val>
                                            <p:strVal val="#ppt_w"/>
                                          </p:val>
                                        </p:tav>
                                      </p:tavLst>
                                    </p:anim>
                                    <p:anim calcmode="lin" valueType="num">
                                      <p:cBhvr>
                                        <p:cTn id="242" dur="1000" fill="hold"/>
                                        <p:tgtEl>
                                          <p:spTgt spid="55"/>
                                        </p:tgtEl>
                                        <p:attrNameLst>
                                          <p:attrName>ppt_h</p:attrName>
                                        </p:attrNameLst>
                                      </p:cBhvr>
                                      <p:tavLst>
                                        <p:tav tm="0">
                                          <p:val>
                                            <p:fltVal val="0"/>
                                          </p:val>
                                        </p:tav>
                                        <p:tav tm="100000">
                                          <p:val>
                                            <p:strVal val="#ppt_h"/>
                                          </p:val>
                                        </p:tav>
                                      </p:tavLst>
                                    </p:anim>
                                    <p:anim calcmode="lin" valueType="num">
                                      <p:cBhvr>
                                        <p:cTn id="243" dur="1000" fill="hold"/>
                                        <p:tgtEl>
                                          <p:spTgt spid="55"/>
                                        </p:tgtEl>
                                        <p:attrNameLst>
                                          <p:attrName>style.rotation</p:attrName>
                                        </p:attrNameLst>
                                      </p:cBhvr>
                                      <p:tavLst>
                                        <p:tav tm="0">
                                          <p:val>
                                            <p:fltVal val="90"/>
                                          </p:val>
                                        </p:tav>
                                        <p:tav tm="100000">
                                          <p:val>
                                            <p:fltVal val="0"/>
                                          </p:val>
                                        </p:tav>
                                      </p:tavLst>
                                    </p:anim>
                                    <p:animEffect transition="in" filter="fade">
                                      <p:cBhvr>
                                        <p:cTn id="244" dur="1000"/>
                                        <p:tgtEl>
                                          <p:spTgt spid="55"/>
                                        </p:tgtEl>
                                      </p:cBhvr>
                                    </p:animEffect>
                                  </p:childTnLst>
                                </p:cTn>
                              </p:par>
                              <p:par>
                                <p:cTn id="245" presetID="31" presetClass="entr" presetSubtype="0" fill="hold" grpId="0" nodeType="withEffect">
                                  <p:stCondLst>
                                    <p:cond delay="0"/>
                                  </p:stCondLst>
                                  <p:childTnLst>
                                    <p:set>
                                      <p:cBhvr>
                                        <p:cTn id="246" dur="1" fill="hold">
                                          <p:stCondLst>
                                            <p:cond delay="0"/>
                                          </p:stCondLst>
                                        </p:cTn>
                                        <p:tgtEl>
                                          <p:spTgt spid="58"/>
                                        </p:tgtEl>
                                        <p:attrNameLst>
                                          <p:attrName>style.visibility</p:attrName>
                                        </p:attrNameLst>
                                      </p:cBhvr>
                                      <p:to>
                                        <p:strVal val="visible"/>
                                      </p:to>
                                    </p:set>
                                    <p:anim calcmode="lin" valueType="num">
                                      <p:cBhvr>
                                        <p:cTn id="247" dur="1000" fill="hold"/>
                                        <p:tgtEl>
                                          <p:spTgt spid="58"/>
                                        </p:tgtEl>
                                        <p:attrNameLst>
                                          <p:attrName>ppt_w</p:attrName>
                                        </p:attrNameLst>
                                      </p:cBhvr>
                                      <p:tavLst>
                                        <p:tav tm="0">
                                          <p:val>
                                            <p:fltVal val="0"/>
                                          </p:val>
                                        </p:tav>
                                        <p:tav tm="100000">
                                          <p:val>
                                            <p:strVal val="#ppt_w"/>
                                          </p:val>
                                        </p:tav>
                                      </p:tavLst>
                                    </p:anim>
                                    <p:anim calcmode="lin" valueType="num">
                                      <p:cBhvr>
                                        <p:cTn id="248" dur="1000" fill="hold"/>
                                        <p:tgtEl>
                                          <p:spTgt spid="58"/>
                                        </p:tgtEl>
                                        <p:attrNameLst>
                                          <p:attrName>ppt_h</p:attrName>
                                        </p:attrNameLst>
                                      </p:cBhvr>
                                      <p:tavLst>
                                        <p:tav tm="0">
                                          <p:val>
                                            <p:fltVal val="0"/>
                                          </p:val>
                                        </p:tav>
                                        <p:tav tm="100000">
                                          <p:val>
                                            <p:strVal val="#ppt_h"/>
                                          </p:val>
                                        </p:tav>
                                      </p:tavLst>
                                    </p:anim>
                                    <p:anim calcmode="lin" valueType="num">
                                      <p:cBhvr>
                                        <p:cTn id="249" dur="1000" fill="hold"/>
                                        <p:tgtEl>
                                          <p:spTgt spid="58"/>
                                        </p:tgtEl>
                                        <p:attrNameLst>
                                          <p:attrName>style.rotation</p:attrName>
                                        </p:attrNameLst>
                                      </p:cBhvr>
                                      <p:tavLst>
                                        <p:tav tm="0">
                                          <p:val>
                                            <p:fltVal val="90"/>
                                          </p:val>
                                        </p:tav>
                                        <p:tav tm="100000">
                                          <p:val>
                                            <p:fltVal val="0"/>
                                          </p:val>
                                        </p:tav>
                                      </p:tavLst>
                                    </p:anim>
                                    <p:animEffect transition="in" filter="fade">
                                      <p:cBhvr>
                                        <p:cTn id="250" dur="1000"/>
                                        <p:tgtEl>
                                          <p:spTgt spid="58"/>
                                        </p:tgtEl>
                                      </p:cBhvr>
                                    </p:animEffect>
                                  </p:childTnLst>
                                </p:cTn>
                              </p:par>
                              <p:par>
                                <p:cTn id="251" presetID="31" presetClass="entr" presetSubtype="0" fill="hold" nodeType="withEffect">
                                  <p:stCondLst>
                                    <p:cond delay="0"/>
                                  </p:stCondLst>
                                  <p:childTnLst>
                                    <p:set>
                                      <p:cBhvr>
                                        <p:cTn id="252" dur="1" fill="hold">
                                          <p:stCondLst>
                                            <p:cond delay="0"/>
                                          </p:stCondLst>
                                        </p:cTn>
                                        <p:tgtEl>
                                          <p:spTgt spid="59"/>
                                        </p:tgtEl>
                                        <p:attrNameLst>
                                          <p:attrName>style.visibility</p:attrName>
                                        </p:attrNameLst>
                                      </p:cBhvr>
                                      <p:to>
                                        <p:strVal val="visible"/>
                                      </p:to>
                                    </p:set>
                                    <p:anim calcmode="lin" valueType="num">
                                      <p:cBhvr>
                                        <p:cTn id="253" dur="1000" fill="hold"/>
                                        <p:tgtEl>
                                          <p:spTgt spid="59"/>
                                        </p:tgtEl>
                                        <p:attrNameLst>
                                          <p:attrName>ppt_w</p:attrName>
                                        </p:attrNameLst>
                                      </p:cBhvr>
                                      <p:tavLst>
                                        <p:tav tm="0">
                                          <p:val>
                                            <p:fltVal val="0"/>
                                          </p:val>
                                        </p:tav>
                                        <p:tav tm="100000">
                                          <p:val>
                                            <p:strVal val="#ppt_w"/>
                                          </p:val>
                                        </p:tav>
                                      </p:tavLst>
                                    </p:anim>
                                    <p:anim calcmode="lin" valueType="num">
                                      <p:cBhvr>
                                        <p:cTn id="254" dur="1000" fill="hold"/>
                                        <p:tgtEl>
                                          <p:spTgt spid="59"/>
                                        </p:tgtEl>
                                        <p:attrNameLst>
                                          <p:attrName>ppt_h</p:attrName>
                                        </p:attrNameLst>
                                      </p:cBhvr>
                                      <p:tavLst>
                                        <p:tav tm="0">
                                          <p:val>
                                            <p:fltVal val="0"/>
                                          </p:val>
                                        </p:tav>
                                        <p:tav tm="100000">
                                          <p:val>
                                            <p:strVal val="#ppt_h"/>
                                          </p:val>
                                        </p:tav>
                                      </p:tavLst>
                                    </p:anim>
                                    <p:anim calcmode="lin" valueType="num">
                                      <p:cBhvr>
                                        <p:cTn id="255" dur="1000" fill="hold"/>
                                        <p:tgtEl>
                                          <p:spTgt spid="59"/>
                                        </p:tgtEl>
                                        <p:attrNameLst>
                                          <p:attrName>style.rotation</p:attrName>
                                        </p:attrNameLst>
                                      </p:cBhvr>
                                      <p:tavLst>
                                        <p:tav tm="0">
                                          <p:val>
                                            <p:fltVal val="90"/>
                                          </p:val>
                                        </p:tav>
                                        <p:tav tm="100000">
                                          <p:val>
                                            <p:fltVal val="0"/>
                                          </p:val>
                                        </p:tav>
                                      </p:tavLst>
                                    </p:anim>
                                    <p:animEffect transition="in" filter="fade">
                                      <p:cBhvr>
                                        <p:cTn id="256" dur="1000"/>
                                        <p:tgtEl>
                                          <p:spTgt spid="5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28" grpId="0" animBg="1"/>
      <p:bldP spid="29" grpId="0" animBg="1"/>
      <p:bldP spid="33" grpId="0"/>
      <p:bldP spid="34" grpId="0"/>
      <p:bldP spid="47" grpId="0" animBg="1"/>
      <p:bldP spid="51" grpId="0" animBg="1"/>
      <p:bldP spid="53" grpId="0" animBg="1"/>
      <p:bldP spid="54" grpId="0" animBg="1"/>
      <p:bldP spid="56" grpId="0" animBg="1"/>
      <p:bldP spid="57" grpId="0"/>
      <p:bldP spid="2" grpId="0" animBg="1"/>
      <p:bldP spid="8" grpId="0" animBg="1"/>
      <p:bldP spid="9" grpId="0" animBg="1"/>
      <p:bldP spid="10" grpId="0"/>
      <p:bldP spid="12" grpId="0" animBg="1"/>
      <p:bldP spid="17" grpId="0" animBg="1"/>
      <p:bldP spid="18" grpId="0" animBg="1"/>
      <p:bldP spid="19" grpId="0"/>
      <p:bldP spid="26" grpId="0" animBg="1"/>
      <p:bldP spid="52" grpId="0" animBg="1"/>
      <p:bldP spid="55" grpId="0" animBg="1"/>
      <p:bldP spid="58" grpId="0"/>
    </p:bldLst>
  </p:timing>
  <p:extLst>
    <p:ext uri="{6950BFC3-D8DA-4A85-94F7-54DA5524770B}">
      <p188:commentRel xmlns:p188="http://schemas.microsoft.com/office/powerpoint/2018/8/main" r:id="rId3"/>
    </p:ext>
  </p:extLst>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732A8DEC-6319-8555-9FD2-8A87AA8BFFF4}"/>
              </a:ext>
            </a:extLst>
          </p:cNvPr>
          <p:cNvSpPr/>
          <p:nvPr/>
        </p:nvSpPr>
        <p:spPr>
          <a:xfrm>
            <a:off x="358346" y="2094914"/>
            <a:ext cx="11312954" cy="3359911"/>
          </a:xfrm>
          <a:prstGeom prst="rect">
            <a:avLst/>
          </a:prstGeom>
          <a:solidFill>
            <a:srgbClr val="99B4BF"/>
          </a:solidFill>
          <a:ln w="6350" cap="flat" cmpd="sng" algn="ctr">
            <a:solidFill>
              <a:srgbClr val="99B4BF"/>
            </a:solidFill>
            <a:prstDash val="solid"/>
            <a:miter lim="800000"/>
          </a:ln>
          <a:effectLst/>
        </p:spPr>
        <p:txBody>
          <a:bodyPr rtlCol="0" anchor="ctr"/>
          <a:lstStyle/>
          <a:p>
            <a:pPr algn="ctr" defTabSz="914400"/>
            <a:endParaRPr lang="de-DE" kern="0">
              <a:solidFill>
                <a:prstClr val="white"/>
              </a:solidFill>
              <a:latin typeface="Calibri" panose="020F0502020204030204"/>
            </a:endParaRPr>
          </a:p>
        </p:txBody>
      </p:sp>
      <p:sp>
        <p:nvSpPr>
          <p:cNvPr id="5" name="Rechteck: abgerundete Ecken 4">
            <a:extLst>
              <a:ext uri="{FF2B5EF4-FFF2-40B4-BE49-F238E27FC236}">
                <a16:creationId xmlns:a16="http://schemas.microsoft.com/office/drawing/2014/main" id="{80CD18CD-40AD-1257-9AC2-3AFD886CD3B8}"/>
              </a:ext>
            </a:extLst>
          </p:cNvPr>
          <p:cNvSpPr/>
          <p:nvPr/>
        </p:nvSpPr>
        <p:spPr>
          <a:xfrm>
            <a:off x="8357645" y="2569569"/>
            <a:ext cx="970675" cy="479921"/>
          </a:xfrm>
          <a:prstGeom prst="roundRect">
            <a:avLst/>
          </a:prstGeom>
          <a:solidFill>
            <a:srgbClr val="333366"/>
          </a:solidFill>
          <a:ln>
            <a:solidFill>
              <a:srgbClr val="33336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de-DE" sz="1200" b="1" dirty="0"/>
              <a:t>Deep Unity Discovery</a:t>
            </a:r>
            <a:endParaRPr lang="de-DE" sz="1200" b="1" dirty="0">
              <a:cs typeface="Calibri"/>
            </a:endParaRPr>
          </a:p>
        </p:txBody>
      </p:sp>
      <p:sp>
        <p:nvSpPr>
          <p:cNvPr id="6" name="Rechteck: abgerundete Ecken 5">
            <a:extLst>
              <a:ext uri="{FF2B5EF4-FFF2-40B4-BE49-F238E27FC236}">
                <a16:creationId xmlns:a16="http://schemas.microsoft.com/office/drawing/2014/main" id="{18F251FF-3A0B-CE40-719F-EA34B2D2B255}"/>
              </a:ext>
            </a:extLst>
          </p:cNvPr>
          <p:cNvSpPr/>
          <p:nvPr/>
        </p:nvSpPr>
        <p:spPr>
          <a:xfrm>
            <a:off x="1938183" y="4072194"/>
            <a:ext cx="9482475" cy="301468"/>
          </a:xfrm>
          <a:prstGeom prst="roundRect">
            <a:avLst/>
          </a:prstGeom>
          <a:solidFill>
            <a:srgbClr val="0099D9"/>
          </a:solidFill>
          <a:ln>
            <a:solidFill>
              <a:srgbClr val="009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t>Berechtigungen</a:t>
            </a:r>
            <a:endParaRPr lang="de-AT" sz="1200" b="1" dirty="0"/>
          </a:p>
        </p:txBody>
      </p:sp>
      <p:sp>
        <p:nvSpPr>
          <p:cNvPr id="7" name="Rechteck: abgerundete Ecken 6">
            <a:extLst>
              <a:ext uri="{FF2B5EF4-FFF2-40B4-BE49-F238E27FC236}">
                <a16:creationId xmlns:a16="http://schemas.microsoft.com/office/drawing/2014/main" id="{5DBCBE90-0279-7E1F-0BF1-FCB2064BABED}"/>
              </a:ext>
            </a:extLst>
          </p:cNvPr>
          <p:cNvSpPr/>
          <p:nvPr/>
        </p:nvSpPr>
        <p:spPr>
          <a:xfrm>
            <a:off x="1938183" y="4474841"/>
            <a:ext cx="9482475" cy="301468"/>
          </a:xfrm>
          <a:prstGeom prst="roundRect">
            <a:avLst/>
          </a:prstGeom>
          <a:solidFill>
            <a:srgbClr val="0099D9"/>
          </a:solidFill>
          <a:ln>
            <a:solidFill>
              <a:srgbClr val="0099D9"/>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de-DE" sz="1200" b="1" dirty="0"/>
              <a:t>Administration UI</a:t>
            </a:r>
            <a:endParaRPr lang="de-AT" sz="1200" b="1" dirty="0"/>
          </a:p>
        </p:txBody>
      </p:sp>
      <p:sp>
        <p:nvSpPr>
          <p:cNvPr id="8" name="Rechteck: abgerundete Ecken 7">
            <a:extLst>
              <a:ext uri="{FF2B5EF4-FFF2-40B4-BE49-F238E27FC236}">
                <a16:creationId xmlns:a16="http://schemas.microsoft.com/office/drawing/2014/main" id="{A02B0398-A3F7-9629-2875-7A4B0EEA32CC}"/>
              </a:ext>
            </a:extLst>
          </p:cNvPr>
          <p:cNvSpPr/>
          <p:nvPr/>
        </p:nvSpPr>
        <p:spPr>
          <a:xfrm>
            <a:off x="1938183" y="4878101"/>
            <a:ext cx="9482475" cy="301468"/>
          </a:xfrm>
          <a:prstGeom prst="roundRect">
            <a:avLst/>
          </a:prstGeom>
          <a:solidFill>
            <a:srgbClr val="0099D9"/>
          </a:solidFill>
          <a:ln>
            <a:solidFill>
              <a:srgbClr val="009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a:t>PostgreSQL</a:t>
            </a:r>
            <a:endParaRPr lang="de-AT" sz="1200" b="1"/>
          </a:p>
        </p:txBody>
      </p:sp>
      <p:cxnSp>
        <p:nvCxnSpPr>
          <p:cNvPr id="9" name="Straight Connector 82">
            <a:extLst>
              <a:ext uri="{FF2B5EF4-FFF2-40B4-BE49-F238E27FC236}">
                <a16:creationId xmlns:a16="http://schemas.microsoft.com/office/drawing/2014/main" id="{78986DAE-557A-3AE8-BD24-2471716FABA9}"/>
              </a:ext>
            </a:extLst>
          </p:cNvPr>
          <p:cNvCxnSpPr>
            <a:cxnSpLocks/>
          </p:cNvCxnSpPr>
          <p:nvPr/>
        </p:nvCxnSpPr>
        <p:spPr>
          <a:xfrm flipH="1">
            <a:off x="392701" y="5649167"/>
            <a:ext cx="11246944" cy="0"/>
          </a:xfrm>
          <a:prstGeom prst="line">
            <a:avLst/>
          </a:prstGeom>
          <a:ln w="25400">
            <a:solidFill>
              <a:schemeClr val="tx1">
                <a:alpha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10" name="Rechteck: abgerundete Ecken 9">
            <a:extLst>
              <a:ext uri="{FF2B5EF4-FFF2-40B4-BE49-F238E27FC236}">
                <a16:creationId xmlns:a16="http://schemas.microsoft.com/office/drawing/2014/main" id="{6F0037C9-3ABF-5247-D3A8-A07BD51987AA}"/>
              </a:ext>
            </a:extLst>
          </p:cNvPr>
          <p:cNvSpPr/>
          <p:nvPr/>
        </p:nvSpPr>
        <p:spPr>
          <a:xfrm>
            <a:off x="4994683" y="2571575"/>
            <a:ext cx="1002756" cy="479921"/>
          </a:xfrm>
          <a:prstGeom prst="roundRect">
            <a:avLst/>
          </a:prstGeom>
          <a:solidFill>
            <a:srgbClr val="333366"/>
          </a:solidFill>
          <a:ln>
            <a:solidFill>
              <a:srgbClr val="3333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err="1"/>
              <a:t>DeepUnity</a:t>
            </a:r>
            <a:endParaRPr lang="de-DE" sz="1200" b="1" dirty="0"/>
          </a:p>
          <a:p>
            <a:pPr algn="ctr"/>
            <a:r>
              <a:rPr lang="de-DE" sz="1200" b="1" dirty="0"/>
              <a:t>DICOM Services</a:t>
            </a:r>
            <a:endParaRPr lang="de-AT" sz="1200" b="1" dirty="0"/>
          </a:p>
        </p:txBody>
      </p:sp>
      <p:sp>
        <p:nvSpPr>
          <p:cNvPr id="11" name="Rechteck: abgerundete Ecken 10">
            <a:extLst>
              <a:ext uri="{FF2B5EF4-FFF2-40B4-BE49-F238E27FC236}">
                <a16:creationId xmlns:a16="http://schemas.microsoft.com/office/drawing/2014/main" id="{C5912B31-51BC-E5FB-BFE8-F396A3FF5636}"/>
              </a:ext>
            </a:extLst>
          </p:cNvPr>
          <p:cNvSpPr/>
          <p:nvPr/>
        </p:nvSpPr>
        <p:spPr>
          <a:xfrm>
            <a:off x="3863002" y="2571575"/>
            <a:ext cx="1002756" cy="479921"/>
          </a:xfrm>
          <a:prstGeom prst="roundRect">
            <a:avLst/>
          </a:prstGeom>
          <a:solidFill>
            <a:srgbClr val="333366"/>
          </a:solidFill>
          <a:ln>
            <a:solidFill>
              <a:srgbClr val="3333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t>HYDMedia Workflows</a:t>
            </a:r>
            <a:endParaRPr lang="de-AT" sz="1200" b="1" dirty="0"/>
          </a:p>
        </p:txBody>
      </p:sp>
      <p:grpSp>
        <p:nvGrpSpPr>
          <p:cNvPr id="12" name="Gruppieren 11">
            <a:extLst>
              <a:ext uri="{FF2B5EF4-FFF2-40B4-BE49-F238E27FC236}">
                <a16:creationId xmlns:a16="http://schemas.microsoft.com/office/drawing/2014/main" id="{D3C94723-0227-C057-E3A3-30DA44669867}"/>
              </a:ext>
            </a:extLst>
          </p:cNvPr>
          <p:cNvGrpSpPr/>
          <p:nvPr/>
        </p:nvGrpSpPr>
        <p:grpSpPr>
          <a:xfrm>
            <a:off x="358346" y="5750134"/>
            <a:ext cx="11312954" cy="579868"/>
            <a:chOff x="821290" y="5216701"/>
            <a:chExt cx="10145092" cy="579868"/>
          </a:xfrm>
        </p:grpSpPr>
        <p:sp>
          <p:nvSpPr>
            <p:cNvPr id="13" name="Rechteck: abgerundete Ecken 12">
              <a:extLst>
                <a:ext uri="{FF2B5EF4-FFF2-40B4-BE49-F238E27FC236}">
                  <a16:creationId xmlns:a16="http://schemas.microsoft.com/office/drawing/2014/main" id="{9CE86BC6-B4F7-A776-EEBD-20393FF8F476}"/>
                </a:ext>
              </a:extLst>
            </p:cNvPr>
            <p:cNvSpPr/>
            <p:nvPr/>
          </p:nvSpPr>
          <p:spPr>
            <a:xfrm>
              <a:off x="821290" y="5275123"/>
              <a:ext cx="10145092" cy="463025"/>
            </a:xfrm>
            <a:prstGeom prst="roundRect">
              <a:avLst/>
            </a:prstGeom>
            <a:solidFill>
              <a:srgbClr val="4198B6">
                <a:alpha val="50000"/>
              </a:srgbClr>
            </a:solidFill>
            <a:ln>
              <a:noFill/>
            </a:ln>
          </p:spPr>
          <p:style>
            <a:lnRef idx="0">
              <a:scrgbClr r="0" g="0" b="0"/>
            </a:lnRef>
            <a:fillRef idx="0">
              <a:scrgbClr r="0" g="0" b="0"/>
            </a:fillRef>
            <a:effectRef idx="0">
              <a:scrgbClr r="0" g="0" b="0"/>
            </a:effectRef>
            <a:fontRef idx="minor">
              <a:schemeClr val="lt1"/>
            </a:fontRef>
          </p:style>
          <p:txBody>
            <a:bodyPr lIns="91440" tIns="45720" rIns="91440" bIns="45720" rtlCol="0" anchor="ctr"/>
            <a:lstStyle/>
            <a:p>
              <a:pPr algn="ctr"/>
              <a:r>
                <a:rPr lang="de-DE"/>
                <a:t>Installation- and Update Infrastructure</a:t>
              </a:r>
              <a:endParaRPr lang="de-AT"/>
            </a:p>
          </p:txBody>
        </p:sp>
        <p:pic>
          <p:nvPicPr>
            <p:cNvPr id="14" name="Graphic 23" descr="Cloud">
              <a:extLst>
                <a:ext uri="{FF2B5EF4-FFF2-40B4-BE49-F238E27FC236}">
                  <a16:creationId xmlns:a16="http://schemas.microsoft.com/office/drawing/2014/main" id="{74D9DC8B-A789-FB9F-7D3A-2D422150340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296097" y="5216701"/>
              <a:ext cx="609191" cy="579868"/>
            </a:xfrm>
            <a:prstGeom prst="rect">
              <a:avLst/>
            </a:prstGeom>
          </p:spPr>
        </p:pic>
      </p:grpSp>
      <p:sp>
        <p:nvSpPr>
          <p:cNvPr id="15" name="Rectangle 5">
            <a:extLst>
              <a:ext uri="{FF2B5EF4-FFF2-40B4-BE49-F238E27FC236}">
                <a16:creationId xmlns:a16="http://schemas.microsoft.com/office/drawing/2014/main" id="{9E3E1A78-17B9-85DF-82AE-719CCE2CB00D}"/>
              </a:ext>
            </a:extLst>
          </p:cNvPr>
          <p:cNvSpPr/>
          <p:nvPr/>
        </p:nvSpPr>
        <p:spPr>
          <a:xfrm>
            <a:off x="476538" y="3901610"/>
            <a:ext cx="351493" cy="611632"/>
          </a:xfrm>
          <a:prstGeom prst="rect">
            <a:avLst/>
          </a:prstGeom>
          <a:solidFill>
            <a:srgbClr val="BBE46A"/>
          </a:solidFill>
          <a:ln>
            <a:solidFill>
              <a:srgbClr val="BBE46A"/>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DE"/>
              <a:t>RAM</a:t>
            </a:r>
          </a:p>
        </p:txBody>
      </p:sp>
      <p:sp>
        <p:nvSpPr>
          <p:cNvPr id="16" name="Rectangle 4">
            <a:extLst>
              <a:ext uri="{FF2B5EF4-FFF2-40B4-BE49-F238E27FC236}">
                <a16:creationId xmlns:a16="http://schemas.microsoft.com/office/drawing/2014/main" id="{589B3DC9-5468-9F1F-D039-044C740BF391}"/>
              </a:ext>
            </a:extLst>
          </p:cNvPr>
          <p:cNvSpPr/>
          <p:nvPr/>
        </p:nvSpPr>
        <p:spPr>
          <a:xfrm>
            <a:off x="478898" y="3242746"/>
            <a:ext cx="349134" cy="611632"/>
          </a:xfrm>
          <a:prstGeom prst="rect">
            <a:avLst/>
          </a:prstGeom>
          <a:solidFill>
            <a:srgbClr val="BBE46A"/>
          </a:solidFill>
          <a:ln>
            <a:solidFill>
              <a:srgbClr val="BBE46A"/>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DE"/>
              <a:t>I/O</a:t>
            </a:r>
          </a:p>
        </p:txBody>
      </p:sp>
      <p:sp>
        <p:nvSpPr>
          <p:cNvPr id="17" name="Rectangle 6">
            <a:extLst>
              <a:ext uri="{FF2B5EF4-FFF2-40B4-BE49-F238E27FC236}">
                <a16:creationId xmlns:a16="http://schemas.microsoft.com/office/drawing/2014/main" id="{8AFE465E-B272-B2FB-6163-DBFBE6674760}"/>
              </a:ext>
            </a:extLst>
          </p:cNvPr>
          <p:cNvSpPr/>
          <p:nvPr/>
        </p:nvSpPr>
        <p:spPr>
          <a:xfrm>
            <a:off x="478898" y="4560486"/>
            <a:ext cx="349134" cy="611632"/>
          </a:xfrm>
          <a:prstGeom prst="rect">
            <a:avLst/>
          </a:prstGeom>
          <a:solidFill>
            <a:srgbClr val="BBE46A"/>
          </a:solidFill>
          <a:ln>
            <a:solidFill>
              <a:srgbClr val="BBE46A"/>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DE"/>
              <a:t>Disk</a:t>
            </a:r>
          </a:p>
        </p:txBody>
      </p:sp>
      <p:sp>
        <p:nvSpPr>
          <p:cNvPr id="18" name="Rechteck: abgerundete Ecken 17">
            <a:extLst>
              <a:ext uri="{FF2B5EF4-FFF2-40B4-BE49-F238E27FC236}">
                <a16:creationId xmlns:a16="http://schemas.microsoft.com/office/drawing/2014/main" id="{E482310D-0541-8319-8CA6-8A9331B6B26E}"/>
              </a:ext>
            </a:extLst>
          </p:cNvPr>
          <p:cNvSpPr/>
          <p:nvPr/>
        </p:nvSpPr>
        <p:spPr>
          <a:xfrm>
            <a:off x="2768698" y="2579851"/>
            <a:ext cx="960084" cy="479921"/>
          </a:xfrm>
          <a:prstGeom prst="roundRect">
            <a:avLst/>
          </a:prstGeom>
          <a:solidFill>
            <a:srgbClr val="333366"/>
          </a:solidFill>
          <a:ln>
            <a:solidFill>
              <a:srgbClr val="3333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t>HYDMedia G6</a:t>
            </a:r>
            <a:endParaRPr lang="de-AT" sz="1200" b="1" dirty="0"/>
          </a:p>
        </p:txBody>
      </p:sp>
      <p:sp>
        <p:nvSpPr>
          <p:cNvPr id="19" name="Rechteck: abgerundete Ecken 18">
            <a:extLst>
              <a:ext uri="{FF2B5EF4-FFF2-40B4-BE49-F238E27FC236}">
                <a16:creationId xmlns:a16="http://schemas.microsoft.com/office/drawing/2014/main" id="{B3AE5242-699E-D0D6-FC63-FDAA3FA6F58E}"/>
              </a:ext>
            </a:extLst>
          </p:cNvPr>
          <p:cNvSpPr/>
          <p:nvPr/>
        </p:nvSpPr>
        <p:spPr>
          <a:xfrm>
            <a:off x="1938183" y="3211528"/>
            <a:ext cx="9482475" cy="301468"/>
          </a:xfrm>
          <a:prstGeom prst="roundRect">
            <a:avLst/>
          </a:prstGeom>
          <a:solidFill>
            <a:srgbClr val="333366"/>
          </a:solidFill>
          <a:ln>
            <a:solidFill>
              <a:srgbClr val="3333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err="1"/>
              <a:t>DeepUnity</a:t>
            </a:r>
            <a:r>
              <a:rPr lang="de-DE" sz="1200" b="1" dirty="0"/>
              <a:t> Universal App</a:t>
            </a:r>
            <a:endParaRPr lang="de-AT" sz="1200" b="1" dirty="0"/>
          </a:p>
        </p:txBody>
      </p:sp>
      <p:sp>
        <p:nvSpPr>
          <p:cNvPr id="20" name="Rechteck: abgerundete Ecken 19">
            <a:extLst>
              <a:ext uri="{FF2B5EF4-FFF2-40B4-BE49-F238E27FC236}">
                <a16:creationId xmlns:a16="http://schemas.microsoft.com/office/drawing/2014/main" id="{F189C43E-CE4F-9549-3BDC-D87A31578239}"/>
              </a:ext>
            </a:extLst>
          </p:cNvPr>
          <p:cNvSpPr/>
          <p:nvPr/>
        </p:nvSpPr>
        <p:spPr>
          <a:xfrm>
            <a:off x="1934152" y="3675033"/>
            <a:ext cx="9482475" cy="301468"/>
          </a:xfrm>
          <a:prstGeom prst="roundRect">
            <a:avLst/>
          </a:prstGeom>
          <a:solidFill>
            <a:srgbClr val="0099D9"/>
          </a:solidFill>
          <a:ln>
            <a:solidFill>
              <a:srgbClr val="009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t>Workflow</a:t>
            </a:r>
            <a:endParaRPr lang="de-AT" sz="1200" b="1" dirty="0"/>
          </a:p>
        </p:txBody>
      </p:sp>
      <p:sp>
        <p:nvSpPr>
          <p:cNvPr id="21" name="Rectangle 3">
            <a:extLst>
              <a:ext uri="{FF2B5EF4-FFF2-40B4-BE49-F238E27FC236}">
                <a16:creationId xmlns:a16="http://schemas.microsoft.com/office/drawing/2014/main" id="{7FD9F0E6-334E-B556-83AA-F61BB93F4CDB}"/>
              </a:ext>
            </a:extLst>
          </p:cNvPr>
          <p:cNvSpPr/>
          <p:nvPr/>
        </p:nvSpPr>
        <p:spPr>
          <a:xfrm rot="16200000">
            <a:off x="344257" y="2715119"/>
            <a:ext cx="611632" cy="349136"/>
          </a:xfrm>
          <a:prstGeom prst="rect">
            <a:avLst/>
          </a:prstGeom>
          <a:solidFill>
            <a:srgbClr val="BBE46A"/>
          </a:solidFill>
          <a:ln>
            <a:solidFill>
              <a:srgbClr val="BBE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DE"/>
              <a:t>CPU</a:t>
            </a:r>
          </a:p>
        </p:txBody>
      </p:sp>
      <p:sp>
        <p:nvSpPr>
          <p:cNvPr id="22" name="Rechteck: abgerundete Ecken 21">
            <a:extLst>
              <a:ext uri="{FF2B5EF4-FFF2-40B4-BE49-F238E27FC236}">
                <a16:creationId xmlns:a16="http://schemas.microsoft.com/office/drawing/2014/main" id="{20790087-0511-88C4-8DFE-E8856B3AF6AF}"/>
              </a:ext>
            </a:extLst>
          </p:cNvPr>
          <p:cNvSpPr/>
          <p:nvPr/>
        </p:nvSpPr>
        <p:spPr>
          <a:xfrm rot="16200000">
            <a:off x="236533" y="3679334"/>
            <a:ext cx="2619544" cy="389486"/>
          </a:xfrm>
          <a:prstGeom prst="roundRect">
            <a:avLst/>
          </a:prstGeom>
          <a:solidFill>
            <a:srgbClr val="685BC7"/>
          </a:solidFill>
          <a:ln>
            <a:solidFill>
              <a:srgbClr val="685BC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Kubernetes</a:t>
            </a:r>
            <a:endParaRPr lang="de-AT" dirty="0"/>
          </a:p>
        </p:txBody>
      </p:sp>
      <p:sp>
        <p:nvSpPr>
          <p:cNvPr id="23" name="Rechteck: abgerundete Ecken 22">
            <a:extLst>
              <a:ext uri="{FF2B5EF4-FFF2-40B4-BE49-F238E27FC236}">
                <a16:creationId xmlns:a16="http://schemas.microsoft.com/office/drawing/2014/main" id="{8688494C-5D5C-6B3C-1C33-7641E3705BC9}"/>
              </a:ext>
            </a:extLst>
          </p:cNvPr>
          <p:cNvSpPr/>
          <p:nvPr/>
        </p:nvSpPr>
        <p:spPr>
          <a:xfrm>
            <a:off x="931503" y="2556853"/>
            <a:ext cx="316588" cy="2615265"/>
          </a:xfrm>
          <a:prstGeom prst="roundRect">
            <a:avLst/>
          </a:prstGeom>
          <a:solidFill>
            <a:srgbClr val="4198B6"/>
          </a:solidFill>
          <a:ln w="6350" cap="flat" cmpd="sng" algn="ctr">
            <a:solidFill>
              <a:srgbClr val="4198B6"/>
            </a:solidFill>
            <a:prstDash val="solid"/>
            <a:miter lim="800000"/>
          </a:ln>
          <a:effectLst/>
        </p:spPr>
        <p:txBody>
          <a:bodyPr vert="vert270" rtlCol="0" anchor="ctr"/>
          <a:lstStyle/>
          <a:p>
            <a:pPr algn="ctr" defTabSz="914400"/>
            <a:r>
              <a:rPr lang="en-US" sz="1600" kern="0">
                <a:solidFill>
                  <a:prstClr val="white"/>
                </a:solidFill>
                <a:latin typeface="Calibri" panose="020F0502020204030204"/>
              </a:rPr>
              <a:t>OS</a:t>
            </a:r>
          </a:p>
        </p:txBody>
      </p:sp>
      <p:sp>
        <p:nvSpPr>
          <p:cNvPr id="24" name="Rechteck: abgerundete Ecken 85">
            <a:extLst>
              <a:ext uri="{FF2B5EF4-FFF2-40B4-BE49-F238E27FC236}">
                <a16:creationId xmlns:a16="http://schemas.microsoft.com/office/drawing/2014/main" id="{E0A15413-BAAB-D783-1B90-4ECC2C23BCD0}"/>
              </a:ext>
            </a:extLst>
          </p:cNvPr>
          <p:cNvSpPr/>
          <p:nvPr/>
        </p:nvSpPr>
        <p:spPr>
          <a:xfrm>
            <a:off x="6126364" y="2579851"/>
            <a:ext cx="1002756" cy="479921"/>
          </a:xfrm>
          <a:prstGeom prst="roundRect">
            <a:avLst/>
          </a:prstGeom>
          <a:solidFill>
            <a:srgbClr val="333366"/>
          </a:solidFill>
          <a:ln>
            <a:solidFill>
              <a:srgbClr val="3333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t>HYDMedia </a:t>
            </a:r>
            <a:r>
              <a:rPr lang="de-DE" sz="1200" b="1" dirty="0" err="1"/>
              <a:t>Interfacing</a:t>
            </a:r>
            <a:endParaRPr lang="de-AT" sz="1200" b="1" dirty="0"/>
          </a:p>
        </p:txBody>
      </p:sp>
      <p:sp>
        <p:nvSpPr>
          <p:cNvPr id="25" name="Titel 6">
            <a:extLst>
              <a:ext uri="{FF2B5EF4-FFF2-40B4-BE49-F238E27FC236}">
                <a16:creationId xmlns:a16="http://schemas.microsoft.com/office/drawing/2014/main" id="{91E96C4E-E4C3-641C-B22A-B4F6FC38ABDE}"/>
              </a:ext>
            </a:extLst>
          </p:cNvPr>
          <p:cNvSpPr txBox="1">
            <a:spLocks/>
          </p:cNvSpPr>
          <p:nvPr/>
        </p:nvSpPr>
        <p:spPr>
          <a:xfrm>
            <a:off x="475503" y="1117526"/>
            <a:ext cx="11056589" cy="456632"/>
          </a:xfrm>
          <a:prstGeom prst="rect">
            <a:avLst/>
          </a:prstGeom>
        </p:spPr>
        <p:txBody>
          <a:bodyPr anchor="t" anchorCtr="0">
            <a:noAutofit/>
          </a:bodyPr>
          <a:lstStyle>
            <a:lvl1pPr algn="l" rtl="0" eaLnBrk="0" fontAlgn="base" hangingPunct="0">
              <a:lnSpc>
                <a:spcPct val="90000"/>
              </a:lnSpc>
              <a:spcBef>
                <a:spcPct val="0"/>
              </a:spcBef>
              <a:spcAft>
                <a:spcPct val="0"/>
              </a:spcAft>
              <a:defRPr sz="2400" b="1" i="0" kern="1200">
                <a:solidFill>
                  <a:schemeClr val="accent1"/>
                </a:solidFill>
                <a:latin typeface="Montserrat" pitchFamily="2" charset="77"/>
                <a:ea typeface="+mj-ea"/>
                <a:cs typeface="+mj-cs"/>
              </a:defRPr>
            </a:lvl1pPr>
            <a:lvl2pPr algn="l" rtl="0" eaLnBrk="0" fontAlgn="base" hangingPunct="0">
              <a:lnSpc>
                <a:spcPct val="90000"/>
              </a:lnSpc>
              <a:spcBef>
                <a:spcPct val="0"/>
              </a:spcBef>
              <a:spcAft>
                <a:spcPct val="0"/>
              </a:spcAft>
              <a:defRPr sz="4400">
                <a:solidFill>
                  <a:schemeClr val="tx1"/>
                </a:solidFill>
                <a:latin typeface="Montserrat" panose="00000500000000000000" pitchFamily="2" charset="0"/>
              </a:defRPr>
            </a:lvl2pPr>
            <a:lvl3pPr algn="l" rtl="0" eaLnBrk="0" fontAlgn="base" hangingPunct="0">
              <a:lnSpc>
                <a:spcPct val="90000"/>
              </a:lnSpc>
              <a:spcBef>
                <a:spcPct val="0"/>
              </a:spcBef>
              <a:spcAft>
                <a:spcPct val="0"/>
              </a:spcAft>
              <a:defRPr sz="4400">
                <a:solidFill>
                  <a:schemeClr val="tx1"/>
                </a:solidFill>
                <a:latin typeface="Montserrat" panose="00000500000000000000" pitchFamily="2" charset="0"/>
              </a:defRPr>
            </a:lvl3pPr>
            <a:lvl4pPr algn="l" rtl="0" eaLnBrk="0" fontAlgn="base" hangingPunct="0">
              <a:lnSpc>
                <a:spcPct val="90000"/>
              </a:lnSpc>
              <a:spcBef>
                <a:spcPct val="0"/>
              </a:spcBef>
              <a:spcAft>
                <a:spcPct val="0"/>
              </a:spcAft>
              <a:defRPr sz="4400">
                <a:solidFill>
                  <a:schemeClr val="tx1"/>
                </a:solidFill>
                <a:latin typeface="Montserrat" panose="00000500000000000000" pitchFamily="2" charset="0"/>
              </a:defRPr>
            </a:lvl4pPr>
            <a:lvl5pPr algn="l" rtl="0" eaLnBrk="0" fontAlgn="base" hangingPunct="0">
              <a:lnSpc>
                <a:spcPct val="90000"/>
              </a:lnSpc>
              <a:spcBef>
                <a:spcPct val="0"/>
              </a:spcBef>
              <a:spcAft>
                <a:spcPct val="0"/>
              </a:spcAft>
              <a:defRPr sz="4400">
                <a:solidFill>
                  <a:schemeClr val="tx1"/>
                </a:solidFill>
                <a:latin typeface="Montserrat" panose="00000500000000000000" pitchFamily="2" charset="0"/>
              </a:defRPr>
            </a:lvl5pPr>
            <a:lvl6pPr marL="457200" algn="l" rtl="0" fontAlgn="base">
              <a:lnSpc>
                <a:spcPct val="90000"/>
              </a:lnSpc>
              <a:spcBef>
                <a:spcPct val="0"/>
              </a:spcBef>
              <a:spcAft>
                <a:spcPct val="0"/>
              </a:spcAft>
              <a:defRPr sz="4400">
                <a:solidFill>
                  <a:schemeClr val="tx1"/>
                </a:solidFill>
                <a:latin typeface="Montserrat" panose="00000500000000000000" pitchFamily="2" charset="0"/>
              </a:defRPr>
            </a:lvl6pPr>
            <a:lvl7pPr marL="914400" algn="l" rtl="0" fontAlgn="base">
              <a:lnSpc>
                <a:spcPct val="90000"/>
              </a:lnSpc>
              <a:spcBef>
                <a:spcPct val="0"/>
              </a:spcBef>
              <a:spcAft>
                <a:spcPct val="0"/>
              </a:spcAft>
              <a:defRPr sz="4400">
                <a:solidFill>
                  <a:schemeClr val="tx1"/>
                </a:solidFill>
                <a:latin typeface="Montserrat" panose="00000500000000000000" pitchFamily="2" charset="0"/>
              </a:defRPr>
            </a:lvl7pPr>
            <a:lvl8pPr marL="1371600" algn="l" rtl="0" fontAlgn="base">
              <a:lnSpc>
                <a:spcPct val="90000"/>
              </a:lnSpc>
              <a:spcBef>
                <a:spcPct val="0"/>
              </a:spcBef>
              <a:spcAft>
                <a:spcPct val="0"/>
              </a:spcAft>
              <a:defRPr sz="4400">
                <a:solidFill>
                  <a:schemeClr val="tx1"/>
                </a:solidFill>
                <a:latin typeface="Montserrat" panose="00000500000000000000" pitchFamily="2" charset="0"/>
              </a:defRPr>
            </a:lvl8pPr>
            <a:lvl9pPr marL="1828800" algn="l" rtl="0" fontAlgn="base">
              <a:lnSpc>
                <a:spcPct val="90000"/>
              </a:lnSpc>
              <a:spcBef>
                <a:spcPct val="0"/>
              </a:spcBef>
              <a:spcAft>
                <a:spcPct val="0"/>
              </a:spcAft>
              <a:defRPr sz="4400">
                <a:solidFill>
                  <a:schemeClr val="tx1"/>
                </a:solidFill>
                <a:latin typeface="Montserrat" panose="00000500000000000000" pitchFamily="2" charset="0"/>
              </a:defRPr>
            </a:lvl9pPr>
          </a:lstStyle>
          <a:p>
            <a:r>
              <a:rPr lang="de-DE" dirty="0"/>
              <a:t>HYDMedia / Deep Unity </a:t>
            </a:r>
            <a:r>
              <a:rPr lang="de-DE" dirty="0" err="1"/>
              <a:t>eVNA</a:t>
            </a:r>
            <a:r>
              <a:rPr lang="de-DE" dirty="0"/>
              <a:t> – Microservice Plattformstrategie</a:t>
            </a:r>
          </a:p>
        </p:txBody>
      </p:sp>
      <p:sp>
        <p:nvSpPr>
          <p:cNvPr id="26" name="Rechteck: abgerundete Ecken 25">
            <a:extLst>
              <a:ext uri="{FF2B5EF4-FFF2-40B4-BE49-F238E27FC236}">
                <a16:creationId xmlns:a16="http://schemas.microsoft.com/office/drawing/2014/main" id="{2A1DE6A2-1194-A98A-67F4-6FD1A124DDB3}"/>
              </a:ext>
            </a:extLst>
          </p:cNvPr>
          <p:cNvSpPr/>
          <p:nvPr/>
        </p:nvSpPr>
        <p:spPr>
          <a:xfrm>
            <a:off x="7258045" y="2579851"/>
            <a:ext cx="970675" cy="479921"/>
          </a:xfrm>
          <a:prstGeom prst="roundRect">
            <a:avLst/>
          </a:prstGeom>
          <a:solidFill>
            <a:srgbClr val="333366"/>
          </a:solidFill>
          <a:ln>
            <a:solidFill>
              <a:srgbClr val="33336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de-DE" sz="1200" b="1" dirty="0"/>
              <a:t>Deep Unity </a:t>
            </a:r>
            <a:r>
              <a:rPr lang="de-DE" sz="1200" b="1" dirty="0" err="1"/>
              <a:t>Diagnost</a:t>
            </a:r>
            <a:endParaRPr lang="de-DE" sz="1200" b="1" dirty="0">
              <a:cs typeface="Calibri"/>
            </a:endParaRPr>
          </a:p>
        </p:txBody>
      </p:sp>
      <p:sp>
        <p:nvSpPr>
          <p:cNvPr id="27" name="Rechteck: abgerundete Ecken 26">
            <a:extLst>
              <a:ext uri="{FF2B5EF4-FFF2-40B4-BE49-F238E27FC236}">
                <a16:creationId xmlns:a16="http://schemas.microsoft.com/office/drawing/2014/main" id="{DDDF466B-1C17-3681-2BC0-ACA2A810966B}"/>
              </a:ext>
            </a:extLst>
          </p:cNvPr>
          <p:cNvSpPr/>
          <p:nvPr/>
        </p:nvSpPr>
        <p:spPr>
          <a:xfrm>
            <a:off x="9457245" y="2556853"/>
            <a:ext cx="970675" cy="479921"/>
          </a:xfrm>
          <a:prstGeom prst="roundRect">
            <a:avLst/>
          </a:prstGeom>
          <a:solidFill>
            <a:srgbClr val="333366"/>
          </a:solidFill>
          <a:ln>
            <a:solidFill>
              <a:srgbClr val="33336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de-DE" sz="1200" b="1" dirty="0">
                <a:cs typeface="Calibri"/>
              </a:rPr>
              <a:t>……..</a:t>
            </a:r>
          </a:p>
        </p:txBody>
      </p:sp>
      <p:sp>
        <p:nvSpPr>
          <p:cNvPr id="2" name="Rechteck: abgerundete Ecken 1">
            <a:extLst>
              <a:ext uri="{FF2B5EF4-FFF2-40B4-BE49-F238E27FC236}">
                <a16:creationId xmlns:a16="http://schemas.microsoft.com/office/drawing/2014/main" id="{30E7C71B-43DD-2092-F8E9-59067198C06C}"/>
              </a:ext>
            </a:extLst>
          </p:cNvPr>
          <p:cNvSpPr/>
          <p:nvPr/>
        </p:nvSpPr>
        <p:spPr>
          <a:xfrm>
            <a:off x="2778784" y="2579851"/>
            <a:ext cx="960084" cy="479921"/>
          </a:xfrm>
          <a:prstGeom prst="roundRect">
            <a:avLst/>
          </a:prstGeom>
          <a:solidFill>
            <a:srgbClr val="333366"/>
          </a:solidFill>
          <a:ln>
            <a:solidFill>
              <a:srgbClr val="3333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err="1"/>
              <a:t>DeepUnity</a:t>
            </a:r>
            <a:r>
              <a:rPr lang="de-DE" sz="1200" b="1" dirty="0"/>
              <a:t> ECM</a:t>
            </a:r>
            <a:endParaRPr lang="de-AT" sz="1200" b="1" dirty="0"/>
          </a:p>
        </p:txBody>
      </p:sp>
      <p:sp>
        <p:nvSpPr>
          <p:cNvPr id="3" name="Rechteck: abgerundete Ecken 2">
            <a:extLst>
              <a:ext uri="{FF2B5EF4-FFF2-40B4-BE49-F238E27FC236}">
                <a16:creationId xmlns:a16="http://schemas.microsoft.com/office/drawing/2014/main" id="{E2CB913D-0032-B021-A98E-B5E706349B0D}"/>
              </a:ext>
            </a:extLst>
          </p:cNvPr>
          <p:cNvSpPr/>
          <p:nvPr/>
        </p:nvSpPr>
        <p:spPr>
          <a:xfrm>
            <a:off x="3867354" y="2567217"/>
            <a:ext cx="1002756" cy="479921"/>
          </a:xfrm>
          <a:prstGeom prst="roundRect">
            <a:avLst/>
          </a:prstGeom>
          <a:solidFill>
            <a:srgbClr val="333366"/>
          </a:solidFill>
          <a:ln>
            <a:solidFill>
              <a:srgbClr val="3333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err="1"/>
              <a:t>DeepUnityWorkflows</a:t>
            </a:r>
            <a:endParaRPr lang="de-AT" sz="1200" b="1" dirty="0"/>
          </a:p>
        </p:txBody>
      </p:sp>
      <p:sp>
        <p:nvSpPr>
          <p:cNvPr id="28" name="Rechteck: abgerundete Ecken 85">
            <a:extLst>
              <a:ext uri="{FF2B5EF4-FFF2-40B4-BE49-F238E27FC236}">
                <a16:creationId xmlns:a16="http://schemas.microsoft.com/office/drawing/2014/main" id="{B1C4AF99-C717-2027-B46A-D0BA28CF3702}"/>
              </a:ext>
            </a:extLst>
          </p:cNvPr>
          <p:cNvSpPr/>
          <p:nvPr/>
        </p:nvSpPr>
        <p:spPr>
          <a:xfrm>
            <a:off x="6111509" y="2589060"/>
            <a:ext cx="1002756" cy="479921"/>
          </a:xfrm>
          <a:prstGeom prst="roundRect">
            <a:avLst/>
          </a:prstGeom>
          <a:solidFill>
            <a:srgbClr val="333366"/>
          </a:solidFill>
          <a:ln>
            <a:solidFill>
              <a:srgbClr val="3333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err="1"/>
              <a:t>DeepUnity</a:t>
            </a:r>
            <a:r>
              <a:rPr lang="de-DE" sz="1200" b="1" dirty="0"/>
              <a:t> </a:t>
            </a:r>
            <a:r>
              <a:rPr lang="de-DE" sz="1200" b="1" dirty="0" err="1"/>
              <a:t>Interfacing</a:t>
            </a:r>
            <a:endParaRPr lang="de-AT" sz="1200" b="1" dirty="0"/>
          </a:p>
        </p:txBody>
      </p:sp>
    </p:spTree>
    <p:extLst>
      <p:ext uri="{BB962C8B-B14F-4D97-AF65-F5344CB8AC3E}">
        <p14:creationId xmlns:p14="http://schemas.microsoft.com/office/powerpoint/2010/main" val="37208543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1000" fill="hold"/>
                                        <p:tgtEl>
                                          <p:spTgt spid="2"/>
                                        </p:tgtEl>
                                        <p:attrNameLst>
                                          <p:attrName>ppt_w</p:attrName>
                                        </p:attrNameLst>
                                      </p:cBhvr>
                                      <p:tavLst>
                                        <p:tav tm="0">
                                          <p:val>
                                            <p:fltVal val="0"/>
                                          </p:val>
                                        </p:tav>
                                        <p:tav tm="100000">
                                          <p:val>
                                            <p:strVal val="#ppt_w"/>
                                          </p:val>
                                        </p:tav>
                                      </p:tavLst>
                                    </p:anim>
                                    <p:anim calcmode="lin" valueType="num">
                                      <p:cBhvr>
                                        <p:cTn id="8" dur="1000" fill="hold"/>
                                        <p:tgtEl>
                                          <p:spTgt spid="2"/>
                                        </p:tgtEl>
                                        <p:attrNameLst>
                                          <p:attrName>ppt_h</p:attrName>
                                        </p:attrNameLst>
                                      </p:cBhvr>
                                      <p:tavLst>
                                        <p:tav tm="0">
                                          <p:val>
                                            <p:fltVal val="0"/>
                                          </p:val>
                                        </p:tav>
                                        <p:tav tm="100000">
                                          <p:val>
                                            <p:strVal val="#ppt_h"/>
                                          </p:val>
                                        </p:tav>
                                      </p:tavLst>
                                    </p:anim>
                                    <p:anim calcmode="lin" valueType="num">
                                      <p:cBhvr>
                                        <p:cTn id="9" dur="1000" fill="hold"/>
                                        <p:tgtEl>
                                          <p:spTgt spid="2"/>
                                        </p:tgtEl>
                                        <p:attrNameLst>
                                          <p:attrName>style.rotation</p:attrName>
                                        </p:attrNameLst>
                                      </p:cBhvr>
                                      <p:tavLst>
                                        <p:tav tm="0">
                                          <p:val>
                                            <p:fltVal val="90"/>
                                          </p:val>
                                        </p:tav>
                                        <p:tav tm="100000">
                                          <p:val>
                                            <p:fltVal val="0"/>
                                          </p:val>
                                        </p:tav>
                                      </p:tavLst>
                                    </p:anim>
                                    <p:animEffect transition="in" filter="fade">
                                      <p:cBhvr>
                                        <p:cTn id="10" dur="1000"/>
                                        <p:tgtEl>
                                          <p:spTgt spid="2"/>
                                        </p:tgtEl>
                                      </p:cBhvr>
                                    </p:animEffect>
                                  </p:childTnLst>
                                </p:cTn>
                              </p:par>
                            </p:childTnLst>
                          </p:cTn>
                        </p:par>
                      </p:childTnLst>
                    </p:cTn>
                  </p:par>
                  <p:par>
                    <p:cTn id="11" fill="hold">
                      <p:stCondLst>
                        <p:cond delay="indefinite"/>
                      </p:stCondLst>
                      <p:childTnLst>
                        <p:par>
                          <p:cTn id="12" fill="hold">
                            <p:stCondLst>
                              <p:cond delay="0"/>
                            </p:stCondLst>
                            <p:childTnLst>
                              <p:par>
                                <p:cTn id="13" presetID="31" presetClass="entr" presetSubtype="0" fill="hold" grpId="0" nodeType="clickEffect">
                                  <p:stCondLst>
                                    <p:cond delay="0"/>
                                  </p:stCondLst>
                                  <p:childTnLst>
                                    <p:set>
                                      <p:cBhvr>
                                        <p:cTn id="14" dur="1" fill="hold">
                                          <p:stCondLst>
                                            <p:cond delay="0"/>
                                          </p:stCondLst>
                                        </p:cTn>
                                        <p:tgtEl>
                                          <p:spTgt spid="3"/>
                                        </p:tgtEl>
                                        <p:attrNameLst>
                                          <p:attrName>style.visibility</p:attrName>
                                        </p:attrNameLst>
                                      </p:cBhvr>
                                      <p:to>
                                        <p:strVal val="visible"/>
                                      </p:to>
                                    </p:set>
                                    <p:anim calcmode="lin" valueType="num">
                                      <p:cBhvr>
                                        <p:cTn id="15" dur="1000" fill="hold"/>
                                        <p:tgtEl>
                                          <p:spTgt spid="3"/>
                                        </p:tgtEl>
                                        <p:attrNameLst>
                                          <p:attrName>ppt_w</p:attrName>
                                        </p:attrNameLst>
                                      </p:cBhvr>
                                      <p:tavLst>
                                        <p:tav tm="0">
                                          <p:val>
                                            <p:fltVal val="0"/>
                                          </p:val>
                                        </p:tav>
                                        <p:tav tm="100000">
                                          <p:val>
                                            <p:strVal val="#ppt_w"/>
                                          </p:val>
                                        </p:tav>
                                      </p:tavLst>
                                    </p:anim>
                                    <p:anim calcmode="lin" valueType="num">
                                      <p:cBhvr>
                                        <p:cTn id="16" dur="1000" fill="hold"/>
                                        <p:tgtEl>
                                          <p:spTgt spid="3"/>
                                        </p:tgtEl>
                                        <p:attrNameLst>
                                          <p:attrName>ppt_h</p:attrName>
                                        </p:attrNameLst>
                                      </p:cBhvr>
                                      <p:tavLst>
                                        <p:tav tm="0">
                                          <p:val>
                                            <p:fltVal val="0"/>
                                          </p:val>
                                        </p:tav>
                                        <p:tav tm="100000">
                                          <p:val>
                                            <p:strVal val="#ppt_h"/>
                                          </p:val>
                                        </p:tav>
                                      </p:tavLst>
                                    </p:anim>
                                    <p:anim calcmode="lin" valueType="num">
                                      <p:cBhvr>
                                        <p:cTn id="17" dur="1000" fill="hold"/>
                                        <p:tgtEl>
                                          <p:spTgt spid="3"/>
                                        </p:tgtEl>
                                        <p:attrNameLst>
                                          <p:attrName>style.rotation</p:attrName>
                                        </p:attrNameLst>
                                      </p:cBhvr>
                                      <p:tavLst>
                                        <p:tav tm="0">
                                          <p:val>
                                            <p:fltVal val="90"/>
                                          </p:val>
                                        </p:tav>
                                        <p:tav tm="100000">
                                          <p:val>
                                            <p:fltVal val="0"/>
                                          </p:val>
                                        </p:tav>
                                      </p:tavLst>
                                    </p:anim>
                                    <p:animEffect transition="in" filter="fade">
                                      <p:cBhvr>
                                        <p:cTn id="18" dur="1000"/>
                                        <p:tgtEl>
                                          <p:spTgt spid="3"/>
                                        </p:tgtEl>
                                      </p:cBhvr>
                                    </p:animEffect>
                                  </p:childTnLst>
                                </p:cTn>
                              </p:par>
                            </p:childTnLst>
                          </p:cTn>
                        </p:par>
                      </p:childTnLst>
                    </p:cTn>
                  </p:par>
                  <p:par>
                    <p:cTn id="19" fill="hold">
                      <p:stCondLst>
                        <p:cond delay="indefinite"/>
                      </p:stCondLst>
                      <p:childTnLst>
                        <p:par>
                          <p:cTn id="20" fill="hold">
                            <p:stCondLst>
                              <p:cond delay="0"/>
                            </p:stCondLst>
                            <p:childTnLst>
                              <p:par>
                                <p:cTn id="21" presetID="31" presetClass="entr" presetSubtype="0" fill="hold" grpId="0" nodeType="clickEffect">
                                  <p:stCondLst>
                                    <p:cond delay="0"/>
                                  </p:stCondLst>
                                  <p:childTnLst>
                                    <p:set>
                                      <p:cBhvr>
                                        <p:cTn id="22" dur="1" fill="hold">
                                          <p:stCondLst>
                                            <p:cond delay="0"/>
                                          </p:stCondLst>
                                        </p:cTn>
                                        <p:tgtEl>
                                          <p:spTgt spid="28"/>
                                        </p:tgtEl>
                                        <p:attrNameLst>
                                          <p:attrName>style.visibility</p:attrName>
                                        </p:attrNameLst>
                                      </p:cBhvr>
                                      <p:to>
                                        <p:strVal val="visible"/>
                                      </p:to>
                                    </p:set>
                                    <p:anim calcmode="lin" valueType="num">
                                      <p:cBhvr>
                                        <p:cTn id="23" dur="1000" fill="hold"/>
                                        <p:tgtEl>
                                          <p:spTgt spid="28"/>
                                        </p:tgtEl>
                                        <p:attrNameLst>
                                          <p:attrName>ppt_w</p:attrName>
                                        </p:attrNameLst>
                                      </p:cBhvr>
                                      <p:tavLst>
                                        <p:tav tm="0">
                                          <p:val>
                                            <p:fltVal val="0"/>
                                          </p:val>
                                        </p:tav>
                                        <p:tav tm="100000">
                                          <p:val>
                                            <p:strVal val="#ppt_w"/>
                                          </p:val>
                                        </p:tav>
                                      </p:tavLst>
                                    </p:anim>
                                    <p:anim calcmode="lin" valueType="num">
                                      <p:cBhvr>
                                        <p:cTn id="24" dur="1000" fill="hold"/>
                                        <p:tgtEl>
                                          <p:spTgt spid="28"/>
                                        </p:tgtEl>
                                        <p:attrNameLst>
                                          <p:attrName>ppt_h</p:attrName>
                                        </p:attrNameLst>
                                      </p:cBhvr>
                                      <p:tavLst>
                                        <p:tav tm="0">
                                          <p:val>
                                            <p:fltVal val="0"/>
                                          </p:val>
                                        </p:tav>
                                        <p:tav tm="100000">
                                          <p:val>
                                            <p:strVal val="#ppt_h"/>
                                          </p:val>
                                        </p:tav>
                                      </p:tavLst>
                                    </p:anim>
                                    <p:anim calcmode="lin" valueType="num">
                                      <p:cBhvr>
                                        <p:cTn id="25" dur="1000" fill="hold"/>
                                        <p:tgtEl>
                                          <p:spTgt spid="28"/>
                                        </p:tgtEl>
                                        <p:attrNameLst>
                                          <p:attrName>style.rotation</p:attrName>
                                        </p:attrNameLst>
                                      </p:cBhvr>
                                      <p:tavLst>
                                        <p:tav tm="0">
                                          <p:val>
                                            <p:fltVal val="90"/>
                                          </p:val>
                                        </p:tav>
                                        <p:tav tm="100000">
                                          <p:val>
                                            <p:fltVal val="0"/>
                                          </p:val>
                                        </p:tav>
                                      </p:tavLst>
                                    </p:anim>
                                    <p:animEffect transition="in" filter="fade">
                                      <p:cBhvr>
                                        <p:cTn id="26" dur="10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28"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778F9487-1B62-9A22-83C7-E784A24F2BEF}"/>
              </a:ext>
            </a:extLst>
          </p:cNvPr>
          <p:cNvSpPr>
            <a:spLocks noGrp="1"/>
          </p:cNvSpPr>
          <p:nvPr>
            <p:ph type="ctrTitle"/>
          </p:nvPr>
        </p:nvSpPr>
        <p:spPr>
          <a:xfrm>
            <a:off x="277290" y="1166327"/>
            <a:ext cx="3013346" cy="1288060"/>
          </a:xfrm>
        </p:spPr>
        <p:txBody>
          <a:bodyPr/>
          <a:lstStyle/>
          <a:p>
            <a:r>
              <a:rPr lang="de-DE" dirty="0"/>
              <a:t>Wer bin ich?</a:t>
            </a:r>
          </a:p>
        </p:txBody>
      </p:sp>
      <p:sp>
        <p:nvSpPr>
          <p:cNvPr id="5" name="Textfeld 4">
            <a:extLst>
              <a:ext uri="{FF2B5EF4-FFF2-40B4-BE49-F238E27FC236}">
                <a16:creationId xmlns:a16="http://schemas.microsoft.com/office/drawing/2014/main" id="{5C13BE08-22EB-882B-FF73-429A3164DFC0}"/>
              </a:ext>
            </a:extLst>
          </p:cNvPr>
          <p:cNvSpPr txBox="1"/>
          <p:nvPr/>
        </p:nvSpPr>
        <p:spPr>
          <a:xfrm>
            <a:off x="4040155" y="1166327"/>
            <a:ext cx="7791061" cy="5447645"/>
          </a:xfrm>
          <a:prstGeom prst="rect">
            <a:avLst/>
          </a:prstGeom>
          <a:noFill/>
        </p:spPr>
        <p:txBody>
          <a:bodyPr wrap="square" rtlCol="0">
            <a:spAutoFit/>
          </a:bodyPr>
          <a:lstStyle/>
          <a:p>
            <a:r>
              <a:rPr lang="de-DE" sz="2400" b="1" dirty="0"/>
              <a:t>Oliver Paul</a:t>
            </a:r>
          </a:p>
          <a:p>
            <a:endParaRPr lang="de-DE" dirty="0"/>
          </a:p>
          <a:p>
            <a:r>
              <a:rPr lang="de-DE" dirty="0"/>
              <a:t>Verheiratet, 2 Kinder, Rottenburg am Neckar</a:t>
            </a:r>
          </a:p>
          <a:p>
            <a:endParaRPr lang="de-DE" dirty="0"/>
          </a:p>
          <a:p>
            <a:pPr marL="342900" indent="-342900">
              <a:buFont typeface="+mj-lt"/>
              <a:buAutoNum type="arabicPeriod"/>
            </a:pPr>
            <a:r>
              <a:rPr lang="de-DE" dirty="0"/>
              <a:t>Prokurist bei Dedalus HealthCare und BU Manager HYDMedia ECM (weltweit)</a:t>
            </a:r>
          </a:p>
          <a:p>
            <a:endParaRPr lang="de-DE" dirty="0"/>
          </a:p>
          <a:p>
            <a:r>
              <a:rPr lang="de-DE" b="1" dirty="0"/>
              <a:t>und Geschäftsführer und Miteigentümer:</a:t>
            </a:r>
          </a:p>
          <a:p>
            <a:endParaRPr lang="de-DE" dirty="0"/>
          </a:p>
          <a:p>
            <a:pPr marL="342900" indent="-342900">
              <a:buFont typeface="+mj-lt"/>
              <a:buAutoNum type="arabicPeriod" startAt="2"/>
            </a:pPr>
            <a:r>
              <a:rPr lang="de-DE" dirty="0"/>
              <a:t>FAMO Holding GmbH</a:t>
            </a:r>
          </a:p>
          <a:p>
            <a:endParaRPr lang="de-DE" dirty="0"/>
          </a:p>
          <a:p>
            <a:pPr marL="342900" indent="-342900">
              <a:buFont typeface="+mj-lt"/>
              <a:buAutoNum type="arabicPeriod" startAt="3"/>
            </a:pPr>
            <a:r>
              <a:rPr lang="de-DE" dirty="0"/>
              <a:t>Heydt-Gruppe (ca. 385 Mitarbeiter)</a:t>
            </a:r>
          </a:p>
          <a:p>
            <a:r>
              <a:rPr lang="de-DE" dirty="0"/>
              <a:t>	3 Unternehmen die Dienstleistungen rund um die 	Krankenakten Archivierung erbringen</a:t>
            </a:r>
          </a:p>
          <a:p>
            <a:endParaRPr lang="de-DE" dirty="0"/>
          </a:p>
          <a:p>
            <a:pPr marL="342900" indent="-342900">
              <a:buFont typeface="+mj-lt"/>
              <a:buAutoNum type="arabicPeriod" startAt="4"/>
            </a:pPr>
            <a:r>
              <a:rPr lang="de-DE" dirty="0"/>
              <a:t>GAA GmbH &amp; Co. KG (ca. 140 Mitarbeiter)</a:t>
            </a:r>
          </a:p>
          <a:p>
            <a:r>
              <a:rPr lang="de-DE" dirty="0"/>
              <a:t>	Ein Spezialist für digitale Posteingänge und 	Rechnungsworkflows bei Banken, Versicherungen und 	Industrie</a:t>
            </a:r>
          </a:p>
        </p:txBody>
      </p:sp>
    </p:spTree>
    <p:extLst>
      <p:ext uri="{BB962C8B-B14F-4D97-AF65-F5344CB8AC3E}">
        <p14:creationId xmlns:p14="http://schemas.microsoft.com/office/powerpoint/2010/main" val="3137817092"/>
      </p:ext>
    </p:extLst>
  </p:cSld>
  <p:clrMapOvr>
    <a:masterClrMapping/>
  </p:clrMapOvr>
  <mc:AlternateContent xmlns:mc="http://schemas.openxmlformats.org/markup-compatibility/2006" xmlns:p14="http://schemas.microsoft.com/office/powerpoint/2010/main">
    <mc:Choice Requires="p14">
      <p:transition spd="slow" p14:dur="1250">
        <p14:reveal/>
      </p:transition>
    </mc:Choice>
    <mc:Fallback xmlns="">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 name="Circle: Hollow 8">
            <a:extLst>
              <a:ext uri="{FF2B5EF4-FFF2-40B4-BE49-F238E27FC236}">
                <a16:creationId xmlns:a16="http://schemas.microsoft.com/office/drawing/2014/main" id="{92F16EB7-C896-4244-8858-6387FD4CA880}"/>
              </a:ext>
            </a:extLst>
          </p:cNvPr>
          <p:cNvSpPr/>
          <p:nvPr/>
        </p:nvSpPr>
        <p:spPr>
          <a:xfrm>
            <a:off x="4165889" y="2444413"/>
            <a:ext cx="3156126" cy="3154617"/>
          </a:xfrm>
          <a:prstGeom prst="donut">
            <a:avLst>
              <a:gd name="adj" fmla="val 6442"/>
            </a:avLst>
          </a:prstGeom>
          <a:solidFill>
            <a:schemeClr val="tx2"/>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alibri" panose="020F0502020204030204"/>
              <a:ea typeface="+mn-ea"/>
              <a:cs typeface="+mn-cs"/>
            </a:endParaRPr>
          </a:p>
        </p:txBody>
      </p:sp>
      <p:cxnSp>
        <p:nvCxnSpPr>
          <p:cNvPr id="12" name="Straight Connector 11">
            <a:extLst>
              <a:ext uri="{FF2B5EF4-FFF2-40B4-BE49-F238E27FC236}">
                <a16:creationId xmlns:a16="http://schemas.microsoft.com/office/drawing/2014/main" id="{E7E18B5F-8FBA-4C83-8602-D41FE287FCF6}"/>
              </a:ext>
            </a:extLst>
          </p:cNvPr>
          <p:cNvCxnSpPr>
            <a:cxnSpLocks/>
          </p:cNvCxnSpPr>
          <p:nvPr/>
        </p:nvCxnSpPr>
        <p:spPr>
          <a:xfrm>
            <a:off x="3369102" y="1900386"/>
            <a:ext cx="0" cy="961892"/>
          </a:xfrm>
          <a:prstGeom prst="line">
            <a:avLst/>
          </a:prstGeom>
          <a:ln w="28575">
            <a:solidFill>
              <a:srgbClr val="004C92"/>
            </a:solidFill>
          </a:ln>
        </p:spPr>
        <p:style>
          <a:lnRef idx="1">
            <a:schemeClr val="dk1"/>
          </a:lnRef>
          <a:fillRef idx="0">
            <a:schemeClr val="dk1"/>
          </a:fillRef>
          <a:effectRef idx="0">
            <a:schemeClr val="dk1"/>
          </a:effectRef>
          <a:fontRef idx="minor">
            <a:schemeClr val="tx1"/>
          </a:fontRef>
        </p:style>
      </p:cxnSp>
      <p:grpSp>
        <p:nvGrpSpPr>
          <p:cNvPr id="72" name="Gruppieren 71">
            <a:extLst>
              <a:ext uri="{FF2B5EF4-FFF2-40B4-BE49-F238E27FC236}">
                <a16:creationId xmlns:a16="http://schemas.microsoft.com/office/drawing/2014/main" id="{943CA108-4B13-AB7A-C987-F9B37F0097D2}"/>
              </a:ext>
            </a:extLst>
          </p:cNvPr>
          <p:cNvGrpSpPr/>
          <p:nvPr/>
        </p:nvGrpSpPr>
        <p:grpSpPr>
          <a:xfrm>
            <a:off x="3483424" y="2409458"/>
            <a:ext cx="679644" cy="44370"/>
            <a:chOff x="3483424" y="2409458"/>
            <a:chExt cx="679644" cy="44370"/>
          </a:xfrm>
        </p:grpSpPr>
        <p:cxnSp>
          <p:nvCxnSpPr>
            <p:cNvPr id="13" name="Straight Connector 12">
              <a:extLst>
                <a:ext uri="{FF2B5EF4-FFF2-40B4-BE49-F238E27FC236}">
                  <a16:creationId xmlns:a16="http://schemas.microsoft.com/office/drawing/2014/main" id="{E496837E-9A9C-4096-B202-320155A00DC0}"/>
                </a:ext>
              </a:extLst>
            </p:cNvPr>
            <p:cNvCxnSpPr/>
            <p:nvPr/>
          </p:nvCxnSpPr>
          <p:spPr>
            <a:xfrm>
              <a:off x="3483424" y="2409458"/>
              <a:ext cx="603423" cy="0"/>
            </a:xfrm>
            <a:prstGeom prst="line">
              <a:avLst/>
            </a:prstGeom>
            <a:ln w="9525">
              <a:solidFill>
                <a:srgbClr val="004C9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D9F32EA-AD2A-4A1C-B7E5-4743D21E77BF}"/>
                </a:ext>
              </a:extLst>
            </p:cNvPr>
            <p:cNvCxnSpPr>
              <a:cxnSpLocks/>
            </p:cNvCxnSpPr>
            <p:nvPr/>
          </p:nvCxnSpPr>
          <p:spPr>
            <a:xfrm flipH="1" flipV="1">
              <a:off x="4086847" y="2409458"/>
              <a:ext cx="76221" cy="44370"/>
            </a:xfrm>
            <a:prstGeom prst="line">
              <a:avLst/>
            </a:prstGeom>
            <a:ln w="9525">
              <a:solidFill>
                <a:srgbClr val="004C92"/>
              </a:solidFill>
            </a:ln>
          </p:spPr>
          <p:style>
            <a:lnRef idx="1">
              <a:schemeClr val="accent1"/>
            </a:lnRef>
            <a:fillRef idx="0">
              <a:schemeClr val="accent1"/>
            </a:fillRef>
            <a:effectRef idx="0">
              <a:schemeClr val="accent1"/>
            </a:effectRef>
            <a:fontRef idx="minor">
              <a:schemeClr val="tx1"/>
            </a:fontRef>
          </p:style>
        </p:cxnSp>
      </p:grpSp>
      <p:cxnSp>
        <p:nvCxnSpPr>
          <p:cNvPr id="18" name="Straight Connector 17">
            <a:extLst>
              <a:ext uri="{FF2B5EF4-FFF2-40B4-BE49-F238E27FC236}">
                <a16:creationId xmlns:a16="http://schemas.microsoft.com/office/drawing/2014/main" id="{21C338A8-57CF-45A9-8CB3-E01B6FC733F6}"/>
              </a:ext>
            </a:extLst>
          </p:cNvPr>
          <p:cNvCxnSpPr>
            <a:cxnSpLocks/>
          </p:cNvCxnSpPr>
          <p:nvPr/>
        </p:nvCxnSpPr>
        <p:spPr>
          <a:xfrm>
            <a:off x="3369102" y="5159774"/>
            <a:ext cx="0" cy="590226"/>
          </a:xfrm>
          <a:prstGeom prst="line">
            <a:avLst/>
          </a:prstGeom>
          <a:ln w="28575">
            <a:solidFill>
              <a:schemeClr val="accent1">
                <a:lumMod val="60000"/>
                <a:lumOff val="40000"/>
              </a:schemeClr>
            </a:solidFill>
          </a:ln>
        </p:spPr>
        <p:style>
          <a:lnRef idx="1">
            <a:schemeClr val="dk1"/>
          </a:lnRef>
          <a:fillRef idx="0">
            <a:schemeClr val="dk1"/>
          </a:fillRef>
          <a:effectRef idx="0">
            <a:schemeClr val="dk1"/>
          </a:effectRef>
          <a:fontRef idx="minor">
            <a:schemeClr val="tx1"/>
          </a:fontRef>
        </p:style>
      </p:cxnSp>
      <p:grpSp>
        <p:nvGrpSpPr>
          <p:cNvPr id="5" name="Gruppieren 4">
            <a:extLst>
              <a:ext uri="{FF2B5EF4-FFF2-40B4-BE49-F238E27FC236}">
                <a16:creationId xmlns:a16="http://schemas.microsoft.com/office/drawing/2014/main" id="{11A06F45-B883-4F95-99DD-D9B078F6B5DF}"/>
              </a:ext>
            </a:extLst>
          </p:cNvPr>
          <p:cNvGrpSpPr/>
          <p:nvPr/>
        </p:nvGrpSpPr>
        <p:grpSpPr>
          <a:xfrm>
            <a:off x="3475590" y="5418455"/>
            <a:ext cx="673198" cy="69457"/>
            <a:chOff x="3435542" y="5086727"/>
            <a:chExt cx="727350" cy="73540"/>
          </a:xfrm>
        </p:grpSpPr>
        <p:cxnSp>
          <p:nvCxnSpPr>
            <p:cNvPr id="19" name="Straight Connector 18">
              <a:extLst>
                <a:ext uri="{FF2B5EF4-FFF2-40B4-BE49-F238E27FC236}">
                  <a16:creationId xmlns:a16="http://schemas.microsoft.com/office/drawing/2014/main" id="{C5305A78-4B9A-45FC-ACF1-4FAB7384EA68}"/>
                </a:ext>
              </a:extLst>
            </p:cNvPr>
            <p:cNvCxnSpPr/>
            <p:nvPr/>
          </p:nvCxnSpPr>
          <p:spPr>
            <a:xfrm>
              <a:off x="3435542" y="5156471"/>
              <a:ext cx="651962" cy="0"/>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B0EFA35-F078-43FB-A910-78DD6D1244F6}"/>
                </a:ext>
              </a:extLst>
            </p:cNvPr>
            <p:cNvCxnSpPr>
              <a:cxnSpLocks/>
            </p:cNvCxnSpPr>
            <p:nvPr/>
          </p:nvCxnSpPr>
          <p:spPr>
            <a:xfrm flipH="1">
              <a:off x="4080541" y="5086727"/>
              <a:ext cx="82351" cy="73540"/>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grpSp>
      <p:cxnSp>
        <p:nvCxnSpPr>
          <p:cNvPr id="28" name="Straight Connector 27">
            <a:extLst>
              <a:ext uri="{FF2B5EF4-FFF2-40B4-BE49-F238E27FC236}">
                <a16:creationId xmlns:a16="http://schemas.microsoft.com/office/drawing/2014/main" id="{D76E0049-C93C-4A17-BAF7-1D71348862E9}"/>
              </a:ext>
            </a:extLst>
          </p:cNvPr>
          <p:cNvCxnSpPr>
            <a:cxnSpLocks/>
          </p:cNvCxnSpPr>
          <p:nvPr/>
        </p:nvCxnSpPr>
        <p:spPr>
          <a:xfrm flipH="1">
            <a:off x="7985949" y="5200650"/>
            <a:ext cx="1" cy="947617"/>
          </a:xfrm>
          <a:prstGeom prst="line">
            <a:avLst/>
          </a:prstGeom>
          <a:ln w="28575">
            <a:solidFill>
              <a:schemeClr val="accent6">
                <a:lumMod val="75000"/>
              </a:schemeClr>
            </a:solidFill>
          </a:ln>
        </p:spPr>
        <p:style>
          <a:lnRef idx="1">
            <a:schemeClr val="dk1"/>
          </a:lnRef>
          <a:fillRef idx="0">
            <a:schemeClr val="dk1"/>
          </a:fillRef>
          <a:effectRef idx="0">
            <a:schemeClr val="dk1"/>
          </a:effectRef>
          <a:fontRef idx="minor">
            <a:schemeClr val="tx1"/>
          </a:fontRef>
        </p:style>
      </p:cxnSp>
      <p:cxnSp>
        <p:nvCxnSpPr>
          <p:cNvPr id="30" name="Straight Connector 29">
            <a:extLst>
              <a:ext uri="{FF2B5EF4-FFF2-40B4-BE49-F238E27FC236}">
                <a16:creationId xmlns:a16="http://schemas.microsoft.com/office/drawing/2014/main" id="{5A242BFE-6E11-47F7-B897-05B667A8B802}"/>
              </a:ext>
            </a:extLst>
          </p:cNvPr>
          <p:cNvCxnSpPr>
            <a:cxnSpLocks/>
          </p:cNvCxnSpPr>
          <p:nvPr/>
        </p:nvCxnSpPr>
        <p:spPr>
          <a:xfrm>
            <a:off x="8049450" y="1905125"/>
            <a:ext cx="0" cy="879456"/>
          </a:xfrm>
          <a:prstGeom prst="line">
            <a:avLst/>
          </a:prstGeom>
          <a:ln w="28575">
            <a:solidFill>
              <a:srgbClr val="8A9993"/>
            </a:solidFill>
          </a:ln>
        </p:spPr>
        <p:style>
          <a:lnRef idx="1">
            <a:schemeClr val="dk1"/>
          </a:lnRef>
          <a:fillRef idx="0">
            <a:schemeClr val="dk1"/>
          </a:fillRef>
          <a:effectRef idx="0">
            <a:schemeClr val="dk1"/>
          </a:effectRef>
          <a:fontRef idx="minor">
            <a:schemeClr val="tx1"/>
          </a:fontRef>
        </p:style>
      </p:cxnSp>
      <p:grpSp>
        <p:nvGrpSpPr>
          <p:cNvPr id="31" name="Group 30">
            <a:extLst>
              <a:ext uri="{FF2B5EF4-FFF2-40B4-BE49-F238E27FC236}">
                <a16:creationId xmlns:a16="http://schemas.microsoft.com/office/drawing/2014/main" id="{609A9891-6EA7-4A09-914C-C003E678839E}"/>
              </a:ext>
            </a:extLst>
          </p:cNvPr>
          <p:cNvGrpSpPr/>
          <p:nvPr/>
        </p:nvGrpSpPr>
        <p:grpSpPr>
          <a:xfrm flipH="1">
            <a:off x="7217012" y="2349323"/>
            <a:ext cx="679644" cy="44105"/>
            <a:chOff x="3529343" y="2089725"/>
            <a:chExt cx="732380" cy="46697"/>
          </a:xfrm>
        </p:grpSpPr>
        <p:cxnSp>
          <p:nvCxnSpPr>
            <p:cNvPr id="35" name="Straight Connector 34">
              <a:extLst>
                <a:ext uri="{FF2B5EF4-FFF2-40B4-BE49-F238E27FC236}">
                  <a16:creationId xmlns:a16="http://schemas.microsoft.com/office/drawing/2014/main" id="{4C850285-E142-440B-BED3-6B6E1AF340B0}"/>
                </a:ext>
              </a:extLst>
            </p:cNvPr>
            <p:cNvCxnSpPr/>
            <p:nvPr/>
          </p:nvCxnSpPr>
          <p:spPr>
            <a:xfrm>
              <a:off x="3529343" y="2089725"/>
              <a:ext cx="650245" cy="0"/>
            </a:xfrm>
            <a:prstGeom prst="line">
              <a:avLst/>
            </a:prstGeom>
            <a:ln w="9525">
              <a:solidFill>
                <a:srgbClr val="8A9993"/>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2B8327C6-6898-4247-B623-85541F2FD2BA}"/>
                </a:ext>
              </a:extLst>
            </p:cNvPr>
            <p:cNvCxnSpPr>
              <a:cxnSpLocks/>
            </p:cNvCxnSpPr>
            <p:nvPr/>
          </p:nvCxnSpPr>
          <p:spPr>
            <a:xfrm flipH="1" flipV="1">
              <a:off x="4179588" y="2089725"/>
              <a:ext cx="82135" cy="46697"/>
            </a:xfrm>
            <a:prstGeom prst="line">
              <a:avLst/>
            </a:prstGeom>
            <a:ln w="9525">
              <a:solidFill>
                <a:srgbClr val="8A9993"/>
              </a:solidFill>
            </a:ln>
          </p:spPr>
          <p:style>
            <a:lnRef idx="1">
              <a:schemeClr val="accent1"/>
            </a:lnRef>
            <a:fillRef idx="0">
              <a:schemeClr val="accent1"/>
            </a:fillRef>
            <a:effectRef idx="0">
              <a:schemeClr val="accent1"/>
            </a:effectRef>
            <a:fontRef idx="minor">
              <a:schemeClr val="tx1"/>
            </a:fontRef>
          </p:style>
        </p:cxnSp>
      </p:grpSp>
      <p:grpSp>
        <p:nvGrpSpPr>
          <p:cNvPr id="32" name="Group 31">
            <a:extLst>
              <a:ext uri="{FF2B5EF4-FFF2-40B4-BE49-F238E27FC236}">
                <a16:creationId xmlns:a16="http://schemas.microsoft.com/office/drawing/2014/main" id="{F3A04927-8AD0-4B0F-BCCF-2AE638D87670}"/>
              </a:ext>
            </a:extLst>
          </p:cNvPr>
          <p:cNvGrpSpPr/>
          <p:nvPr/>
        </p:nvGrpSpPr>
        <p:grpSpPr>
          <a:xfrm flipH="1">
            <a:off x="7157943" y="5536830"/>
            <a:ext cx="679644" cy="69457"/>
            <a:chOff x="3603013" y="5049975"/>
            <a:chExt cx="732380" cy="73099"/>
          </a:xfrm>
        </p:grpSpPr>
        <p:cxnSp>
          <p:nvCxnSpPr>
            <p:cNvPr id="33" name="Straight Connector 32">
              <a:extLst>
                <a:ext uri="{FF2B5EF4-FFF2-40B4-BE49-F238E27FC236}">
                  <a16:creationId xmlns:a16="http://schemas.microsoft.com/office/drawing/2014/main" id="{D3BFFC3E-947E-46B0-A97E-A0C84E4B4A35}"/>
                </a:ext>
              </a:extLst>
            </p:cNvPr>
            <p:cNvCxnSpPr/>
            <p:nvPr/>
          </p:nvCxnSpPr>
          <p:spPr>
            <a:xfrm>
              <a:off x="3603013" y="5123073"/>
              <a:ext cx="650245" cy="0"/>
            </a:xfrm>
            <a:prstGeom prst="line">
              <a:avLst/>
            </a:prstGeom>
            <a:ln w="9525">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5FF6088A-21BA-4A26-8323-22004982B2F0}"/>
                </a:ext>
              </a:extLst>
            </p:cNvPr>
            <p:cNvCxnSpPr>
              <a:cxnSpLocks/>
            </p:cNvCxnSpPr>
            <p:nvPr/>
          </p:nvCxnSpPr>
          <p:spPr>
            <a:xfrm flipH="1">
              <a:off x="4253259" y="5049975"/>
              <a:ext cx="82134" cy="73099"/>
            </a:xfrm>
            <a:prstGeom prst="line">
              <a:avLst/>
            </a:prstGeom>
            <a:ln w="9525">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grpSp>
      <p:sp>
        <p:nvSpPr>
          <p:cNvPr id="37" name="Oval 36">
            <a:extLst>
              <a:ext uri="{FF2B5EF4-FFF2-40B4-BE49-F238E27FC236}">
                <a16:creationId xmlns:a16="http://schemas.microsoft.com/office/drawing/2014/main" id="{1AEDA0CA-47BC-428A-9011-9EB49025D2D9}"/>
              </a:ext>
            </a:extLst>
          </p:cNvPr>
          <p:cNvSpPr/>
          <p:nvPr/>
        </p:nvSpPr>
        <p:spPr>
          <a:xfrm>
            <a:off x="4255321" y="2268524"/>
            <a:ext cx="833500" cy="801480"/>
          </a:xfrm>
          <a:prstGeom prst="ellipse">
            <a:avLst/>
          </a:prstGeom>
          <a:solidFill>
            <a:srgbClr val="004C9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38" name="Graphic 37" descr="Robot">
            <a:extLst>
              <a:ext uri="{FF2B5EF4-FFF2-40B4-BE49-F238E27FC236}">
                <a16:creationId xmlns:a16="http://schemas.microsoft.com/office/drawing/2014/main" id="{F7CB722F-62A0-4F01-AF11-DB79C79F73A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360921" y="2360561"/>
            <a:ext cx="605027" cy="617404"/>
          </a:xfrm>
          <a:prstGeom prst="rect">
            <a:avLst/>
          </a:prstGeom>
        </p:spPr>
      </p:pic>
      <p:sp>
        <p:nvSpPr>
          <p:cNvPr id="40" name="Oval 39">
            <a:extLst>
              <a:ext uri="{FF2B5EF4-FFF2-40B4-BE49-F238E27FC236}">
                <a16:creationId xmlns:a16="http://schemas.microsoft.com/office/drawing/2014/main" id="{7D0130C8-9E30-4484-8A39-15830CE54316}"/>
              </a:ext>
            </a:extLst>
          </p:cNvPr>
          <p:cNvSpPr/>
          <p:nvPr/>
        </p:nvSpPr>
        <p:spPr>
          <a:xfrm>
            <a:off x="3658958" y="3612868"/>
            <a:ext cx="833500" cy="801480"/>
          </a:xfrm>
          <a:prstGeom prst="ellipse">
            <a:avLst/>
          </a:prstGeom>
          <a:solidFill>
            <a:schemeClr val="accent2">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41" name="Graphic 40" descr="Network diagram">
            <a:extLst>
              <a:ext uri="{FF2B5EF4-FFF2-40B4-BE49-F238E27FC236}">
                <a16:creationId xmlns:a16="http://schemas.microsoft.com/office/drawing/2014/main" id="{B85A840C-AEFF-4663-A93B-FB236225535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853960" y="3713784"/>
            <a:ext cx="587628" cy="599649"/>
          </a:xfrm>
          <a:prstGeom prst="rect">
            <a:avLst/>
          </a:prstGeom>
        </p:spPr>
      </p:pic>
      <p:cxnSp>
        <p:nvCxnSpPr>
          <p:cNvPr id="43" name="Straight Connector 42">
            <a:extLst>
              <a:ext uri="{FF2B5EF4-FFF2-40B4-BE49-F238E27FC236}">
                <a16:creationId xmlns:a16="http://schemas.microsoft.com/office/drawing/2014/main" id="{D18DF28A-0E39-4AE0-BF9E-98CD64C9D7F2}"/>
              </a:ext>
            </a:extLst>
          </p:cNvPr>
          <p:cNvCxnSpPr>
            <a:cxnSpLocks/>
          </p:cNvCxnSpPr>
          <p:nvPr/>
        </p:nvCxnSpPr>
        <p:spPr>
          <a:xfrm>
            <a:off x="2965499" y="3428002"/>
            <a:ext cx="0" cy="909858"/>
          </a:xfrm>
          <a:prstGeom prst="line">
            <a:avLst/>
          </a:prstGeom>
          <a:ln w="28575">
            <a:solidFill>
              <a:schemeClr val="accent2">
                <a:lumMod val="75000"/>
              </a:schemeClr>
            </a:solidFill>
          </a:ln>
        </p:spPr>
        <p:style>
          <a:lnRef idx="1">
            <a:schemeClr val="dk1"/>
          </a:lnRef>
          <a:fillRef idx="0">
            <a:schemeClr val="dk1"/>
          </a:fillRef>
          <a:effectRef idx="0">
            <a:schemeClr val="dk1"/>
          </a:effectRef>
          <a:fontRef idx="minor">
            <a:schemeClr val="tx1"/>
          </a:fontRef>
        </p:style>
      </p:cxnSp>
      <p:sp>
        <p:nvSpPr>
          <p:cNvPr id="44" name="Oval 43">
            <a:extLst>
              <a:ext uri="{FF2B5EF4-FFF2-40B4-BE49-F238E27FC236}">
                <a16:creationId xmlns:a16="http://schemas.microsoft.com/office/drawing/2014/main" id="{5E59DC4A-495D-4AD3-B3C7-900913C44143}"/>
              </a:ext>
            </a:extLst>
          </p:cNvPr>
          <p:cNvSpPr/>
          <p:nvPr/>
        </p:nvSpPr>
        <p:spPr>
          <a:xfrm>
            <a:off x="4273156" y="4948520"/>
            <a:ext cx="833500" cy="801480"/>
          </a:xfrm>
          <a:prstGeom prst="ellipse">
            <a:avLst/>
          </a:prstGeom>
          <a:solidFill>
            <a:schemeClr val="accent1">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45" name="Graphic 44" descr="Heart with pulse">
            <a:extLst>
              <a:ext uri="{FF2B5EF4-FFF2-40B4-BE49-F238E27FC236}">
                <a16:creationId xmlns:a16="http://schemas.microsoft.com/office/drawing/2014/main" id="{698D8533-AB5F-4B14-8C30-737E1C701D7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377340" y="5059560"/>
            <a:ext cx="610828" cy="623323"/>
          </a:xfrm>
          <a:prstGeom prst="rect">
            <a:avLst/>
          </a:prstGeom>
        </p:spPr>
      </p:pic>
      <p:sp>
        <p:nvSpPr>
          <p:cNvPr id="46" name="Oval 45">
            <a:extLst>
              <a:ext uri="{FF2B5EF4-FFF2-40B4-BE49-F238E27FC236}">
                <a16:creationId xmlns:a16="http://schemas.microsoft.com/office/drawing/2014/main" id="{4E14DE33-E408-4531-8449-5DB80B734BF6}"/>
              </a:ext>
            </a:extLst>
          </p:cNvPr>
          <p:cNvSpPr/>
          <p:nvPr/>
        </p:nvSpPr>
        <p:spPr>
          <a:xfrm>
            <a:off x="6261590" y="5010114"/>
            <a:ext cx="833500" cy="801480"/>
          </a:xfrm>
          <a:prstGeom prst="ellipse">
            <a:avLst/>
          </a:prstGeom>
          <a:solidFill>
            <a:schemeClr val="accent6">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8" name="Oval 47">
            <a:extLst>
              <a:ext uri="{FF2B5EF4-FFF2-40B4-BE49-F238E27FC236}">
                <a16:creationId xmlns:a16="http://schemas.microsoft.com/office/drawing/2014/main" id="{97176D6F-F17C-490F-AE87-36BF623180DF}"/>
              </a:ext>
            </a:extLst>
          </p:cNvPr>
          <p:cNvSpPr/>
          <p:nvPr/>
        </p:nvSpPr>
        <p:spPr>
          <a:xfrm>
            <a:off x="6982789" y="3608116"/>
            <a:ext cx="833500" cy="801480"/>
          </a:xfrm>
          <a:prstGeom prst="ellipse">
            <a:avLst/>
          </a:prstGeom>
          <a:solidFill>
            <a:schemeClr val="accent5">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49" name="Graphic 48" descr="Back">
            <a:extLst>
              <a:ext uri="{FF2B5EF4-FFF2-40B4-BE49-F238E27FC236}">
                <a16:creationId xmlns:a16="http://schemas.microsoft.com/office/drawing/2014/main" id="{891F9AEA-50EB-4CD0-ADE2-0CCE90F2199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424085" y="5170833"/>
            <a:ext cx="470417" cy="480040"/>
          </a:xfrm>
          <a:prstGeom prst="rect">
            <a:avLst/>
          </a:prstGeom>
        </p:spPr>
      </p:pic>
      <p:sp>
        <p:nvSpPr>
          <p:cNvPr id="52" name="Oval 51">
            <a:extLst>
              <a:ext uri="{FF2B5EF4-FFF2-40B4-BE49-F238E27FC236}">
                <a16:creationId xmlns:a16="http://schemas.microsoft.com/office/drawing/2014/main" id="{E1B2B7A7-EA75-4354-BBCB-22ACD69974CF}"/>
              </a:ext>
            </a:extLst>
          </p:cNvPr>
          <p:cNvSpPr/>
          <p:nvPr/>
        </p:nvSpPr>
        <p:spPr>
          <a:xfrm>
            <a:off x="6291111" y="2239525"/>
            <a:ext cx="833500" cy="801480"/>
          </a:xfrm>
          <a:prstGeom prst="ellipse">
            <a:avLst/>
          </a:prstGeom>
          <a:solidFill>
            <a:schemeClr val="accent4">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51" name="Graphic 50" descr="Cloud Computing">
            <a:extLst>
              <a:ext uri="{FF2B5EF4-FFF2-40B4-BE49-F238E27FC236}">
                <a16:creationId xmlns:a16="http://schemas.microsoft.com/office/drawing/2014/main" id="{677BB42A-CA61-4182-BCAB-6AFC3980F241}"/>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434545" y="2304957"/>
            <a:ext cx="612431" cy="624959"/>
          </a:xfrm>
          <a:prstGeom prst="rect">
            <a:avLst/>
          </a:prstGeom>
        </p:spPr>
      </p:pic>
      <p:grpSp>
        <p:nvGrpSpPr>
          <p:cNvPr id="6" name="Gruppieren 5">
            <a:extLst>
              <a:ext uri="{FF2B5EF4-FFF2-40B4-BE49-F238E27FC236}">
                <a16:creationId xmlns:a16="http://schemas.microsoft.com/office/drawing/2014/main" id="{BF5BB492-70BD-47E9-A51C-FD82204DED85}"/>
              </a:ext>
            </a:extLst>
          </p:cNvPr>
          <p:cNvGrpSpPr/>
          <p:nvPr/>
        </p:nvGrpSpPr>
        <p:grpSpPr>
          <a:xfrm>
            <a:off x="3031074" y="3963578"/>
            <a:ext cx="578938" cy="99247"/>
            <a:chOff x="2779102" y="3546334"/>
            <a:chExt cx="734314" cy="46978"/>
          </a:xfrm>
        </p:grpSpPr>
        <p:cxnSp>
          <p:nvCxnSpPr>
            <p:cNvPr id="54" name="Straight Connector 53">
              <a:extLst>
                <a:ext uri="{FF2B5EF4-FFF2-40B4-BE49-F238E27FC236}">
                  <a16:creationId xmlns:a16="http://schemas.microsoft.com/office/drawing/2014/main" id="{AD049794-D1AF-41BD-9FA7-F6D6F88792C0}"/>
                </a:ext>
              </a:extLst>
            </p:cNvPr>
            <p:cNvCxnSpPr/>
            <p:nvPr/>
          </p:nvCxnSpPr>
          <p:spPr>
            <a:xfrm>
              <a:off x="2779102" y="3546334"/>
              <a:ext cx="651962" cy="0"/>
            </a:xfrm>
            <a:prstGeom prst="line">
              <a:avLst/>
            </a:prstGeom>
            <a:ln w="9525">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BCE1C217-6F7C-4EC8-BB55-0980CFE1110A}"/>
                </a:ext>
              </a:extLst>
            </p:cNvPr>
            <p:cNvCxnSpPr>
              <a:cxnSpLocks/>
            </p:cNvCxnSpPr>
            <p:nvPr/>
          </p:nvCxnSpPr>
          <p:spPr>
            <a:xfrm flipH="1" flipV="1">
              <a:off x="3431064" y="3546334"/>
              <a:ext cx="82352" cy="46978"/>
            </a:xfrm>
            <a:prstGeom prst="line">
              <a:avLst/>
            </a:prstGeom>
            <a:ln w="9525">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grpSp>
      <p:cxnSp>
        <p:nvCxnSpPr>
          <p:cNvPr id="58" name="Straight Connector 57">
            <a:extLst>
              <a:ext uri="{FF2B5EF4-FFF2-40B4-BE49-F238E27FC236}">
                <a16:creationId xmlns:a16="http://schemas.microsoft.com/office/drawing/2014/main" id="{24C38DA4-CFE0-415F-A624-B9567F7B51CC}"/>
              </a:ext>
            </a:extLst>
          </p:cNvPr>
          <p:cNvCxnSpPr>
            <a:cxnSpLocks/>
          </p:cNvCxnSpPr>
          <p:nvPr/>
        </p:nvCxnSpPr>
        <p:spPr>
          <a:xfrm>
            <a:off x="8724899" y="3362325"/>
            <a:ext cx="5554" cy="904875"/>
          </a:xfrm>
          <a:prstGeom prst="line">
            <a:avLst/>
          </a:prstGeom>
          <a:ln w="28575">
            <a:solidFill>
              <a:schemeClr val="accent5">
                <a:lumMod val="75000"/>
              </a:schemeClr>
            </a:solidFill>
          </a:ln>
        </p:spPr>
        <p:style>
          <a:lnRef idx="1">
            <a:schemeClr val="dk1"/>
          </a:lnRef>
          <a:fillRef idx="0">
            <a:schemeClr val="dk1"/>
          </a:fillRef>
          <a:effectRef idx="0">
            <a:schemeClr val="dk1"/>
          </a:effectRef>
          <a:fontRef idx="minor">
            <a:schemeClr val="tx1"/>
          </a:fontRef>
        </p:style>
      </p:cxnSp>
      <p:grpSp>
        <p:nvGrpSpPr>
          <p:cNvPr id="59" name="Group 58">
            <a:extLst>
              <a:ext uri="{FF2B5EF4-FFF2-40B4-BE49-F238E27FC236}">
                <a16:creationId xmlns:a16="http://schemas.microsoft.com/office/drawing/2014/main" id="{84753D5E-643F-4459-A62B-C2FA743EA8EA}"/>
              </a:ext>
            </a:extLst>
          </p:cNvPr>
          <p:cNvGrpSpPr/>
          <p:nvPr/>
        </p:nvGrpSpPr>
        <p:grpSpPr>
          <a:xfrm flipH="1">
            <a:off x="7868343" y="3933744"/>
            <a:ext cx="715851" cy="29801"/>
            <a:chOff x="3603013" y="5091710"/>
            <a:chExt cx="771396" cy="31364"/>
          </a:xfrm>
          <a:solidFill>
            <a:schemeClr val="accent5">
              <a:lumMod val="75000"/>
            </a:schemeClr>
          </a:solidFill>
        </p:grpSpPr>
        <p:cxnSp>
          <p:nvCxnSpPr>
            <p:cNvPr id="60" name="Straight Connector 59">
              <a:extLst>
                <a:ext uri="{FF2B5EF4-FFF2-40B4-BE49-F238E27FC236}">
                  <a16:creationId xmlns:a16="http://schemas.microsoft.com/office/drawing/2014/main" id="{1690A5D6-74E6-46A1-B99B-5CBFE8DF51E3}"/>
                </a:ext>
              </a:extLst>
            </p:cNvPr>
            <p:cNvCxnSpPr/>
            <p:nvPr/>
          </p:nvCxnSpPr>
          <p:spPr>
            <a:xfrm>
              <a:off x="3603013" y="5123073"/>
              <a:ext cx="650245" cy="0"/>
            </a:xfrm>
            <a:prstGeom prst="line">
              <a:avLst/>
            </a:prstGeom>
            <a:grpFill/>
            <a:ln w="9525">
              <a:solidFill>
                <a:schemeClr val="accent5">
                  <a:lumMod val="75000"/>
                </a:schemeClr>
              </a:solidFill>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84F77928-5571-40F1-A90A-2A9F4E3A9D1A}"/>
                </a:ext>
              </a:extLst>
            </p:cNvPr>
            <p:cNvCxnSpPr>
              <a:cxnSpLocks/>
            </p:cNvCxnSpPr>
            <p:nvPr/>
          </p:nvCxnSpPr>
          <p:spPr>
            <a:xfrm flipH="1">
              <a:off x="4253259" y="5091710"/>
              <a:ext cx="121150" cy="31364"/>
            </a:xfrm>
            <a:prstGeom prst="line">
              <a:avLst/>
            </a:prstGeom>
            <a:grpFill/>
            <a:ln w="9525">
              <a:solidFill>
                <a:schemeClr val="accent5">
                  <a:lumMod val="75000"/>
                </a:schemeClr>
              </a:solidFill>
            </a:ln>
          </p:spPr>
          <p:style>
            <a:lnRef idx="1">
              <a:schemeClr val="accent1"/>
            </a:lnRef>
            <a:fillRef idx="0">
              <a:schemeClr val="accent1"/>
            </a:fillRef>
            <a:effectRef idx="0">
              <a:schemeClr val="accent1"/>
            </a:effectRef>
            <a:fontRef idx="minor">
              <a:schemeClr val="tx1"/>
            </a:fontRef>
          </p:style>
        </p:cxnSp>
      </p:grpSp>
      <p:pic>
        <p:nvPicPr>
          <p:cNvPr id="47" name="Graphic 46" descr="Ethernet">
            <a:extLst>
              <a:ext uri="{FF2B5EF4-FFF2-40B4-BE49-F238E27FC236}">
                <a16:creationId xmlns:a16="http://schemas.microsoft.com/office/drawing/2014/main" id="{43222FF5-0C59-4486-8713-040DC747249E}"/>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7046702" y="3648739"/>
            <a:ext cx="715108" cy="729737"/>
          </a:xfrm>
          <a:prstGeom prst="rect">
            <a:avLst/>
          </a:prstGeom>
        </p:spPr>
      </p:pic>
      <p:sp>
        <p:nvSpPr>
          <p:cNvPr id="56" name="Rettangolo 5">
            <a:extLst>
              <a:ext uri="{FF2B5EF4-FFF2-40B4-BE49-F238E27FC236}">
                <a16:creationId xmlns:a16="http://schemas.microsoft.com/office/drawing/2014/main" id="{044DAAA3-CF21-FC7F-E7AB-BD66A128CADB}"/>
              </a:ext>
            </a:extLst>
          </p:cNvPr>
          <p:cNvSpPr/>
          <p:nvPr/>
        </p:nvSpPr>
        <p:spPr>
          <a:xfrm>
            <a:off x="368915" y="816603"/>
            <a:ext cx="11088743" cy="707886"/>
          </a:xfrm>
          <a:prstGeom prst="rect">
            <a:avLst/>
          </a:prstGeom>
        </p:spPr>
        <p:txBody>
          <a:bodyPr wrap="square" lIns="91440" tIns="45720" rIns="91440" bIns="45720" anchor="t">
            <a:spAutoFit/>
          </a:bodyPr>
          <a:lstStyle/>
          <a:p>
            <a:pPr lvl="0">
              <a:defRPr/>
            </a:pPr>
            <a:r>
              <a:rPr lang="en-US" b="1" dirty="0">
                <a:solidFill>
                  <a:schemeClr val="accent1"/>
                </a:solidFill>
                <a:ea typeface="+mj-ea"/>
                <a:cs typeface="+mj-cs"/>
              </a:rPr>
              <a:t>DeepUnity Plattform </a:t>
            </a:r>
            <a:r>
              <a:rPr kumimoji="0" lang="en-US" sz="2000" b="1" i="0" u="none" strike="noStrike" kern="1200" cap="none" spc="0" normalizeH="0" baseline="0" noProof="0" dirty="0">
                <a:ln>
                  <a:noFill/>
                </a:ln>
                <a:solidFill>
                  <a:srgbClr val="626362"/>
                </a:solidFill>
                <a:effectLst/>
                <a:uLnTx/>
                <a:uFillTx/>
                <a:latin typeface="Montserrat" panose="00000500000000000000" pitchFamily="2" charset="0"/>
                <a:ea typeface="Calibri" panose="020F0502020204030204" pitchFamily="34" charset="0"/>
                <a:cs typeface="Times New Roman" panose="02020603050405020304" pitchFamily="18" charset="0"/>
              </a:rPr>
              <a:t>- </a:t>
            </a:r>
            <a:r>
              <a:rPr lang="de-DE" b="1" dirty="0">
                <a:solidFill>
                  <a:srgbClr val="626362"/>
                </a:solidFill>
                <a:latin typeface="Montserrat" panose="00000500000000000000" pitchFamily="2" charset="0"/>
                <a:ea typeface="Calibri" panose="020F0502020204030204" pitchFamily="34" charset="0"/>
                <a:cs typeface="Times New Roman" panose="02020603050405020304" pitchFamily="18" charset="0"/>
              </a:rPr>
              <a:t>Innovative Weiterentwicklung durch den Einsatz von Kubernetes</a:t>
            </a:r>
            <a:r>
              <a:rPr kumimoji="0" lang="en-US" sz="2000" b="1" i="0" u="none" strike="noStrike" kern="1200" cap="none" spc="0" normalizeH="0" baseline="0" noProof="0" dirty="0">
                <a:ln>
                  <a:noFill/>
                </a:ln>
                <a:solidFill>
                  <a:srgbClr val="858585"/>
                </a:solidFill>
                <a:effectLst/>
                <a:uLnTx/>
                <a:uFillTx/>
                <a:latin typeface="Montserrat" panose="00000500000000000000" pitchFamily="2" charset="0"/>
                <a:ea typeface="Calibri" panose="020F0502020204030204" pitchFamily="34" charset="0"/>
                <a:cs typeface="Times New Roman" panose="02020603050405020304" pitchFamily="18" charset="0"/>
              </a:rPr>
              <a:t>
</a:t>
            </a:r>
          </a:p>
        </p:txBody>
      </p:sp>
      <p:sp>
        <p:nvSpPr>
          <p:cNvPr id="27" name="Textfeld 26">
            <a:extLst>
              <a:ext uri="{FF2B5EF4-FFF2-40B4-BE49-F238E27FC236}">
                <a16:creationId xmlns:a16="http://schemas.microsoft.com/office/drawing/2014/main" id="{D9F536F8-8C5E-0E65-8176-71CB4AF76A6F}"/>
              </a:ext>
            </a:extLst>
          </p:cNvPr>
          <p:cNvSpPr txBox="1"/>
          <p:nvPr/>
        </p:nvSpPr>
        <p:spPr>
          <a:xfrm>
            <a:off x="8044853" y="1815838"/>
            <a:ext cx="2526855" cy="1046440"/>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ts val="600"/>
              </a:spcAft>
              <a:buClrTx/>
              <a:buSzTx/>
              <a:buFontTx/>
              <a:buNone/>
              <a:tabLst/>
              <a:defRPr/>
            </a:pPr>
            <a:r>
              <a:rPr kumimoji="0" lang="en-US" sz="1300" b="1" i="0" u="none" strike="noStrike" kern="1200" cap="none" spc="0" normalizeH="0" baseline="0" noProof="0" dirty="0" err="1">
                <a:ln>
                  <a:noFill/>
                </a:ln>
                <a:solidFill>
                  <a:srgbClr val="8A9993"/>
                </a:solidFill>
                <a:effectLst/>
                <a:uLnTx/>
                <a:uFillTx/>
                <a:latin typeface="Montserrat" panose="00000500000000000000" pitchFamily="2" charset="0"/>
                <a:ea typeface="+mn-ea"/>
                <a:cs typeface="+mn-cs"/>
              </a:rPr>
              <a:t>Läuft</a:t>
            </a:r>
            <a:r>
              <a:rPr kumimoji="0" lang="en-US" sz="1300" b="1" i="0" u="none" strike="noStrike" kern="1200" cap="none" spc="0" normalizeH="0" baseline="0" noProof="0" dirty="0">
                <a:ln>
                  <a:noFill/>
                </a:ln>
                <a:solidFill>
                  <a:srgbClr val="8A9993"/>
                </a:solidFill>
                <a:effectLst/>
                <a:uLnTx/>
                <a:uFillTx/>
                <a:latin typeface="Montserrat" panose="00000500000000000000" pitchFamily="2" charset="0"/>
                <a:ea typeface="+mn-ea"/>
                <a:cs typeface="+mn-cs"/>
              </a:rPr>
              <a:t> </a:t>
            </a:r>
            <a:r>
              <a:rPr kumimoji="0" lang="en-US" sz="1300" b="1" i="0" u="none" strike="noStrike" kern="1200" cap="none" spc="0" normalizeH="0" baseline="0" noProof="0" dirty="0" err="1">
                <a:ln>
                  <a:noFill/>
                </a:ln>
                <a:solidFill>
                  <a:srgbClr val="8A9993"/>
                </a:solidFill>
                <a:effectLst/>
                <a:uLnTx/>
                <a:uFillTx/>
                <a:latin typeface="Montserrat" panose="00000500000000000000" pitchFamily="2" charset="0"/>
                <a:ea typeface="+mn-ea"/>
                <a:cs typeface="+mn-cs"/>
              </a:rPr>
              <a:t>überall</a:t>
            </a:r>
            <a:endParaRPr kumimoji="0" lang="en-US" sz="1300" b="1" i="0" u="none" strike="noStrike" kern="1200" cap="none" spc="0" normalizeH="0" baseline="0" noProof="0" dirty="0">
              <a:ln>
                <a:noFill/>
              </a:ln>
              <a:solidFill>
                <a:srgbClr val="8A9993"/>
              </a:solidFill>
              <a:effectLst/>
              <a:uLnTx/>
              <a:uFillTx/>
              <a:latin typeface="Montserrat" panose="00000500000000000000" pitchFamily="2" charset="0"/>
              <a:ea typeface="+mn-ea"/>
              <a:cs typeface="+mn-cs"/>
            </a:endParaRPr>
          </a:p>
          <a:p>
            <a:pPr lvl="0">
              <a:spcAft>
                <a:spcPts val="600"/>
              </a:spcAft>
              <a:defRPr/>
            </a:pPr>
            <a:r>
              <a:rPr lang="de-DE" sz="1100" dirty="0">
                <a:solidFill>
                  <a:srgbClr val="000000">
                    <a:lumMod val="85000"/>
                    <a:lumOff val="15000"/>
                  </a:srgbClr>
                </a:solidFill>
                <a:latin typeface="Montserrat" panose="00000500000000000000" pitchFamily="2" charset="0"/>
              </a:rPr>
              <a:t>Kubernetes ist Open Source und bietet die Freiheit, vor Ort, in einer hybriden oder öffentlichen Cloud zu arbeiten.</a:t>
            </a:r>
            <a:endParaRPr kumimoji="0" lang="en-US" sz="1100" b="0" i="0" u="none" strike="noStrike" kern="1200" cap="none" spc="0" normalizeH="0" baseline="0" noProof="0" dirty="0">
              <a:ln>
                <a:noFill/>
              </a:ln>
              <a:solidFill>
                <a:srgbClr val="000000"/>
              </a:solidFill>
              <a:effectLst/>
              <a:uLnTx/>
              <a:uFillTx/>
              <a:latin typeface="Montserrat" pitchFamily="2" charset="77"/>
              <a:ea typeface="+mn-ea"/>
              <a:cs typeface="+mn-cs"/>
            </a:endParaRPr>
          </a:p>
        </p:txBody>
      </p:sp>
      <p:sp>
        <p:nvSpPr>
          <p:cNvPr id="62" name="Textfeld 61">
            <a:extLst>
              <a:ext uri="{FF2B5EF4-FFF2-40B4-BE49-F238E27FC236}">
                <a16:creationId xmlns:a16="http://schemas.microsoft.com/office/drawing/2014/main" id="{C169715F-A7EF-5D7F-5168-ECCB0012AC90}"/>
              </a:ext>
            </a:extLst>
          </p:cNvPr>
          <p:cNvSpPr txBox="1"/>
          <p:nvPr/>
        </p:nvSpPr>
        <p:spPr>
          <a:xfrm>
            <a:off x="8730453" y="3291050"/>
            <a:ext cx="2526855" cy="1046440"/>
          </a:xfrm>
          <a:prstGeom prst="rect">
            <a:avLst/>
          </a:prstGeom>
          <a:noFill/>
        </p:spPr>
        <p:txBody>
          <a:bodyPr wrap="square" rtlCol="0">
            <a:spAutoFit/>
          </a:bodyPr>
          <a:lstStyle/>
          <a:p>
            <a:pPr lvl="0">
              <a:spcAft>
                <a:spcPts val="600"/>
              </a:spcAft>
              <a:defRPr/>
            </a:pPr>
            <a:r>
              <a:rPr lang="en-US" sz="1300" b="1" dirty="0" err="1">
                <a:solidFill>
                  <a:srgbClr val="008C95">
                    <a:lumMod val="75000"/>
                  </a:srgbClr>
                </a:solidFill>
                <a:latin typeface="Montserrat" panose="00000500000000000000" pitchFamily="2" charset="0"/>
              </a:rPr>
              <a:t>Horizontale</a:t>
            </a:r>
            <a:r>
              <a:rPr lang="en-US" sz="1300" b="1" dirty="0">
                <a:solidFill>
                  <a:srgbClr val="008C95">
                    <a:lumMod val="75000"/>
                  </a:srgbClr>
                </a:solidFill>
                <a:latin typeface="Montserrat" panose="00000500000000000000" pitchFamily="2" charset="0"/>
              </a:rPr>
              <a:t> </a:t>
            </a:r>
            <a:r>
              <a:rPr lang="en-US" sz="1300" b="1" dirty="0" err="1">
                <a:solidFill>
                  <a:srgbClr val="008C95">
                    <a:lumMod val="75000"/>
                  </a:srgbClr>
                </a:solidFill>
                <a:latin typeface="Montserrat" panose="00000500000000000000" pitchFamily="2" charset="0"/>
              </a:rPr>
              <a:t>Skalierung</a:t>
            </a:r>
            <a:endParaRPr lang="en-US" sz="1300" b="1" dirty="0">
              <a:solidFill>
                <a:srgbClr val="008C95">
                  <a:lumMod val="75000"/>
                </a:srgbClr>
              </a:solidFill>
              <a:latin typeface="Montserrat" panose="00000500000000000000" pitchFamily="2" charset="0"/>
            </a:endParaRPr>
          </a:p>
          <a:p>
            <a:pPr lvl="0">
              <a:spcAft>
                <a:spcPts val="600"/>
              </a:spcAft>
              <a:defRPr/>
            </a:pPr>
            <a:r>
              <a:rPr lang="de-DE" sz="1100" dirty="0">
                <a:solidFill>
                  <a:srgbClr val="000000"/>
                </a:solidFill>
                <a:latin typeface="Montserrat" panose="00000500000000000000" pitchFamily="2" charset="0"/>
              </a:rPr>
              <a:t>Ermöglicht die Skalierung von Ressourcen nicht nur vertikal, sondern auch horizontal, einfach und schnell</a:t>
            </a:r>
            <a:endParaRPr kumimoji="0" lang="en-US" sz="1100" b="0" i="0" u="none" strike="noStrike" kern="1200" cap="none" spc="0" normalizeH="0" baseline="0" noProof="0" dirty="0">
              <a:ln>
                <a:noFill/>
              </a:ln>
              <a:solidFill>
                <a:srgbClr val="000000"/>
              </a:solidFill>
              <a:effectLst/>
              <a:uLnTx/>
              <a:uFillTx/>
              <a:latin typeface="Montserrat" panose="00000500000000000000" pitchFamily="2" charset="0"/>
              <a:ea typeface="+mn-ea"/>
              <a:cs typeface="+mn-cs"/>
            </a:endParaRPr>
          </a:p>
        </p:txBody>
      </p:sp>
      <p:sp>
        <p:nvSpPr>
          <p:cNvPr id="64" name="Textfeld 63">
            <a:extLst>
              <a:ext uri="{FF2B5EF4-FFF2-40B4-BE49-F238E27FC236}">
                <a16:creationId xmlns:a16="http://schemas.microsoft.com/office/drawing/2014/main" id="{F4C1DE23-3E81-9431-FFFE-128163193CBE}"/>
              </a:ext>
            </a:extLst>
          </p:cNvPr>
          <p:cNvSpPr txBox="1"/>
          <p:nvPr/>
        </p:nvSpPr>
        <p:spPr>
          <a:xfrm>
            <a:off x="8017201" y="5127920"/>
            <a:ext cx="2995140" cy="877163"/>
          </a:xfrm>
          <a:prstGeom prst="rect">
            <a:avLst/>
          </a:prstGeom>
          <a:noFill/>
        </p:spPr>
        <p:txBody>
          <a:bodyPr wrap="square" rtlCol="0">
            <a:spAutoFit/>
          </a:bodyPr>
          <a:lstStyle/>
          <a:p>
            <a:pPr lvl="0">
              <a:spcAft>
                <a:spcPts val="600"/>
              </a:spcAft>
              <a:defRPr/>
            </a:pPr>
            <a:r>
              <a:rPr lang="en-US" sz="1300" b="1" dirty="0">
                <a:solidFill>
                  <a:srgbClr val="00A3E0">
                    <a:lumMod val="75000"/>
                  </a:srgbClr>
                </a:solidFill>
                <a:latin typeface="Montserrat" panose="00000500000000000000" pitchFamily="2" charset="0"/>
              </a:rPr>
              <a:t>Rollbacks </a:t>
            </a:r>
            <a:r>
              <a:rPr lang="en-US" sz="1300" b="1" dirty="0" err="1">
                <a:solidFill>
                  <a:srgbClr val="00A3E0">
                    <a:lumMod val="75000"/>
                  </a:srgbClr>
                </a:solidFill>
                <a:latin typeface="Montserrat" panose="00000500000000000000" pitchFamily="2" charset="0"/>
              </a:rPr>
              <a:t>automatisieren</a:t>
            </a:r>
            <a:endParaRPr lang="en-US" sz="1300" b="1" dirty="0">
              <a:solidFill>
                <a:srgbClr val="00A3E0">
                  <a:lumMod val="75000"/>
                </a:srgbClr>
              </a:solidFill>
              <a:latin typeface="Montserrat" panose="00000500000000000000" pitchFamily="2" charset="0"/>
            </a:endParaRPr>
          </a:p>
          <a:p>
            <a:pPr lvl="0">
              <a:spcAft>
                <a:spcPts val="600"/>
              </a:spcAft>
              <a:defRPr/>
            </a:pPr>
            <a:r>
              <a:rPr lang="de-DE" sz="1100" dirty="0">
                <a:solidFill>
                  <a:srgbClr val="000000"/>
                </a:solidFill>
                <a:latin typeface="Montserrat" panose="00000500000000000000" pitchFamily="2" charset="0"/>
              </a:rPr>
              <a:t>Wenn nach einer Änderung etwas nicht nach Plan läuft, kann leicht ein Rollback durchgeführt werden</a:t>
            </a:r>
            <a:endParaRPr kumimoji="0" lang="en-US" sz="1100" b="0" i="0" u="none" strike="noStrike" kern="1200" cap="none" spc="0" normalizeH="0" baseline="0" noProof="0" dirty="0">
              <a:ln>
                <a:noFill/>
              </a:ln>
              <a:solidFill>
                <a:srgbClr val="000000"/>
              </a:solidFill>
              <a:effectLst/>
              <a:uLnTx/>
              <a:uFillTx/>
              <a:latin typeface="Montserrat" panose="00000500000000000000" pitchFamily="2" charset="0"/>
              <a:ea typeface="+mn-ea"/>
              <a:cs typeface="+mn-cs"/>
            </a:endParaRPr>
          </a:p>
        </p:txBody>
      </p:sp>
      <p:sp>
        <p:nvSpPr>
          <p:cNvPr id="65" name="Textfeld 64">
            <a:extLst>
              <a:ext uri="{FF2B5EF4-FFF2-40B4-BE49-F238E27FC236}">
                <a16:creationId xmlns:a16="http://schemas.microsoft.com/office/drawing/2014/main" id="{F80F05E8-ACEB-8816-A23F-4CAF60D3CEF6}"/>
              </a:ext>
            </a:extLst>
          </p:cNvPr>
          <p:cNvSpPr txBox="1"/>
          <p:nvPr/>
        </p:nvSpPr>
        <p:spPr>
          <a:xfrm>
            <a:off x="368915" y="5103851"/>
            <a:ext cx="2995140" cy="1046440"/>
          </a:xfrm>
          <a:prstGeom prst="rect">
            <a:avLst/>
          </a:prstGeom>
          <a:noFill/>
        </p:spPr>
        <p:txBody>
          <a:bodyPr wrap="square" rtlCol="0">
            <a:spAutoFit/>
          </a:bodyPr>
          <a:lstStyle/>
          <a:p>
            <a:pPr lvl="0" algn="r">
              <a:spcAft>
                <a:spcPts val="600"/>
              </a:spcAft>
              <a:defRPr/>
            </a:pPr>
            <a:r>
              <a:rPr lang="en-US" sz="1300" b="1" dirty="0" err="1">
                <a:solidFill>
                  <a:srgbClr val="1D4F91">
                    <a:lumMod val="60000"/>
                    <a:lumOff val="40000"/>
                  </a:srgbClr>
                </a:solidFill>
                <a:latin typeface="Montserrat" panose="00000500000000000000" pitchFamily="2" charset="0"/>
              </a:rPr>
              <a:t>Selbstbeobachtung</a:t>
            </a:r>
            <a:endParaRPr lang="en-US" sz="1300" b="1" dirty="0">
              <a:solidFill>
                <a:srgbClr val="1D4F91">
                  <a:lumMod val="60000"/>
                  <a:lumOff val="40000"/>
                </a:srgbClr>
              </a:solidFill>
              <a:latin typeface="Montserrat" panose="00000500000000000000" pitchFamily="2" charset="0"/>
            </a:endParaRPr>
          </a:p>
          <a:p>
            <a:pPr lvl="0" algn="r">
              <a:spcAft>
                <a:spcPts val="600"/>
              </a:spcAft>
              <a:defRPr/>
            </a:pPr>
            <a:r>
              <a:rPr lang="de-DE" sz="1100" dirty="0">
                <a:solidFill>
                  <a:srgbClr val="000000">
                    <a:lumMod val="85000"/>
                    <a:lumOff val="15000"/>
                  </a:srgbClr>
                </a:solidFill>
                <a:latin typeface="Montserrat" panose="00000500000000000000" pitchFamily="2" charset="0"/>
              </a:rPr>
              <a:t>Überprüft ständig den Zustand von Knoten und Containern und startet eine ausgefallene Anwendung automatisch neu</a:t>
            </a:r>
            <a:endParaRPr kumimoji="0" lang="en-US" sz="1100" b="0" i="0" u="none" strike="noStrike" kern="1200" cap="none" spc="0" normalizeH="0" baseline="0" noProof="0" dirty="0">
              <a:ln>
                <a:noFill/>
              </a:ln>
              <a:solidFill>
                <a:srgbClr val="000000">
                  <a:lumMod val="85000"/>
                  <a:lumOff val="15000"/>
                </a:srgbClr>
              </a:solidFill>
              <a:effectLst/>
              <a:uLnTx/>
              <a:uFillTx/>
              <a:latin typeface="Montserrat" panose="00000500000000000000" pitchFamily="2" charset="0"/>
              <a:ea typeface="+mn-ea"/>
              <a:cs typeface="+mn-cs"/>
            </a:endParaRPr>
          </a:p>
        </p:txBody>
      </p:sp>
      <p:sp>
        <p:nvSpPr>
          <p:cNvPr id="68" name="Textfeld 67">
            <a:extLst>
              <a:ext uri="{FF2B5EF4-FFF2-40B4-BE49-F238E27FC236}">
                <a16:creationId xmlns:a16="http://schemas.microsoft.com/office/drawing/2014/main" id="{C47B3AB3-34F5-C713-2AD0-BA3641DF9BDD}"/>
              </a:ext>
            </a:extLst>
          </p:cNvPr>
          <p:cNvSpPr txBox="1"/>
          <p:nvPr/>
        </p:nvSpPr>
        <p:spPr>
          <a:xfrm>
            <a:off x="41566" y="3372424"/>
            <a:ext cx="2911149" cy="1215717"/>
          </a:xfrm>
          <a:prstGeom prst="rect">
            <a:avLst/>
          </a:prstGeom>
          <a:noFill/>
        </p:spPr>
        <p:txBody>
          <a:bodyPr wrap="square" rtlCol="0">
            <a:spAutoFit/>
          </a:bodyPr>
          <a:lstStyle/>
          <a:p>
            <a:pPr lvl="0" algn="r">
              <a:spcAft>
                <a:spcPts val="600"/>
              </a:spcAft>
              <a:defRPr/>
            </a:pPr>
            <a:r>
              <a:rPr lang="en-US" sz="1200" b="1" dirty="0" err="1">
                <a:solidFill>
                  <a:srgbClr val="C5E86C">
                    <a:lumMod val="75000"/>
                  </a:srgbClr>
                </a:solidFill>
                <a:latin typeface="Montserrat" panose="00000500000000000000" pitchFamily="2" charset="0"/>
              </a:rPr>
              <a:t>Bietet</a:t>
            </a:r>
            <a:r>
              <a:rPr lang="en-US" sz="1200" b="1" dirty="0">
                <a:solidFill>
                  <a:srgbClr val="C5E86C">
                    <a:lumMod val="75000"/>
                  </a:srgbClr>
                </a:solidFill>
                <a:latin typeface="Montserrat" panose="00000500000000000000" pitchFamily="2" charset="0"/>
              </a:rPr>
              <a:t> </a:t>
            </a:r>
            <a:r>
              <a:rPr lang="en-US" sz="1200" b="1" dirty="0" err="1">
                <a:solidFill>
                  <a:srgbClr val="C5E86C">
                    <a:lumMod val="75000"/>
                  </a:srgbClr>
                </a:solidFill>
                <a:latin typeface="Montserrat" panose="00000500000000000000" pitchFamily="2" charset="0"/>
              </a:rPr>
              <a:t>zusätzliche</a:t>
            </a:r>
            <a:r>
              <a:rPr lang="en-US" sz="1200" b="1" dirty="0">
                <a:solidFill>
                  <a:srgbClr val="C5E86C">
                    <a:lumMod val="75000"/>
                  </a:srgbClr>
                </a:solidFill>
                <a:latin typeface="Montserrat" panose="00000500000000000000" pitchFamily="2" charset="0"/>
              </a:rPr>
              <a:t> </a:t>
            </a:r>
            <a:r>
              <a:rPr lang="en-US" sz="1200" b="1" dirty="0" err="1">
                <a:solidFill>
                  <a:srgbClr val="C5E86C">
                    <a:lumMod val="75000"/>
                  </a:srgbClr>
                </a:solidFill>
                <a:latin typeface="Montserrat" panose="00000500000000000000" pitchFamily="2" charset="0"/>
              </a:rPr>
              <a:t>Dienstleistungen</a:t>
            </a:r>
            <a:endParaRPr lang="en-US" sz="1200" b="1" dirty="0">
              <a:solidFill>
                <a:srgbClr val="C5E86C">
                  <a:lumMod val="75000"/>
                </a:srgbClr>
              </a:solidFill>
              <a:latin typeface="Montserrat" panose="00000500000000000000" pitchFamily="2" charset="0"/>
            </a:endParaRPr>
          </a:p>
          <a:p>
            <a:pPr lvl="0" algn="r">
              <a:spcAft>
                <a:spcPts val="600"/>
              </a:spcAft>
              <a:defRPr/>
            </a:pPr>
            <a:r>
              <a:rPr lang="de-DE" sz="1100" dirty="0">
                <a:solidFill>
                  <a:srgbClr val="000000"/>
                </a:solidFill>
                <a:latin typeface="Montserrat" panose="00000500000000000000" pitchFamily="2" charset="0"/>
              </a:rPr>
              <a:t>Bietet Sicherheit, hohe Verfügbarkeit, Netzwerk- und Speicherdienste (Container Storage Interface/Container Network Interface)</a:t>
            </a:r>
            <a:endParaRPr kumimoji="0" lang="en-US" sz="1100" b="0" i="0" u="none" strike="noStrike" kern="1200" cap="none" spc="0" normalizeH="0" baseline="0" noProof="0" dirty="0">
              <a:ln>
                <a:noFill/>
              </a:ln>
              <a:solidFill>
                <a:srgbClr val="000000">
                  <a:lumMod val="85000"/>
                  <a:lumOff val="15000"/>
                </a:srgbClr>
              </a:solidFill>
              <a:effectLst/>
              <a:uLnTx/>
              <a:uFillTx/>
              <a:latin typeface="Montserrat" panose="00000500000000000000" pitchFamily="2" charset="0"/>
              <a:ea typeface="+mn-ea"/>
              <a:cs typeface="+mn-cs"/>
            </a:endParaRPr>
          </a:p>
        </p:txBody>
      </p:sp>
      <p:sp>
        <p:nvSpPr>
          <p:cNvPr id="69" name="Textfeld 68">
            <a:extLst>
              <a:ext uri="{FF2B5EF4-FFF2-40B4-BE49-F238E27FC236}">
                <a16:creationId xmlns:a16="http://schemas.microsoft.com/office/drawing/2014/main" id="{09615AAF-E9CB-C5BB-8D07-E7245ACB79BB}"/>
              </a:ext>
            </a:extLst>
          </p:cNvPr>
          <p:cNvSpPr txBox="1"/>
          <p:nvPr/>
        </p:nvSpPr>
        <p:spPr>
          <a:xfrm>
            <a:off x="272376" y="1855404"/>
            <a:ext cx="3063643" cy="1031051"/>
          </a:xfrm>
          <a:prstGeom prst="rect">
            <a:avLst/>
          </a:prstGeom>
          <a:noFill/>
        </p:spPr>
        <p:txBody>
          <a:bodyPr wrap="square" rtlCol="0">
            <a:spAutoFit/>
          </a:bodyPr>
          <a:lstStyle/>
          <a:p>
            <a:pPr lvl="0" algn="r">
              <a:spcAft>
                <a:spcPts val="600"/>
              </a:spcAft>
              <a:defRPr/>
            </a:pPr>
            <a:r>
              <a:rPr lang="en-US" sz="1200" b="1" dirty="0" err="1">
                <a:solidFill>
                  <a:srgbClr val="004C92"/>
                </a:solidFill>
                <a:latin typeface="Montserrat" panose="00000500000000000000" pitchFamily="2" charset="0"/>
              </a:rPr>
              <a:t>Automatisierte</a:t>
            </a:r>
            <a:r>
              <a:rPr lang="en-US" sz="1200" b="1" dirty="0">
                <a:solidFill>
                  <a:srgbClr val="004C92"/>
                </a:solidFill>
                <a:latin typeface="Montserrat" panose="00000500000000000000" pitchFamily="2" charset="0"/>
              </a:rPr>
              <a:t> </a:t>
            </a:r>
            <a:r>
              <a:rPr lang="en-US" sz="1200" b="1" dirty="0" err="1">
                <a:solidFill>
                  <a:srgbClr val="004C92"/>
                </a:solidFill>
                <a:latin typeface="Montserrat" panose="00000500000000000000" pitchFamily="2" charset="0"/>
              </a:rPr>
              <a:t>Bereitstellung</a:t>
            </a:r>
            <a:endParaRPr lang="en-US" sz="1200" b="1" dirty="0">
              <a:solidFill>
                <a:srgbClr val="004C92"/>
              </a:solidFill>
              <a:latin typeface="Montserrat" panose="00000500000000000000" pitchFamily="2" charset="0"/>
            </a:endParaRPr>
          </a:p>
          <a:p>
            <a:pPr lvl="0" algn="r">
              <a:spcAft>
                <a:spcPts val="600"/>
              </a:spcAft>
              <a:defRPr/>
            </a:pPr>
            <a:r>
              <a:rPr lang="de-DE" sz="1100" dirty="0">
                <a:solidFill>
                  <a:srgbClr val="000000">
                    <a:lumMod val="85000"/>
                    <a:lumOff val="15000"/>
                  </a:srgbClr>
                </a:solidFill>
                <a:latin typeface="Montserrat" panose="00000500000000000000" pitchFamily="2" charset="0"/>
              </a:rPr>
              <a:t>Zeitaufwändige manuelle Prozesse gehören der Vergangenheit an. Mit DeepUnity Plattform wird der Bereitstellungsprozess automatisiert</a:t>
            </a:r>
            <a:endParaRPr kumimoji="0" lang="en-US" sz="1100" b="0" i="0" u="none" strike="noStrike" kern="1200" cap="none" spc="0" normalizeH="0" baseline="0" noProof="0" dirty="0">
              <a:ln>
                <a:noFill/>
              </a:ln>
              <a:solidFill>
                <a:srgbClr val="000000">
                  <a:lumMod val="85000"/>
                  <a:lumOff val="15000"/>
                </a:srgbClr>
              </a:solidFill>
              <a:effectLst/>
              <a:uLnTx/>
              <a:uFillTx/>
              <a:latin typeface="Montserrat" panose="00000500000000000000" pitchFamily="2" charset="0"/>
              <a:ea typeface="+mn-ea"/>
              <a:cs typeface="+mn-cs"/>
            </a:endParaRPr>
          </a:p>
        </p:txBody>
      </p:sp>
    </p:spTree>
    <p:extLst>
      <p:ext uri="{BB962C8B-B14F-4D97-AF65-F5344CB8AC3E}">
        <p14:creationId xmlns:p14="http://schemas.microsoft.com/office/powerpoint/2010/main" val="330136458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EB3B0279-2302-40A4-AA57-FFB971E5DA87}"/>
              </a:ext>
            </a:extLst>
          </p:cNvPr>
          <p:cNvSpPr>
            <a:spLocks noGrp="1"/>
          </p:cNvSpPr>
          <p:nvPr>
            <p:ph type="ctrTitle"/>
          </p:nvPr>
        </p:nvSpPr>
        <p:spPr>
          <a:xfrm>
            <a:off x="520377" y="1117526"/>
            <a:ext cx="9337998" cy="456632"/>
          </a:xfrm>
        </p:spPr>
        <p:txBody>
          <a:bodyPr lIns="91440" tIns="45720" rIns="91440" bIns="45720" anchor="t" anchorCtr="0">
            <a:noAutofit/>
          </a:bodyPr>
          <a:lstStyle/>
          <a:p>
            <a:r>
              <a:rPr lang="de-DE" dirty="0">
                <a:latin typeface="Montserrat"/>
              </a:rPr>
              <a:t>eVNA - Interoperabilität mit angeschlossenen Systemen</a:t>
            </a:r>
            <a:endParaRPr lang="fr-FR" dirty="0">
              <a:latin typeface="Montserrat"/>
            </a:endParaRPr>
          </a:p>
        </p:txBody>
      </p:sp>
      <p:pic>
        <p:nvPicPr>
          <p:cNvPr id="7" name="Picture 6">
            <a:extLst>
              <a:ext uri="{FF2B5EF4-FFF2-40B4-BE49-F238E27FC236}">
                <a16:creationId xmlns:a16="http://schemas.microsoft.com/office/drawing/2014/main" id="{F7B2805F-682B-4D23-A73F-35B83676961F}"/>
              </a:ext>
            </a:extLst>
          </p:cNvPr>
          <p:cNvPicPr>
            <a:picLocks noChangeAspect="1"/>
          </p:cNvPicPr>
          <p:nvPr/>
        </p:nvPicPr>
        <p:blipFill>
          <a:blip r:embed="rId4"/>
          <a:stretch>
            <a:fillRect/>
          </a:stretch>
        </p:blipFill>
        <p:spPr>
          <a:xfrm>
            <a:off x="453142" y="1770969"/>
            <a:ext cx="11199323" cy="4974767"/>
          </a:xfrm>
          <a:prstGeom prst="rect">
            <a:avLst/>
          </a:prstGeom>
        </p:spPr>
      </p:pic>
    </p:spTree>
    <p:extLst>
      <p:ext uri="{BB962C8B-B14F-4D97-AF65-F5344CB8AC3E}">
        <p14:creationId xmlns:p14="http://schemas.microsoft.com/office/powerpoint/2010/main" val="2482043567"/>
      </p:ext>
    </p:extLst>
  </p:cSld>
  <p:clrMapOvr>
    <a:masterClrMapping/>
  </p:clrMapOvr>
  <p:extLst>
    <p:ext uri="{6950BFC3-D8DA-4A85-94F7-54DA5524770B}">
      <p188:commentRel xmlns:p188="http://schemas.microsoft.com/office/powerpoint/2018/8/main" r:id="rId3"/>
    </p:ext>
  </p:extLs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EB3B0279-2302-40A4-AA57-FFB971E5DA87}"/>
              </a:ext>
            </a:extLst>
          </p:cNvPr>
          <p:cNvSpPr>
            <a:spLocks noGrp="1"/>
          </p:cNvSpPr>
          <p:nvPr>
            <p:ph type="ctrTitle"/>
          </p:nvPr>
        </p:nvSpPr>
        <p:spPr>
          <a:xfrm>
            <a:off x="520377" y="1117526"/>
            <a:ext cx="10377778" cy="456632"/>
          </a:xfrm>
        </p:spPr>
        <p:txBody>
          <a:bodyPr/>
          <a:lstStyle/>
          <a:p>
            <a:r>
              <a:rPr lang="fr-FR" dirty="0" err="1"/>
              <a:t>eVNA</a:t>
            </a:r>
            <a:r>
              <a:rPr lang="fr-FR" dirty="0"/>
              <a:t> – </a:t>
            </a:r>
            <a:r>
              <a:rPr lang="fr-FR" dirty="0" err="1"/>
              <a:t>Prozessbezogenes</a:t>
            </a:r>
            <a:r>
              <a:rPr lang="fr-FR" dirty="0"/>
              <a:t> </a:t>
            </a:r>
            <a:r>
              <a:rPr lang="fr-FR" dirty="0" err="1"/>
              <a:t>Arbeiten</a:t>
            </a:r>
            <a:r>
              <a:rPr lang="fr-FR" dirty="0"/>
              <a:t> an </a:t>
            </a:r>
            <a:r>
              <a:rPr lang="fr-FR" dirty="0" err="1"/>
              <a:t>jedem</a:t>
            </a:r>
            <a:r>
              <a:rPr lang="fr-FR" dirty="0"/>
              <a:t> </a:t>
            </a:r>
            <a:r>
              <a:rPr lang="fr-FR" dirty="0" err="1"/>
              <a:t>Arbeitsplatz</a:t>
            </a:r>
            <a:endParaRPr lang="fr-FR" dirty="0"/>
          </a:p>
        </p:txBody>
      </p:sp>
      <p:grpSp>
        <p:nvGrpSpPr>
          <p:cNvPr id="2" name="Gruppieren 1">
            <a:extLst>
              <a:ext uri="{FF2B5EF4-FFF2-40B4-BE49-F238E27FC236}">
                <a16:creationId xmlns:a16="http://schemas.microsoft.com/office/drawing/2014/main" id="{846BED36-5846-FF55-E119-EDB65C890023}"/>
              </a:ext>
            </a:extLst>
          </p:cNvPr>
          <p:cNvGrpSpPr/>
          <p:nvPr/>
        </p:nvGrpSpPr>
        <p:grpSpPr>
          <a:xfrm>
            <a:off x="2987245" y="1856830"/>
            <a:ext cx="5759505" cy="4119441"/>
            <a:chOff x="824776" y="2513098"/>
            <a:chExt cx="6176387" cy="4257157"/>
          </a:xfrm>
        </p:grpSpPr>
        <p:grpSp>
          <p:nvGrpSpPr>
            <p:cNvPr id="4" name="Group 10">
              <a:extLst>
                <a:ext uri="{FF2B5EF4-FFF2-40B4-BE49-F238E27FC236}">
                  <a16:creationId xmlns:a16="http://schemas.microsoft.com/office/drawing/2014/main" id="{DFEB2F22-2379-0881-3667-3E7B015C667F}"/>
                </a:ext>
              </a:extLst>
            </p:cNvPr>
            <p:cNvGrpSpPr/>
            <p:nvPr/>
          </p:nvGrpSpPr>
          <p:grpSpPr>
            <a:xfrm>
              <a:off x="824776" y="2513098"/>
              <a:ext cx="6176387" cy="4257157"/>
              <a:chOff x="613283" y="1464723"/>
              <a:chExt cx="5104026" cy="3995783"/>
            </a:xfrm>
          </p:grpSpPr>
          <p:pic>
            <p:nvPicPr>
              <p:cNvPr id="6" name="Picture 4" descr="100+ Free Blank Screen &amp; Screen Images">
                <a:extLst>
                  <a:ext uri="{FF2B5EF4-FFF2-40B4-BE49-F238E27FC236}">
                    <a16:creationId xmlns:a16="http://schemas.microsoft.com/office/drawing/2014/main" id="{5C594464-3878-813A-A24F-60EB48613B6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3283" y="1464723"/>
                <a:ext cx="5104026" cy="3995783"/>
              </a:xfrm>
              <a:prstGeom prst="rect">
                <a:avLst/>
              </a:prstGeom>
              <a:noFill/>
              <a:extLst>
                <a:ext uri="{909E8E84-426E-40DD-AFC4-6F175D3DCCD1}">
                  <a14:hiddenFill xmlns:a14="http://schemas.microsoft.com/office/drawing/2010/main">
                    <a:solidFill>
                      <a:srgbClr val="FFFFFF"/>
                    </a:solidFill>
                  </a14:hiddenFill>
                </a:ext>
              </a:extLst>
            </p:spPr>
          </p:pic>
          <p:sp>
            <p:nvSpPr>
              <p:cNvPr id="8" name="Oval 13">
                <a:extLst>
                  <a:ext uri="{FF2B5EF4-FFF2-40B4-BE49-F238E27FC236}">
                    <a16:creationId xmlns:a16="http://schemas.microsoft.com/office/drawing/2014/main" id="{966FF1D9-D192-22F4-C982-C8D8A0DA9D17}"/>
                  </a:ext>
                </a:extLst>
              </p:cNvPr>
              <p:cNvSpPr/>
              <p:nvPr/>
            </p:nvSpPr>
            <p:spPr>
              <a:xfrm>
                <a:off x="5248049" y="4300296"/>
                <a:ext cx="179918" cy="186441"/>
              </a:xfrm>
              <a:prstGeom prst="ellipse">
                <a:avLst/>
              </a:prstGeom>
              <a:solidFill>
                <a:srgbClr val="1A1A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pic>
          <p:nvPicPr>
            <p:cNvPr id="5" name="Grafik 1">
              <a:extLst>
                <a:ext uri="{FF2B5EF4-FFF2-40B4-BE49-F238E27FC236}">
                  <a16:creationId xmlns:a16="http://schemas.microsoft.com/office/drawing/2014/main" id="{C0BE1871-D72A-C1C8-DE83-7F8C710879DF}"/>
                </a:ext>
              </a:extLst>
            </p:cNvPr>
            <p:cNvPicPr>
              <a:picLocks noChangeAspect="1"/>
            </p:cNvPicPr>
            <p:nvPr/>
          </p:nvPicPr>
          <p:blipFill>
            <a:blip r:embed="rId4"/>
            <a:stretch>
              <a:fillRect/>
            </a:stretch>
          </p:blipFill>
          <p:spPr>
            <a:xfrm>
              <a:off x="1284400" y="2726609"/>
              <a:ext cx="5229416" cy="2709547"/>
            </a:xfrm>
            <a:prstGeom prst="rect">
              <a:avLst/>
            </a:prstGeom>
            <a:effectLst>
              <a:outerShdw blurRad="50800" dist="38100" dir="2700000" algn="tl" rotWithShape="0">
                <a:prstClr val="black">
                  <a:alpha val="40000"/>
                </a:prstClr>
              </a:outerShdw>
            </a:effectLst>
          </p:spPr>
        </p:pic>
      </p:grpSp>
      <p:sp>
        <p:nvSpPr>
          <p:cNvPr id="11" name="Textfeld 8">
            <a:extLst>
              <a:ext uri="{FF2B5EF4-FFF2-40B4-BE49-F238E27FC236}">
                <a16:creationId xmlns:a16="http://schemas.microsoft.com/office/drawing/2014/main" id="{5D3B4CA3-4838-19C8-9CB4-CEC290D1D95C}"/>
              </a:ext>
            </a:extLst>
          </p:cNvPr>
          <p:cNvSpPr txBox="1"/>
          <p:nvPr/>
        </p:nvSpPr>
        <p:spPr>
          <a:xfrm>
            <a:off x="811763" y="5818737"/>
            <a:ext cx="10530492" cy="584775"/>
          </a:xfrm>
          <a:prstGeom prst="rect">
            <a:avLst/>
          </a:prstGeom>
          <a:noFill/>
        </p:spPr>
        <p:txBody>
          <a:bodyPr wrap="square">
            <a:spAutoFit/>
          </a:bodyPr>
          <a:lstStyle/>
          <a:p>
            <a:pPr marL="0" marR="0" lvl="0" indent="0" algn="just" defTabSz="914400" rtl="0" eaLnBrk="0" fontAlgn="base" latinLnBrk="0" hangingPunct="0">
              <a:lnSpc>
                <a:spcPct val="100000"/>
              </a:lnSpc>
              <a:spcBef>
                <a:spcPct val="0"/>
              </a:spcBef>
              <a:spcAft>
                <a:spcPct val="0"/>
              </a:spcAft>
              <a:buClrTx/>
              <a:buSzTx/>
              <a:buFontTx/>
              <a:buNone/>
              <a:tabLst/>
              <a:defRPr/>
            </a:pPr>
            <a:r>
              <a:rPr kumimoji="0" lang="de-DE" sz="1600" b="1" i="0" u="none" strike="noStrike" kern="1200" cap="none" spc="0" normalizeH="0" baseline="0" noProof="0" dirty="0">
                <a:ln>
                  <a:noFill/>
                </a:ln>
                <a:solidFill>
                  <a:srgbClr val="626362"/>
                </a:solidFill>
                <a:effectLst/>
                <a:uLnTx/>
                <a:uFillTx/>
                <a:latin typeface="Montserrat" pitchFamily="2" charset="77"/>
                <a:ea typeface="+mn-ea"/>
                <a:cs typeface="+mn-cs"/>
              </a:rPr>
              <a:t>Mit der Deep Unity </a:t>
            </a:r>
            <a:r>
              <a:rPr kumimoji="0" lang="de-DE" sz="1600" b="1" i="0" u="none" strike="noStrike" kern="1200" cap="none" spc="0" normalizeH="0" baseline="0" noProof="0" dirty="0" err="1">
                <a:ln>
                  <a:noFill/>
                </a:ln>
                <a:solidFill>
                  <a:srgbClr val="626362"/>
                </a:solidFill>
                <a:effectLst/>
                <a:uLnTx/>
                <a:uFillTx/>
                <a:latin typeface="Montserrat" pitchFamily="2" charset="77"/>
                <a:ea typeface="+mn-ea"/>
                <a:cs typeface="+mn-cs"/>
              </a:rPr>
              <a:t>eVNA</a:t>
            </a:r>
            <a:r>
              <a:rPr kumimoji="0" lang="de-DE" sz="1600" b="1" i="0" u="none" strike="noStrike" kern="1200" cap="none" spc="0" normalizeH="0" noProof="0" dirty="0">
                <a:ln>
                  <a:noFill/>
                </a:ln>
                <a:solidFill>
                  <a:srgbClr val="626362"/>
                </a:solidFill>
                <a:effectLst/>
                <a:uLnTx/>
                <a:uFillTx/>
                <a:latin typeface="Montserrat" pitchFamily="2" charset="77"/>
                <a:ea typeface="+mn-ea"/>
                <a:cs typeface="+mn-cs"/>
              </a:rPr>
              <a:t> können Sie aus jedem Arbeitsumfeld im Krankenhaus zielgerichtet mit einer zentralen Applikation auf alle Unternehmensinhalte (</a:t>
            </a:r>
            <a:r>
              <a:rPr kumimoji="0" lang="de-DE" sz="1600" b="1" i="0" u="none" strike="noStrike" kern="1200" cap="none" spc="0" normalizeH="0" noProof="0" dirty="0" err="1">
                <a:ln>
                  <a:noFill/>
                </a:ln>
                <a:solidFill>
                  <a:srgbClr val="626362"/>
                </a:solidFill>
                <a:effectLst/>
                <a:uLnTx/>
                <a:uFillTx/>
                <a:latin typeface="Montserrat" pitchFamily="2" charset="77"/>
                <a:ea typeface="+mn-ea"/>
                <a:cs typeface="+mn-cs"/>
              </a:rPr>
              <a:t>enterprise</a:t>
            </a:r>
            <a:r>
              <a:rPr kumimoji="0" lang="de-DE" sz="1600" b="1" i="0" u="none" strike="noStrike" kern="1200" cap="none" spc="0" normalizeH="0" noProof="0" dirty="0">
                <a:ln>
                  <a:noFill/>
                </a:ln>
                <a:solidFill>
                  <a:srgbClr val="626362"/>
                </a:solidFill>
                <a:effectLst/>
                <a:uLnTx/>
                <a:uFillTx/>
                <a:latin typeface="Montserrat" pitchFamily="2" charset="77"/>
                <a:ea typeface="+mn-ea"/>
                <a:cs typeface="+mn-cs"/>
              </a:rPr>
              <a:t> </a:t>
            </a:r>
            <a:r>
              <a:rPr kumimoji="0" lang="de-DE" sz="1600" b="1" i="0" u="none" strike="noStrike" kern="1200" cap="none" spc="0" normalizeH="0" noProof="0" dirty="0" err="1">
                <a:ln>
                  <a:noFill/>
                </a:ln>
                <a:solidFill>
                  <a:srgbClr val="626362"/>
                </a:solidFill>
                <a:effectLst/>
                <a:uLnTx/>
                <a:uFillTx/>
                <a:latin typeface="Montserrat" pitchFamily="2" charset="77"/>
                <a:ea typeface="+mn-ea"/>
                <a:cs typeface="+mn-cs"/>
              </a:rPr>
              <a:t>content</a:t>
            </a:r>
            <a:r>
              <a:rPr kumimoji="0" lang="de-DE" sz="1600" b="1" i="0" u="none" strike="noStrike" kern="1200" cap="none" spc="0" normalizeH="0" noProof="0" dirty="0">
                <a:ln>
                  <a:noFill/>
                </a:ln>
                <a:solidFill>
                  <a:srgbClr val="626362"/>
                </a:solidFill>
                <a:effectLst/>
                <a:uLnTx/>
                <a:uFillTx/>
                <a:latin typeface="Montserrat" pitchFamily="2" charset="77"/>
                <a:ea typeface="+mn-ea"/>
                <a:cs typeface="+mn-cs"/>
              </a:rPr>
              <a:t>) zugreifen.</a:t>
            </a:r>
            <a:endParaRPr kumimoji="0" lang="en-US" sz="1600" b="1" i="0" u="none" strike="noStrike" kern="1200" cap="none" spc="0" normalizeH="0" baseline="0" noProof="0" dirty="0">
              <a:ln>
                <a:noFill/>
              </a:ln>
              <a:solidFill>
                <a:srgbClr val="626362"/>
              </a:solidFill>
              <a:effectLst/>
              <a:uLnTx/>
              <a:uFillTx/>
              <a:latin typeface="Montserrat" pitchFamily="2" charset="77"/>
              <a:ea typeface="+mn-ea"/>
              <a:cs typeface="+mn-cs"/>
            </a:endParaRPr>
          </a:p>
        </p:txBody>
      </p:sp>
      <p:pic>
        <p:nvPicPr>
          <p:cNvPr id="7" name="imageSelected1" descr="Bild">
            <a:extLst>
              <a:ext uri="{FF2B5EF4-FFF2-40B4-BE49-F238E27FC236}">
                <a16:creationId xmlns:a16="http://schemas.microsoft.com/office/drawing/2014/main" id="{296C6A51-7B52-4E0F-7203-4827086DFC5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77425" y="1856830"/>
            <a:ext cx="4017752" cy="24800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imageSelected2" descr="Bild">
            <a:extLst>
              <a:ext uri="{FF2B5EF4-FFF2-40B4-BE49-F238E27FC236}">
                <a16:creationId xmlns:a16="http://schemas.microsoft.com/office/drawing/2014/main" id="{D0745B5A-0EBE-5D02-6FE4-F79B54B64A7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207726" y="1856830"/>
            <a:ext cx="5532502" cy="33351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6">
            <a:extLst>
              <a:ext uri="{FF2B5EF4-FFF2-40B4-BE49-F238E27FC236}">
                <a16:creationId xmlns:a16="http://schemas.microsoft.com/office/drawing/2014/main" id="{34FE9B2F-B79D-3E7A-99B2-99CDB8E5CD4F}"/>
              </a:ext>
            </a:extLst>
          </p:cNvPr>
          <p:cNvPicPr>
            <a:picLocks noChangeAspect="1"/>
          </p:cNvPicPr>
          <p:nvPr/>
        </p:nvPicPr>
        <p:blipFill>
          <a:blip r:embed="rId7"/>
          <a:stretch>
            <a:fillRect/>
          </a:stretch>
        </p:blipFill>
        <p:spPr>
          <a:xfrm>
            <a:off x="8318738" y="4265305"/>
            <a:ext cx="3756313" cy="2047077"/>
          </a:xfrm>
          <a:prstGeom prst="rect">
            <a:avLst/>
          </a:prstGeom>
        </p:spPr>
      </p:pic>
      <p:pic>
        <p:nvPicPr>
          <p:cNvPr id="12" name="Picture 10">
            <a:extLst>
              <a:ext uri="{FF2B5EF4-FFF2-40B4-BE49-F238E27FC236}">
                <a16:creationId xmlns:a16="http://schemas.microsoft.com/office/drawing/2014/main" id="{FEEB5F93-C07A-D5CA-1F03-28D281D501BD}"/>
              </a:ext>
            </a:extLst>
          </p:cNvPr>
          <p:cNvPicPr>
            <a:picLocks noChangeAspect="1"/>
          </p:cNvPicPr>
          <p:nvPr/>
        </p:nvPicPr>
        <p:blipFill>
          <a:blip r:embed="rId8"/>
          <a:stretch>
            <a:fillRect/>
          </a:stretch>
        </p:blipFill>
        <p:spPr>
          <a:xfrm>
            <a:off x="177425" y="3882073"/>
            <a:ext cx="3440151" cy="1936664"/>
          </a:xfrm>
          <a:prstGeom prst="rect">
            <a:avLst/>
          </a:prstGeom>
        </p:spPr>
      </p:pic>
      <p:pic>
        <p:nvPicPr>
          <p:cNvPr id="13" name="Picture 4">
            <a:extLst>
              <a:ext uri="{FF2B5EF4-FFF2-40B4-BE49-F238E27FC236}">
                <a16:creationId xmlns:a16="http://schemas.microsoft.com/office/drawing/2014/main" id="{F2205103-34E7-530A-4CF0-0E13F1078E92}"/>
              </a:ext>
            </a:extLst>
          </p:cNvPr>
          <p:cNvPicPr>
            <a:picLocks noChangeAspect="1"/>
          </p:cNvPicPr>
          <p:nvPr/>
        </p:nvPicPr>
        <p:blipFill>
          <a:blip r:embed="rId9"/>
          <a:stretch>
            <a:fillRect/>
          </a:stretch>
        </p:blipFill>
        <p:spPr>
          <a:xfrm>
            <a:off x="3722622" y="4532296"/>
            <a:ext cx="3635086" cy="2062429"/>
          </a:xfrm>
          <a:prstGeom prst="rect">
            <a:avLst/>
          </a:prstGeom>
        </p:spPr>
      </p:pic>
      <p:pic>
        <p:nvPicPr>
          <p:cNvPr id="14" name="Picture 11">
            <a:extLst>
              <a:ext uri="{FF2B5EF4-FFF2-40B4-BE49-F238E27FC236}">
                <a16:creationId xmlns:a16="http://schemas.microsoft.com/office/drawing/2014/main" id="{A02AB91A-1C36-26CC-28D9-36630A4F7E9A}"/>
              </a:ext>
            </a:extLst>
          </p:cNvPr>
          <p:cNvPicPr>
            <a:picLocks noChangeAspect="1"/>
          </p:cNvPicPr>
          <p:nvPr/>
        </p:nvPicPr>
        <p:blipFill>
          <a:blip r:embed="rId10"/>
          <a:stretch>
            <a:fillRect/>
          </a:stretch>
        </p:blipFill>
        <p:spPr>
          <a:xfrm>
            <a:off x="3490094" y="1699296"/>
            <a:ext cx="3867614" cy="2308608"/>
          </a:xfrm>
          <a:prstGeom prst="rect">
            <a:avLst/>
          </a:prstGeom>
        </p:spPr>
      </p:pic>
      <p:pic>
        <p:nvPicPr>
          <p:cNvPr id="15" name="Picture 4">
            <a:extLst>
              <a:ext uri="{FF2B5EF4-FFF2-40B4-BE49-F238E27FC236}">
                <a16:creationId xmlns:a16="http://schemas.microsoft.com/office/drawing/2014/main" id="{8FC919D7-D424-74FA-449C-880D36E99D91}"/>
              </a:ext>
            </a:extLst>
          </p:cNvPr>
          <p:cNvPicPr>
            <a:picLocks noChangeAspect="1"/>
          </p:cNvPicPr>
          <p:nvPr/>
        </p:nvPicPr>
        <p:blipFill>
          <a:blip r:embed="rId11"/>
          <a:stretch>
            <a:fillRect/>
          </a:stretch>
        </p:blipFill>
        <p:spPr>
          <a:xfrm>
            <a:off x="2151923" y="2207541"/>
            <a:ext cx="7664703" cy="4125119"/>
          </a:xfrm>
          <a:prstGeom prst="rect">
            <a:avLst/>
          </a:prstGeom>
        </p:spPr>
      </p:pic>
    </p:spTree>
    <p:extLst>
      <p:ext uri="{BB962C8B-B14F-4D97-AF65-F5344CB8AC3E}">
        <p14:creationId xmlns:p14="http://schemas.microsoft.com/office/powerpoint/2010/main" val="34116279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p:cTn id="7" dur="1000" fill="hold"/>
                                        <p:tgtEl>
                                          <p:spTgt spid="7"/>
                                        </p:tgtEl>
                                        <p:attrNameLst>
                                          <p:attrName>ppt_w</p:attrName>
                                        </p:attrNameLst>
                                      </p:cBhvr>
                                      <p:tavLst>
                                        <p:tav tm="0">
                                          <p:val>
                                            <p:fltVal val="0"/>
                                          </p:val>
                                        </p:tav>
                                        <p:tav tm="100000">
                                          <p:val>
                                            <p:strVal val="#ppt_w"/>
                                          </p:val>
                                        </p:tav>
                                      </p:tavLst>
                                    </p:anim>
                                    <p:anim calcmode="lin" valueType="num">
                                      <p:cBhvr>
                                        <p:cTn id="8" dur="1000" fill="hold"/>
                                        <p:tgtEl>
                                          <p:spTgt spid="7"/>
                                        </p:tgtEl>
                                        <p:attrNameLst>
                                          <p:attrName>ppt_h</p:attrName>
                                        </p:attrNameLst>
                                      </p:cBhvr>
                                      <p:tavLst>
                                        <p:tav tm="0">
                                          <p:val>
                                            <p:fltVal val="0"/>
                                          </p:val>
                                        </p:tav>
                                        <p:tav tm="100000">
                                          <p:val>
                                            <p:strVal val="#ppt_h"/>
                                          </p:val>
                                        </p:tav>
                                      </p:tavLst>
                                    </p:anim>
                                    <p:anim calcmode="lin" valueType="num">
                                      <p:cBhvr>
                                        <p:cTn id="9" dur="1000" fill="hold"/>
                                        <p:tgtEl>
                                          <p:spTgt spid="7"/>
                                        </p:tgtEl>
                                        <p:attrNameLst>
                                          <p:attrName>style.rotation</p:attrName>
                                        </p:attrNameLst>
                                      </p:cBhvr>
                                      <p:tavLst>
                                        <p:tav tm="0">
                                          <p:val>
                                            <p:fltVal val="90"/>
                                          </p:val>
                                        </p:tav>
                                        <p:tav tm="100000">
                                          <p:val>
                                            <p:fltVal val="0"/>
                                          </p:val>
                                        </p:tav>
                                      </p:tavLst>
                                    </p:anim>
                                    <p:animEffect transition="in" filter="fade">
                                      <p:cBhvr>
                                        <p:cTn id="10" dur="1000"/>
                                        <p:tgtEl>
                                          <p:spTgt spid="7"/>
                                        </p:tgtEl>
                                      </p:cBhvr>
                                    </p:animEffect>
                                  </p:childTnLst>
                                </p:cTn>
                              </p:par>
                            </p:childTnLst>
                          </p:cTn>
                        </p:par>
                      </p:childTnLst>
                    </p:cTn>
                  </p:par>
                  <p:par>
                    <p:cTn id="11" fill="hold">
                      <p:stCondLst>
                        <p:cond delay="indefinite"/>
                      </p:stCondLst>
                      <p:childTnLst>
                        <p:par>
                          <p:cTn id="12" fill="hold">
                            <p:stCondLst>
                              <p:cond delay="0"/>
                            </p:stCondLst>
                            <p:childTnLst>
                              <p:par>
                                <p:cTn id="13" presetID="31" presetClass="entr" presetSubtype="0" fill="hold" nodeType="clickEffect">
                                  <p:stCondLst>
                                    <p:cond delay="0"/>
                                  </p:stCondLst>
                                  <p:childTnLst>
                                    <p:set>
                                      <p:cBhvr>
                                        <p:cTn id="14" dur="1" fill="hold">
                                          <p:stCondLst>
                                            <p:cond delay="0"/>
                                          </p:stCondLst>
                                        </p:cTn>
                                        <p:tgtEl>
                                          <p:spTgt spid="9"/>
                                        </p:tgtEl>
                                        <p:attrNameLst>
                                          <p:attrName>style.visibility</p:attrName>
                                        </p:attrNameLst>
                                      </p:cBhvr>
                                      <p:to>
                                        <p:strVal val="visible"/>
                                      </p:to>
                                    </p:set>
                                    <p:anim calcmode="lin" valueType="num">
                                      <p:cBhvr>
                                        <p:cTn id="15" dur="1000" fill="hold"/>
                                        <p:tgtEl>
                                          <p:spTgt spid="9"/>
                                        </p:tgtEl>
                                        <p:attrNameLst>
                                          <p:attrName>ppt_w</p:attrName>
                                        </p:attrNameLst>
                                      </p:cBhvr>
                                      <p:tavLst>
                                        <p:tav tm="0">
                                          <p:val>
                                            <p:fltVal val="0"/>
                                          </p:val>
                                        </p:tav>
                                        <p:tav tm="100000">
                                          <p:val>
                                            <p:strVal val="#ppt_w"/>
                                          </p:val>
                                        </p:tav>
                                      </p:tavLst>
                                    </p:anim>
                                    <p:anim calcmode="lin" valueType="num">
                                      <p:cBhvr>
                                        <p:cTn id="16" dur="1000" fill="hold"/>
                                        <p:tgtEl>
                                          <p:spTgt spid="9"/>
                                        </p:tgtEl>
                                        <p:attrNameLst>
                                          <p:attrName>ppt_h</p:attrName>
                                        </p:attrNameLst>
                                      </p:cBhvr>
                                      <p:tavLst>
                                        <p:tav tm="0">
                                          <p:val>
                                            <p:fltVal val="0"/>
                                          </p:val>
                                        </p:tav>
                                        <p:tav tm="100000">
                                          <p:val>
                                            <p:strVal val="#ppt_h"/>
                                          </p:val>
                                        </p:tav>
                                      </p:tavLst>
                                    </p:anim>
                                    <p:anim calcmode="lin" valueType="num">
                                      <p:cBhvr>
                                        <p:cTn id="17" dur="1000" fill="hold"/>
                                        <p:tgtEl>
                                          <p:spTgt spid="9"/>
                                        </p:tgtEl>
                                        <p:attrNameLst>
                                          <p:attrName>style.rotation</p:attrName>
                                        </p:attrNameLst>
                                      </p:cBhvr>
                                      <p:tavLst>
                                        <p:tav tm="0">
                                          <p:val>
                                            <p:fltVal val="90"/>
                                          </p:val>
                                        </p:tav>
                                        <p:tav tm="100000">
                                          <p:val>
                                            <p:fltVal val="0"/>
                                          </p:val>
                                        </p:tav>
                                      </p:tavLst>
                                    </p:anim>
                                    <p:animEffect transition="in" filter="fade">
                                      <p:cBhvr>
                                        <p:cTn id="18" dur="1000"/>
                                        <p:tgtEl>
                                          <p:spTgt spid="9"/>
                                        </p:tgtEl>
                                      </p:cBhvr>
                                    </p:animEffect>
                                  </p:childTnLst>
                                </p:cTn>
                              </p:par>
                            </p:childTnLst>
                          </p:cTn>
                        </p:par>
                      </p:childTnLst>
                    </p:cTn>
                  </p:par>
                  <p:par>
                    <p:cTn id="19" fill="hold">
                      <p:stCondLst>
                        <p:cond delay="indefinite"/>
                      </p:stCondLst>
                      <p:childTnLst>
                        <p:par>
                          <p:cTn id="20" fill="hold">
                            <p:stCondLst>
                              <p:cond delay="0"/>
                            </p:stCondLst>
                            <p:childTnLst>
                              <p:par>
                                <p:cTn id="21" presetID="31" presetClass="entr" presetSubtype="0" fill="hold" nodeType="clickEffect">
                                  <p:stCondLst>
                                    <p:cond delay="0"/>
                                  </p:stCondLst>
                                  <p:childTnLst>
                                    <p:set>
                                      <p:cBhvr>
                                        <p:cTn id="22" dur="1" fill="hold">
                                          <p:stCondLst>
                                            <p:cond delay="0"/>
                                          </p:stCondLst>
                                        </p:cTn>
                                        <p:tgtEl>
                                          <p:spTgt spid="10"/>
                                        </p:tgtEl>
                                        <p:attrNameLst>
                                          <p:attrName>style.visibility</p:attrName>
                                        </p:attrNameLst>
                                      </p:cBhvr>
                                      <p:to>
                                        <p:strVal val="visible"/>
                                      </p:to>
                                    </p:set>
                                    <p:anim calcmode="lin" valueType="num">
                                      <p:cBhvr>
                                        <p:cTn id="23" dur="1000" fill="hold"/>
                                        <p:tgtEl>
                                          <p:spTgt spid="10"/>
                                        </p:tgtEl>
                                        <p:attrNameLst>
                                          <p:attrName>ppt_w</p:attrName>
                                        </p:attrNameLst>
                                      </p:cBhvr>
                                      <p:tavLst>
                                        <p:tav tm="0">
                                          <p:val>
                                            <p:fltVal val="0"/>
                                          </p:val>
                                        </p:tav>
                                        <p:tav tm="100000">
                                          <p:val>
                                            <p:strVal val="#ppt_w"/>
                                          </p:val>
                                        </p:tav>
                                      </p:tavLst>
                                    </p:anim>
                                    <p:anim calcmode="lin" valueType="num">
                                      <p:cBhvr>
                                        <p:cTn id="24" dur="1000" fill="hold"/>
                                        <p:tgtEl>
                                          <p:spTgt spid="10"/>
                                        </p:tgtEl>
                                        <p:attrNameLst>
                                          <p:attrName>ppt_h</p:attrName>
                                        </p:attrNameLst>
                                      </p:cBhvr>
                                      <p:tavLst>
                                        <p:tav tm="0">
                                          <p:val>
                                            <p:fltVal val="0"/>
                                          </p:val>
                                        </p:tav>
                                        <p:tav tm="100000">
                                          <p:val>
                                            <p:strVal val="#ppt_h"/>
                                          </p:val>
                                        </p:tav>
                                      </p:tavLst>
                                    </p:anim>
                                    <p:anim calcmode="lin" valueType="num">
                                      <p:cBhvr>
                                        <p:cTn id="25" dur="1000" fill="hold"/>
                                        <p:tgtEl>
                                          <p:spTgt spid="10"/>
                                        </p:tgtEl>
                                        <p:attrNameLst>
                                          <p:attrName>style.rotation</p:attrName>
                                        </p:attrNameLst>
                                      </p:cBhvr>
                                      <p:tavLst>
                                        <p:tav tm="0">
                                          <p:val>
                                            <p:fltVal val="90"/>
                                          </p:val>
                                        </p:tav>
                                        <p:tav tm="100000">
                                          <p:val>
                                            <p:fltVal val="0"/>
                                          </p:val>
                                        </p:tav>
                                      </p:tavLst>
                                    </p:anim>
                                    <p:animEffect transition="in" filter="fade">
                                      <p:cBhvr>
                                        <p:cTn id="26" dur="1000"/>
                                        <p:tgtEl>
                                          <p:spTgt spid="10"/>
                                        </p:tgtEl>
                                      </p:cBhvr>
                                    </p:animEffec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2"/>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nodeType="click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fade">
                                      <p:cBhvr>
                                        <p:cTn id="35" dur="500"/>
                                        <p:tgtEl>
                                          <p:spTgt spid="13"/>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14"/>
                                        </p:tgtEl>
                                        <p:attrNameLst>
                                          <p:attrName>style.visibility</p:attrName>
                                        </p:attrNameLst>
                                      </p:cBhvr>
                                      <p:to>
                                        <p:strVal val="visible"/>
                                      </p:to>
                                    </p:set>
                                    <p:animEffect transition="in" filter="fade">
                                      <p:cBhvr>
                                        <p:cTn id="40" dur="500"/>
                                        <p:tgtEl>
                                          <p:spTgt spid="14"/>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nodeType="clickEffect">
                                  <p:stCondLst>
                                    <p:cond delay="0"/>
                                  </p:stCondLst>
                                  <p:childTnLst>
                                    <p:set>
                                      <p:cBhvr>
                                        <p:cTn id="44" dur="1" fill="hold">
                                          <p:stCondLst>
                                            <p:cond delay="0"/>
                                          </p:stCondLst>
                                        </p:cTn>
                                        <p:tgtEl>
                                          <p:spTgt spid="15"/>
                                        </p:tgtEl>
                                        <p:attrNameLst>
                                          <p:attrName>style.visibility</p:attrName>
                                        </p:attrNameLst>
                                      </p:cBhvr>
                                      <p:to>
                                        <p:strVal val="visible"/>
                                      </p:to>
                                    </p:set>
                                    <p:animEffect transition="in" filter="fade">
                                      <p:cBhvr>
                                        <p:cTn id="45"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EB3B0279-2302-40A4-AA57-FFB971E5DA87}"/>
              </a:ext>
            </a:extLst>
          </p:cNvPr>
          <p:cNvSpPr>
            <a:spLocks noGrp="1"/>
          </p:cNvSpPr>
          <p:nvPr>
            <p:ph type="ctrTitle"/>
          </p:nvPr>
        </p:nvSpPr>
        <p:spPr>
          <a:xfrm>
            <a:off x="520377" y="1117526"/>
            <a:ext cx="9886366" cy="456632"/>
          </a:xfrm>
        </p:spPr>
        <p:txBody>
          <a:bodyPr/>
          <a:lstStyle/>
          <a:p>
            <a:r>
              <a:rPr lang="fr-FR" dirty="0" err="1"/>
              <a:t>Spezialisierter</a:t>
            </a:r>
            <a:r>
              <a:rPr lang="fr-FR" dirty="0"/>
              <a:t> </a:t>
            </a:r>
            <a:r>
              <a:rPr lang="fr-FR" dirty="0" err="1"/>
              <a:t>Zugriff</a:t>
            </a:r>
            <a:r>
              <a:rPr lang="fr-FR" dirty="0"/>
              <a:t> </a:t>
            </a:r>
            <a:r>
              <a:rPr lang="fr-FR" dirty="0" err="1"/>
              <a:t>auf</a:t>
            </a:r>
            <a:r>
              <a:rPr lang="fr-FR" dirty="0"/>
              <a:t> </a:t>
            </a:r>
            <a:r>
              <a:rPr lang="fr-FR" dirty="0" err="1"/>
              <a:t>Bilddaten</a:t>
            </a:r>
            <a:r>
              <a:rPr lang="fr-FR" dirty="0"/>
              <a:t> </a:t>
            </a:r>
            <a:r>
              <a:rPr lang="fr-FR" dirty="0" err="1"/>
              <a:t>aus</a:t>
            </a:r>
            <a:r>
              <a:rPr lang="fr-FR" dirty="0"/>
              <a:t> </a:t>
            </a:r>
            <a:r>
              <a:rPr lang="fr-FR" dirty="0" err="1"/>
              <a:t>allen</a:t>
            </a:r>
            <a:r>
              <a:rPr lang="fr-FR" dirty="0"/>
              <a:t> </a:t>
            </a:r>
            <a:r>
              <a:rPr lang="fr-FR" dirty="0" err="1"/>
              <a:t>Arbeitsfeldern</a:t>
            </a:r>
            <a:endParaRPr lang="fr-FR" dirty="0"/>
          </a:p>
        </p:txBody>
      </p:sp>
      <p:sp>
        <p:nvSpPr>
          <p:cNvPr id="60" name="Rechteck: abgerundete Ecken 59">
            <a:extLst>
              <a:ext uri="{FF2B5EF4-FFF2-40B4-BE49-F238E27FC236}">
                <a16:creationId xmlns:a16="http://schemas.microsoft.com/office/drawing/2014/main" id="{FA33AD68-D1F0-4C71-A7BE-36EAC53DD819}"/>
              </a:ext>
            </a:extLst>
          </p:cNvPr>
          <p:cNvSpPr/>
          <p:nvPr/>
        </p:nvSpPr>
        <p:spPr>
          <a:xfrm>
            <a:off x="10006755" y="1795520"/>
            <a:ext cx="1991551" cy="3230675"/>
          </a:xfrm>
          <a:prstGeom prst="roundRect">
            <a:avLst/>
          </a:prstGeom>
          <a:solidFill>
            <a:srgbClr val="00A3E0">
              <a:alpha val="1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61" name="Rechteck: abgerundete Ecken 60">
            <a:extLst>
              <a:ext uri="{FF2B5EF4-FFF2-40B4-BE49-F238E27FC236}">
                <a16:creationId xmlns:a16="http://schemas.microsoft.com/office/drawing/2014/main" id="{CED3A6C0-0054-42C4-BB1B-2E0EBCA9A4F3}"/>
              </a:ext>
            </a:extLst>
          </p:cNvPr>
          <p:cNvSpPr/>
          <p:nvPr/>
        </p:nvSpPr>
        <p:spPr>
          <a:xfrm>
            <a:off x="7875907" y="1795520"/>
            <a:ext cx="1991551" cy="3198920"/>
          </a:xfrm>
          <a:prstGeom prst="roundRect">
            <a:avLst/>
          </a:prstGeom>
          <a:solidFill>
            <a:srgbClr val="A1A2A1">
              <a:alpha val="1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62" name="Rechteck: abgerundete Ecken 61">
            <a:extLst>
              <a:ext uri="{FF2B5EF4-FFF2-40B4-BE49-F238E27FC236}">
                <a16:creationId xmlns:a16="http://schemas.microsoft.com/office/drawing/2014/main" id="{D6D60A72-0178-423A-A99C-8BDAFF505A95}"/>
              </a:ext>
            </a:extLst>
          </p:cNvPr>
          <p:cNvSpPr/>
          <p:nvPr/>
        </p:nvSpPr>
        <p:spPr>
          <a:xfrm>
            <a:off x="5762102" y="1795520"/>
            <a:ext cx="1991551" cy="3198920"/>
          </a:xfrm>
          <a:prstGeom prst="roundRect">
            <a:avLst/>
          </a:prstGeom>
          <a:solidFill>
            <a:schemeClr val="accent1">
              <a:alpha val="1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cxnSp>
        <p:nvCxnSpPr>
          <p:cNvPr id="63" name="Straight Arrow Connector 35">
            <a:extLst>
              <a:ext uri="{FF2B5EF4-FFF2-40B4-BE49-F238E27FC236}">
                <a16:creationId xmlns:a16="http://schemas.microsoft.com/office/drawing/2014/main" id="{B6D1CDAE-537C-4965-9CF7-C158DA692FD4}"/>
              </a:ext>
            </a:extLst>
          </p:cNvPr>
          <p:cNvCxnSpPr>
            <a:cxnSpLocks/>
          </p:cNvCxnSpPr>
          <p:nvPr/>
        </p:nvCxnSpPr>
        <p:spPr>
          <a:xfrm flipH="1">
            <a:off x="0" y="6346553"/>
            <a:ext cx="12192000" cy="0"/>
          </a:xfrm>
          <a:prstGeom prst="straightConnector1">
            <a:avLst/>
          </a:prstGeom>
          <a:ln w="88900" cap="rnd">
            <a:solidFill>
              <a:schemeClr val="accent1">
                <a:lumMod val="50000"/>
              </a:schemeClr>
            </a:solidFill>
            <a:prstDash val="solid"/>
            <a:round/>
            <a:headEnd type="none" w="lg" len="lg"/>
            <a:tailEnd type="none" w="lg" len="lg"/>
          </a:ln>
        </p:spPr>
        <p:style>
          <a:lnRef idx="1">
            <a:schemeClr val="accent1"/>
          </a:lnRef>
          <a:fillRef idx="0">
            <a:schemeClr val="accent1"/>
          </a:fillRef>
          <a:effectRef idx="0">
            <a:schemeClr val="accent1"/>
          </a:effectRef>
          <a:fontRef idx="minor">
            <a:schemeClr val="tx1"/>
          </a:fontRef>
        </p:style>
      </p:cxnSp>
      <p:sp>
        <p:nvSpPr>
          <p:cNvPr id="64" name="Pentagon 24">
            <a:extLst>
              <a:ext uri="{FF2B5EF4-FFF2-40B4-BE49-F238E27FC236}">
                <a16:creationId xmlns:a16="http://schemas.microsoft.com/office/drawing/2014/main" id="{BB4BA29C-5184-4940-9207-0C18BFE3E298}"/>
              </a:ext>
            </a:extLst>
          </p:cNvPr>
          <p:cNvSpPr/>
          <p:nvPr/>
        </p:nvSpPr>
        <p:spPr>
          <a:xfrm>
            <a:off x="10007846" y="4733930"/>
            <a:ext cx="2011680" cy="640080"/>
          </a:xfrm>
          <a:prstGeom prst="rect">
            <a:avLst/>
          </a:prstGeom>
          <a:solidFill>
            <a:schemeClr val="accent6"/>
          </a:solidFill>
          <a:ln w="317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dirty="0" err="1">
                <a:solidFill>
                  <a:srgbClr val="FFFFFF"/>
                </a:solidFill>
                <a:latin typeface="Montserrat" panose="00000500000000000000" pitchFamily="2" charset="0"/>
              </a:rPr>
              <a:t>Allgemein</a:t>
            </a:r>
            <a:endParaRPr lang="en-US" sz="1400" b="1" dirty="0">
              <a:solidFill>
                <a:schemeClr val="bg1"/>
              </a:solidFill>
              <a:latin typeface="Montserrat" panose="00000500000000000000" pitchFamily="2" charset="0"/>
            </a:endParaRPr>
          </a:p>
        </p:txBody>
      </p:sp>
      <p:sp>
        <p:nvSpPr>
          <p:cNvPr id="65" name="Pentagon 21">
            <a:extLst>
              <a:ext uri="{FF2B5EF4-FFF2-40B4-BE49-F238E27FC236}">
                <a16:creationId xmlns:a16="http://schemas.microsoft.com/office/drawing/2014/main" id="{EF8D2C74-BD9E-493D-B55E-F2BD5F28D7F1}"/>
              </a:ext>
            </a:extLst>
          </p:cNvPr>
          <p:cNvSpPr/>
          <p:nvPr/>
        </p:nvSpPr>
        <p:spPr>
          <a:xfrm>
            <a:off x="7855778" y="4744203"/>
            <a:ext cx="2011680" cy="640080"/>
          </a:xfrm>
          <a:prstGeom prst="rect">
            <a:avLst/>
          </a:prstGeom>
          <a:solidFill>
            <a:schemeClr val="tx2">
              <a:lumMod val="60000"/>
              <a:lumOff val="40000"/>
            </a:schemeClr>
          </a:solidFill>
          <a:ln w="317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dirty="0" err="1">
                <a:solidFill>
                  <a:srgbClr val="FFFFFF"/>
                </a:solidFill>
                <a:latin typeface="Montserrat" panose="00000500000000000000" pitchFamily="2" charset="0"/>
              </a:rPr>
              <a:t>Anzeige</a:t>
            </a:r>
            <a:endParaRPr lang="en-US" sz="1400" b="1" dirty="0">
              <a:solidFill>
                <a:schemeClr val="bg1"/>
              </a:solidFill>
              <a:latin typeface="Montserrat" panose="00000500000000000000" pitchFamily="2" charset="0"/>
            </a:endParaRPr>
          </a:p>
        </p:txBody>
      </p:sp>
      <p:sp>
        <p:nvSpPr>
          <p:cNvPr id="66" name="Pentagon 22">
            <a:extLst>
              <a:ext uri="{FF2B5EF4-FFF2-40B4-BE49-F238E27FC236}">
                <a16:creationId xmlns:a16="http://schemas.microsoft.com/office/drawing/2014/main" id="{94B35FA3-8CAA-4EF8-9B53-81E85EE0B73F}"/>
              </a:ext>
            </a:extLst>
          </p:cNvPr>
          <p:cNvSpPr/>
          <p:nvPr/>
        </p:nvSpPr>
        <p:spPr>
          <a:xfrm>
            <a:off x="5764670" y="4738193"/>
            <a:ext cx="2011680" cy="640080"/>
          </a:xfrm>
          <a:prstGeom prst="rect">
            <a:avLst/>
          </a:prstGeom>
          <a:solidFill>
            <a:schemeClr val="accent1"/>
          </a:solidFill>
          <a:ln w="317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err="1">
                <a:solidFill>
                  <a:srgbClr val="FFFFFF"/>
                </a:solidFill>
                <a:latin typeface="Montserrat" panose="00000500000000000000" pitchFamily="2" charset="0"/>
              </a:rPr>
              <a:t>Patientensuche</a:t>
            </a:r>
            <a:endParaRPr lang="en-US" sz="1400" b="1" dirty="0">
              <a:solidFill>
                <a:schemeClr val="bg1"/>
              </a:solidFill>
              <a:latin typeface="Montserrat" panose="00000500000000000000" pitchFamily="2" charset="0"/>
            </a:endParaRPr>
          </a:p>
        </p:txBody>
      </p:sp>
      <p:sp>
        <p:nvSpPr>
          <p:cNvPr id="67" name="TextBox 81">
            <a:extLst>
              <a:ext uri="{FF2B5EF4-FFF2-40B4-BE49-F238E27FC236}">
                <a16:creationId xmlns:a16="http://schemas.microsoft.com/office/drawing/2014/main" id="{432DADFB-3A7F-4329-BCE5-CF4ADA532E0B}"/>
              </a:ext>
            </a:extLst>
          </p:cNvPr>
          <p:cNvSpPr txBox="1"/>
          <p:nvPr/>
        </p:nvSpPr>
        <p:spPr>
          <a:xfrm>
            <a:off x="5774688" y="2215477"/>
            <a:ext cx="2011680" cy="1846659"/>
          </a:xfrm>
          <a:prstGeom prst="rect">
            <a:avLst/>
          </a:prstGeom>
          <a:noFill/>
        </p:spPr>
        <p:txBody>
          <a:bodyPr wrap="square" lIns="0" tIns="0" rIns="0" bIns="0" rtlCol="0" anchor="ctr">
            <a:spAutoFit/>
          </a:bodyPr>
          <a:lstStyle/>
          <a:p>
            <a:pPr marL="171450" indent="-109538">
              <a:buFont typeface="Arial" panose="020B0604020202020204" pitchFamily="34" charset="0"/>
              <a:buChar char="•"/>
            </a:pPr>
            <a:r>
              <a:rPr lang="de-DE" sz="1200" b="1" dirty="0">
                <a:latin typeface="Montserrat" panose="00000500000000000000" pitchFamily="2" charset="0"/>
              </a:rPr>
              <a:t>Patientensuche</a:t>
            </a:r>
            <a:r>
              <a:rPr lang="de-DE" sz="1200" dirty="0">
                <a:latin typeface="Montserrat" panose="00000500000000000000" pitchFamily="2" charset="0"/>
              </a:rPr>
              <a:t> nach verschiedenen Kriterien, z.B.</a:t>
            </a:r>
          </a:p>
          <a:p>
            <a:pPr marL="171450" indent="-109538">
              <a:buFont typeface="Arial" panose="020B0604020202020204" pitchFamily="34" charset="0"/>
              <a:buChar char="•"/>
            </a:pPr>
            <a:r>
              <a:rPr lang="de-DE" sz="1200" dirty="0">
                <a:latin typeface="Montserrat" panose="00000500000000000000" pitchFamily="2" charset="0"/>
              </a:rPr>
              <a:t>Name, ID, Geburtsdatum...</a:t>
            </a:r>
          </a:p>
          <a:p>
            <a:pPr marL="171450" indent="-109538">
              <a:buFont typeface="Arial" panose="020B0604020202020204" pitchFamily="34" charset="0"/>
              <a:buChar char="•"/>
            </a:pPr>
            <a:r>
              <a:rPr lang="de-DE" sz="1200" dirty="0">
                <a:latin typeface="Montserrat" panose="00000500000000000000" pitchFamily="2" charset="0"/>
              </a:rPr>
              <a:t>Modalität, Untersuchungsdatum…</a:t>
            </a:r>
          </a:p>
          <a:p>
            <a:pPr marL="171450" indent="-109538">
              <a:buFont typeface="Arial" panose="020B0604020202020204" pitchFamily="34" charset="0"/>
              <a:buChar char="•"/>
            </a:pPr>
            <a:r>
              <a:rPr lang="de-DE" sz="1200" dirty="0">
                <a:latin typeface="Montserrat" panose="00000500000000000000" pitchFamily="2" charset="0"/>
              </a:rPr>
              <a:t>Zusätzliche </a:t>
            </a:r>
            <a:r>
              <a:rPr lang="de-DE" sz="1200" b="1" dirty="0">
                <a:latin typeface="Montserrat" panose="00000500000000000000" pitchFamily="2" charset="0"/>
              </a:rPr>
              <a:t>konfigurierbare Suchfelder</a:t>
            </a:r>
          </a:p>
        </p:txBody>
      </p:sp>
      <p:grpSp>
        <p:nvGrpSpPr>
          <p:cNvPr id="68" name="Group 44">
            <a:extLst>
              <a:ext uri="{FF2B5EF4-FFF2-40B4-BE49-F238E27FC236}">
                <a16:creationId xmlns:a16="http://schemas.microsoft.com/office/drawing/2014/main" id="{46285379-B28D-4609-A710-65FA9EE49E86}"/>
              </a:ext>
            </a:extLst>
          </p:cNvPr>
          <p:cNvGrpSpPr>
            <a:grpSpLocks noChangeAspect="1"/>
          </p:cNvGrpSpPr>
          <p:nvPr/>
        </p:nvGrpSpPr>
        <p:grpSpPr>
          <a:xfrm>
            <a:off x="6606500" y="5503562"/>
            <a:ext cx="348059" cy="360000"/>
            <a:chOff x="2281151" y="2761528"/>
            <a:chExt cx="1657802" cy="1714678"/>
          </a:xfrm>
          <a:solidFill>
            <a:schemeClr val="accent1"/>
          </a:solidFill>
          <a:effectLst>
            <a:outerShdw blurRad="94654" dist="38100" dir="2700000" algn="tl" rotWithShape="0">
              <a:prstClr val="black">
                <a:alpha val="60000"/>
              </a:prstClr>
            </a:outerShdw>
          </a:effectLst>
        </p:grpSpPr>
        <p:sp>
          <p:nvSpPr>
            <p:cNvPr id="69" name="Freeform: Shape 2">
              <a:extLst>
                <a:ext uri="{FF2B5EF4-FFF2-40B4-BE49-F238E27FC236}">
                  <a16:creationId xmlns:a16="http://schemas.microsoft.com/office/drawing/2014/main" id="{98089EFB-E966-497E-8577-B9BAD241B200}"/>
                </a:ext>
              </a:extLst>
            </p:cNvPr>
            <p:cNvSpPr/>
            <p:nvPr/>
          </p:nvSpPr>
          <p:spPr>
            <a:xfrm>
              <a:off x="2281151" y="3555835"/>
              <a:ext cx="1657802" cy="920371"/>
            </a:xfrm>
            <a:custGeom>
              <a:avLst/>
              <a:gdLst>
                <a:gd name="connsiteX0" fmla="*/ 347165 w 2807077"/>
                <a:gd name="connsiteY0" fmla="*/ 1551769 h 1558421"/>
                <a:gd name="connsiteX1" fmla="*/ 566119 w 2807077"/>
                <a:gd name="connsiteY1" fmla="*/ 1473675 h 1558421"/>
                <a:gd name="connsiteX2" fmla="*/ 1399418 w 2807077"/>
                <a:gd name="connsiteY2" fmla="*/ 794830 h 1558421"/>
                <a:gd name="connsiteX3" fmla="*/ 2240812 w 2807077"/>
                <a:gd name="connsiteY3" fmla="*/ 1480327 h 1558421"/>
                <a:gd name="connsiteX4" fmla="*/ 2459767 w 2807077"/>
                <a:gd name="connsiteY4" fmla="*/ 1558422 h 1558421"/>
                <a:gd name="connsiteX5" fmla="*/ 2729051 w 2807077"/>
                <a:gd name="connsiteY5" fmla="*/ 1430578 h 1558421"/>
                <a:gd name="connsiteX6" fmla="*/ 2679302 w 2807077"/>
                <a:gd name="connsiteY6" fmla="*/ 942342 h 1558421"/>
                <a:gd name="connsiteX7" fmla="*/ 1618661 w 2807077"/>
                <a:gd name="connsiteY7" fmla="*/ 78095 h 1558421"/>
                <a:gd name="connsiteX8" fmla="*/ 1180175 w 2807077"/>
                <a:gd name="connsiteY8" fmla="*/ 78095 h 1558421"/>
                <a:gd name="connsiteX9" fmla="*/ 127922 w 2807077"/>
                <a:gd name="connsiteY9" fmla="*/ 935689 h 1558421"/>
                <a:gd name="connsiteX10" fmla="*/ 77883 w 2807077"/>
                <a:gd name="connsiteY10" fmla="*/ 1423925 h 1558421"/>
                <a:gd name="connsiteX11" fmla="*/ 347165 w 2807077"/>
                <a:gd name="connsiteY11" fmla="*/ 1551769 h 1558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07077" h="1558421">
                  <a:moveTo>
                    <a:pt x="347165" y="1551769"/>
                  </a:moveTo>
                  <a:cubicBezTo>
                    <a:pt x="424103" y="1551769"/>
                    <a:pt x="501908" y="1526313"/>
                    <a:pt x="566119" y="1473675"/>
                  </a:cubicBezTo>
                  <a:lnTo>
                    <a:pt x="1399418" y="794830"/>
                  </a:lnTo>
                  <a:lnTo>
                    <a:pt x="2240812" y="1480327"/>
                  </a:lnTo>
                  <a:cubicBezTo>
                    <a:pt x="2305316" y="1532679"/>
                    <a:pt x="2382832" y="1558422"/>
                    <a:pt x="2459767" y="1558422"/>
                  </a:cubicBezTo>
                  <a:cubicBezTo>
                    <a:pt x="2560422" y="1558422"/>
                    <a:pt x="2660499" y="1514744"/>
                    <a:pt x="2729051" y="1430578"/>
                  </a:cubicBezTo>
                  <a:cubicBezTo>
                    <a:pt x="2850240" y="1281909"/>
                    <a:pt x="2827682" y="1063244"/>
                    <a:pt x="2679302" y="942342"/>
                  </a:cubicBezTo>
                  <a:lnTo>
                    <a:pt x="1618661" y="78095"/>
                  </a:lnTo>
                  <a:cubicBezTo>
                    <a:pt x="1491107" y="-26032"/>
                    <a:pt x="1307729" y="-26032"/>
                    <a:pt x="1180175" y="78095"/>
                  </a:cubicBezTo>
                  <a:lnTo>
                    <a:pt x="127922" y="935689"/>
                  </a:lnTo>
                  <a:cubicBezTo>
                    <a:pt x="-20747" y="1056591"/>
                    <a:pt x="-43019" y="1275253"/>
                    <a:pt x="77883" y="1423925"/>
                  </a:cubicBezTo>
                  <a:cubicBezTo>
                    <a:pt x="146722" y="1508094"/>
                    <a:pt x="246510" y="1551769"/>
                    <a:pt x="347165" y="1551769"/>
                  </a:cubicBezTo>
                  <a:close/>
                </a:path>
              </a:pathLst>
            </a:custGeom>
            <a:solidFill>
              <a:schemeClr val="accent1">
                <a:lumMod val="50000"/>
              </a:schemeClr>
            </a:solidFill>
            <a:ln w="2884" cap="flat">
              <a:noFill/>
              <a:prstDash val="solid"/>
              <a:miter/>
            </a:ln>
          </p:spPr>
          <p:txBody>
            <a:bodyPr rtlCol="0" anchor="ctr"/>
            <a:lstStyle/>
            <a:p>
              <a:endParaRPr lang="id-ID">
                <a:solidFill>
                  <a:schemeClr val="accent1"/>
                </a:solidFill>
                <a:latin typeface="Montserrat" panose="00000500000000000000" pitchFamily="2" charset="0"/>
              </a:endParaRPr>
            </a:p>
          </p:txBody>
        </p:sp>
        <p:sp>
          <p:nvSpPr>
            <p:cNvPr id="70" name="Freeform: Shape 3">
              <a:extLst>
                <a:ext uri="{FF2B5EF4-FFF2-40B4-BE49-F238E27FC236}">
                  <a16:creationId xmlns:a16="http://schemas.microsoft.com/office/drawing/2014/main" id="{68FF26D2-78BD-4E29-98A2-78C64CDAEF41}"/>
                </a:ext>
              </a:extLst>
            </p:cNvPr>
            <p:cNvSpPr/>
            <p:nvPr/>
          </p:nvSpPr>
          <p:spPr>
            <a:xfrm>
              <a:off x="2281151" y="2761528"/>
              <a:ext cx="1657802" cy="920374"/>
            </a:xfrm>
            <a:custGeom>
              <a:avLst/>
              <a:gdLst>
                <a:gd name="connsiteX0" fmla="*/ 347165 w 2807077"/>
                <a:gd name="connsiteY0" fmla="*/ 1551769 h 1558421"/>
                <a:gd name="connsiteX1" fmla="*/ 566119 w 2807077"/>
                <a:gd name="connsiteY1" fmla="*/ 1473674 h 1558421"/>
                <a:gd name="connsiteX2" fmla="*/ 1399418 w 2807077"/>
                <a:gd name="connsiteY2" fmla="*/ 794830 h 1558421"/>
                <a:gd name="connsiteX3" fmla="*/ 2240812 w 2807077"/>
                <a:gd name="connsiteY3" fmla="*/ 1480327 h 1558421"/>
                <a:gd name="connsiteX4" fmla="*/ 2459767 w 2807077"/>
                <a:gd name="connsiteY4" fmla="*/ 1558422 h 1558421"/>
                <a:gd name="connsiteX5" fmla="*/ 2729051 w 2807077"/>
                <a:gd name="connsiteY5" fmla="*/ 1430578 h 1558421"/>
                <a:gd name="connsiteX6" fmla="*/ 2679302 w 2807077"/>
                <a:gd name="connsiteY6" fmla="*/ 942342 h 1558421"/>
                <a:gd name="connsiteX7" fmla="*/ 1618661 w 2807077"/>
                <a:gd name="connsiteY7" fmla="*/ 78095 h 1558421"/>
                <a:gd name="connsiteX8" fmla="*/ 1180175 w 2807077"/>
                <a:gd name="connsiteY8" fmla="*/ 78095 h 1558421"/>
                <a:gd name="connsiteX9" fmla="*/ 127922 w 2807077"/>
                <a:gd name="connsiteY9" fmla="*/ 935400 h 1558421"/>
                <a:gd name="connsiteX10" fmla="*/ 77883 w 2807077"/>
                <a:gd name="connsiteY10" fmla="*/ 1423925 h 1558421"/>
                <a:gd name="connsiteX11" fmla="*/ 347165 w 2807077"/>
                <a:gd name="connsiteY11" fmla="*/ 1551769 h 1558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07077" h="1558421">
                  <a:moveTo>
                    <a:pt x="347165" y="1551769"/>
                  </a:moveTo>
                  <a:cubicBezTo>
                    <a:pt x="424103" y="1551769"/>
                    <a:pt x="501908" y="1526316"/>
                    <a:pt x="566119" y="1473674"/>
                  </a:cubicBezTo>
                  <a:lnTo>
                    <a:pt x="1399418" y="794830"/>
                  </a:lnTo>
                  <a:lnTo>
                    <a:pt x="2240812" y="1480327"/>
                  </a:lnTo>
                  <a:cubicBezTo>
                    <a:pt x="2305316" y="1532682"/>
                    <a:pt x="2382832" y="1558422"/>
                    <a:pt x="2459767" y="1558422"/>
                  </a:cubicBezTo>
                  <a:cubicBezTo>
                    <a:pt x="2560422" y="1558422"/>
                    <a:pt x="2660499" y="1514746"/>
                    <a:pt x="2729051" y="1430578"/>
                  </a:cubicBezTo>
                  <a:cubicBezTo>
                    <a:pt x="2850240" y="1281912"/>
                    <a:pt x="2827682" y="1063244"/>
                    <a:pt x="2679302" y="942342"/>
                  </a:cubicBezTo>
                  <a:lnTo>
                    <a:pt x="1618661" y="78095"/>
                  </a:lnTo>
                  <a:cubicBezTo>
                    <a:pt x="1491107" y="-26032"/>
                    <a:pt x="1307729" y="-26032"/>
                    <a:pt x="1180175" y="78095"/>
                  </a:cubicBezTo>
                  <a:lnTo>
                    <a:pt x="127922" y="935400"/>
                  </a:lnTo>
                  <a:cubicBezTo>
                    <a:pt x="-20747" y="1056591"/>
                    <a:pt x="-43019" y="1275256"/>
                    <a:pt x="77883" y="1423925"/>
                  </a:cubicBezTo>
                  <a:cubicBezTo>
                    <a:pt x="146722" y="1508094"/>
                    <a:pt x="246510" y="1551769"/>
                    <a:pt x="347165" y="1551769"/>
                  </a:cubicBezTo>
                  <a:close/>
                </a:path>
              </a:pathLst>
            </a:custGeom>
            <a:solidFill>
              <a:schemeClr val="accent1">
                <a:lumMod val="50000"/>
              </a:schemeClr>
            </a:solidFill>
            <a:ln w="2884" cap="flat">
              <a:noFill/>
              <a:prstDash val="solid"/>
              <a:miter/>
            </a:ln>
          </p:spPr>
          <p:txBody>
            <a:bodyPr rtlCol="0" anchor="ctr"/>
            <a:lstStyle/>
            <a:p>
              <a:endParaRPr lang="id-ID">
                <a:solidFill>
                  <a:schemeClr val="accent1"/>
                </a:solidFill>
                <a:latin typeface="Montserrat" panose="00000500000000000000" pitchFamily="2" charset="0"/>
              </a:endParaRPr>
            </a:p>
          </p:txBody>
        </p:sp>
      </p:grpSp>
      <p:grpSp>
        <p:nvGrpSpPr>
          <p:cNvPr id="71" name="Group 48">
            <a:extLst>
              <a:ext uri="{FF2B5EF4-FFF2-40B4-BE49-F238E27FC236}">
                <a16:creationId xmlns:a16="http://schemas.microsoft.com/office/drawing/2014/main" id="{2F749932-CF06-4D70-8555-535566CD7B1D}"/>
              </a:ext>
            </a:extLst>
          </p:cNvPr>
          <p:cNvGrpSpPr>
            <a:grpSpLocks noChangeAspect="1"/>
          </p:cNvGrpSpPr>
          <p:nvPr/>
        </p:nvGrpSpPr>
        <p:grpSpPr>
          <a:xfrm>
            <a:off x="8698205" y="5503562"/>
            <a:ext cx="348059" cy="360000"/>
            <a:chOff x="2281151" y="2761528"/>
            <a:chExt cx="1657802" cy="1714678"/>
          </a:xfrm>
          <a:solidFill>
            <a:schemeClr val="accent1"/>
          </a:solidFill>
          <a:effectLst>
            <a:outerShdw blurRad="94654" dist="38100" dir="2700000" algn="tl" rotWithShape="0">
              <a:prstClr val="black">
                <a:alpha val="60000"/>
              </a:prstClr>
            </a:outerShdw>
          </a:effectLst>
        </p:grpSpPr>
        <p:sp>
          <p:nvSpPr>
            <p:cNvPr id="72" name="Freeform: Shape 2">
              <a:extLst>
                <a:ext uri="{FF2B5EF4-FFF2-40B4-BE49-F238E27FC236}">
                  <a16:creationId xmlns:a16="http://schemas.microsoft.com/office/drawing/2014/main" id="{7CEA788F-9B43-4DE1-B7EC-B883F7D068A5}"/>
                </a:ext>
              </a:extLst>
            </p:cNvPr>
            <p:cNvSpPr/>
            <p:nvPr/>
          </p:nvSpPr>
          <p:spPr>
            <a:xfrm>
              <a:off x="2281151" y="3555835"/>
              <a:ext cx="1657802" cy="920371"/>
            </a:xfrm>
            <a:custGeom>
              <a:avLst/>
              <a:gdLst>
                <a:gd name="connsiteX0" fmla="*/ 347165 w 2807077"/>
                <a:gd name="connsiteY0" fmla="*/ 1551769 h 1558421"/>
                <a:gd name="connsiteX1" fmla="*/ 566119 w 2807077"/>
                <a:gd name="connsiteY1" fmla="*/ 1473675 h 1558421"/>
                <a:gd name="connsiteX2" fmla="*/ 1399418 w 2807077"/>
                <a:gd name="connsiteY2" fmla="*/ 794830 h 1558421"/>
                <a:gd name="connsiteX3" fmla="*/ 2240812 w 2807077"/>
                <a:gd name="connsiteY3" fmla="*/ 1480327 h 1558421"/>
                <a:gd name="connsiteX4" fmla="*/ 2459767 w 2807077"/>
                <a:gd name="connsiteY4" fmla="*/ 1558422 h 1558421"/>
                <a:gd name="connsiteX5" fmla="*/ 2729051 w 2807077"/>
                <a:gd name="connsiteY5" fmla="*/ 1430578 h 1558421"/>
                <a:gd name="connsiteX6" fmla="*/ 2679302 w 2807077"/>
                <a:gd name="connsiteY6" fmla="*/ 942342 h 1558421"/>
                <a:gd name="connsiteX7" fmla="*/ 1618661 w 2807077"/>
                <a:gd name="connsiteY7" fmla="*/ 78095 h 1558421"/>
                <a:gd name="connsiteX8" fmla="*/ 1180175 w 2807077"/>
                <a:gd name="connsiteY8" fmla="*/ 78095 h 1558421"/>
                <a:gd name="connsiteX9" fmla="*/ 127922 w 2807077"/>
                <a:gd name="connsiteY9" fmla="*/ 935689 h 1558421"/>
                <a:gd name="connsiteX10" fmla="*/ 77883 w 2807077"/>
                <a:gd name="connsiteY10" fmla="*/ 1423925 h 1558421"/>
                <a:gd name="connsiteX11" fmla="*/ 347165 w 2807077"/>
                <a:gd name="connsiteY11" fmla="*/ 1551769 h 1558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07077" h="1558421">
                  <a:moveTo>
                    <a:pt x="347165" y="1551769"/>
                  </a:moveTo>
                  <a:cubicBezTo>
                    <a:pt x="424103" y="1551769"/>
                    <a:pt x="501908" y="1526313"/>
                    <a:pt x="566119" y="1473675"/>
                  </a:cubicBezTo>
                  <a:lnTo>
                    <a:pt x="1399418" y="794830"/>
                  </a:lnTo>
                  <a:lnTo>
                    <a:pt x="2240812" y="1480327"/>
                  </a:lnTo>
                  <a:cubicBezTo>
                    <a:pt x="2305316" y="1532679"/>
                    <a:pt x="2382832" y="1558422"/>
                    <a:pt x="2459767" y="1558422"/>
                  </a:cubicBezTo>
                  <a:cubicBezTo>
                    <a:pt x="2560422" y="1558422"/>
                    <a:pt x="2660499" y="1514744"/>
                    <a:pt x="2729051" y="1430578"/>
                  </a:cubicBezTo>
                  <a:cubicBezTo>
                    <a:pt x="2850240" y="1281909"/>
                    <a:pt x="2827682" y="1063244"/>
                    <a:pt x="2679302" y="942342"/>
                  </a:cubicBezTo>
                  <a:lnTo>
                    <a:pt x="1618661" y="78095"/>
                  </a:lnTo>
                  <a:cubicBezTo>
                    <a:pt x="1491107" y="-26032"/>
                    <a:pt x="1307729" y="-26032"/>
                    <a:pt x="1180175" y="78095"/>
                  </a:cubicBezTo>
                  <a:lnTo>
                    <a:pt x="127922" y="935689"/>
                  </a:lnTo>
                  <a:cubicBezTo>
                    <a:pt x="-20747" y="1056591"/>
                    <a:pt x="-43019" y="1275253"/>
                    <a:pt x="77883" y="1423925"/>
                  </a:cubicBezTo>
                  <a:cubicBezTo>
                    <a:pt x="146722" y="1508094"/>
                    <a:pt x="246510" y="1551769"/>
                    <a:pt x="347165" y="1551769"/>
                  </a:cubicBezTo>
                  <a:close/>
                </a:path>
              </a:pathLst>
            </a:custGeom>
            <a:solidFill>
              <a:schemeClr val="accent1">
                <a:lumMod val="50000"/>
              </a:schemeClr>
            </a:solidFill>
            <a:ln w="2884" cap="flat">
              <a:noFill/>
              <a:prstDash val="solid"/>
              <a:miter/>
            </a:ln>
          </p:spPr>
          <p:txBody>
            <a:bodyPr rtlCol="0" anchor="ctr"/>
            <a:lstStyle/>
            <a:p>
              <a:endParaRPr lang="id-ID">
                <a:solidFill>
                  <a:schemeClr val="accent1"/>
                </a:solidFill>
                <a:latin typeface="Montserrat" panose="00000500000000000000" pitchFamily="2" charset="0"/>
              </a:endParaRPr>
            </a:p>
          </p:txBody>
        </p:sp>
        <p:sp>
          <p:nvSpPr>
            <p:cNvPr id="73" name="Freeform: Shape 3">
              <a:extLst>
                <a:ext uri="{FF2B5EF4-FFF2-40B4-BE49-F238E27FC236}">
                  <a16:creationId xmlns:a16="http://schemas.microsoft.com/office/drawing/2014/main" id="{B80EF59C-0086-4536-A12A-32E8027AFCE7}"/>
                </a:ext>
              </a:extLst>
            </p:cNvPr>
            <p:cNvSpPr/>
            <p:nvPr/>
          </p:nvSpPr>
          <p:spPr>
            <a:xfrm>
              <a:off x="2281151" y="2761528"/>
              <a:ext cx="1657802" cy="920374"/>
            </a:xfrm>
            <a:custGeom>
              <a:avLst/>
              <a:gdLst>
                <a:gd name="connsiteX0" fmla="*/ 347165 w 2807077"/>
                <a:gd name="connsiteY0" fmla="*/ 1551769 h 1558421"/>
                <a:gd name="connsiteX1" fmla="*/ 566119 w 2807077"/>
                <a:gd name="connsiteY1" fmla="*/ 1473674 h 1558421"/>
                <a:gd name="connsiteX2" fmla="*/ 1399418 w 2807077"/>
                <a:gd name="connsiteY2" fmla="*/ 794830 h 1558421"/>
                <a:gd name="connsiteX3" fmla="*/ 2240812 w 2807077"/>
                <a:gd name="connsiteY3" fmla="*/ 1480327 h 1558421"/>
                <a:gd name="connsiteX4" fmla="*/ 2459767 w 2807077"/>
                <a:gd name="connsiteY4" fmla="*/ 1558422 h 1558421"/>
                <a:gd name="connsiteX5" fmla="*/ 2729051 w 2807077"/>
                <a:gd name="connsiteY5" fmla="*/ 1430578 h 1558421"/>
                <a:gd name="connsiteX6" fmla="*/ 2679302 w 2807077"/>
                <a:gd name="connsiteY6" fmla="*/ 942342 h 1558421"/>
                <a:gd name="connsiteX7" fmla="*/ 1618661 w 2807077"/>
                <a:gd name="connsiteY7" fmla="*/ 78095 h 1558421"/>
                <a:gd name="connsiteX8" fmla="*/ 1180175 w 2807077"/>
                <a:gd name="connsiteY8" fmla="*/ 78095 h 1558421"/>
                <a:gd name="connsiteX9" fmla="*/ 127922 w 2807077"/>
                <a:gd name="connsiteY9" fmla="*/ 935400 h 1558421"/>
                <a:gd name="connsiteX10" fmla="*/ 77883 w 2807077"/>
                <a:gd name="connsiteY10" fmla="*/ 1423925 h 1558421"/>
                <a:gd name="connsiteX11" fmla="*/ 347165 w 2807077"/>
                <a:gd name="connsiteY11" fmla="*/ 1551769 h 1558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07077" h="1558421">
                  <a:moveTo>
                    <a:pt x="347165" y="1551769"/>
                  </a:moveTo>
                  <a:cubicBezTo>
                    <a:pt x="424103" y="1551769"/>
                    <a:pt x="501908" y="1526316"/>
                    <a:pt x="566119" y="1473674"/>
                  </a:cubicBezTo>
                  <a:lnTo>
                    <a:pt x="1399418" y="794830"/>
                  </a:lnTo>
                  <a:lnTo>
                    <a:pt x="2240812" y="1480327"/>
                  </a:lnTo>
                  <a:cubicBezTo>
                    <a:pt x="2305316" y="1532682"/>
                    <a:pt x="2382832" y="1558422"/>
                    <a:pt x="2459767" y="1558422"/>
                  </a:cubicBezTo>
                  <a:cubicBezTo>
                    <a:pt x="2560422" y="1558422"/>
                    <a:pt x="2660499" y="1514746"/>
                    <a:pt x="2729051" y="1430578"/>
                  </a:cubicBezTo>
                  <a:cubicBezTo>
                    <a:pt x="2850240" y="1281912"/>
                    <a:pt x="2827682" y="1063244"/>
                    <a:pt x="2679302" y="942342"/>
                  </a:cubicBezTo>
                  <a:lnTo>
                    <a:pt x="1618661" y="78095"/>
                  </a:lnTo>
                  <a:cubicBezTo>
                    <a:pt x="1491107" y="-26032"/>
                    <a:pt x="1307729" y="-26032"/>
                    <a:pt x="1180175" y="78095"/>
                  </a:cubicBezTo>
                  <a:lnTo>
                    <a:pt x="127922" y="935400"/>
                  </a:lnTo>
                  <a:cubicBezTo>
                    <a:pt x="-20747" y="1056591"/>
                    <a:pt x="-43019" y="1275256"/>
                    <a:pt x="77883" y="1423925"/>
                  </a:cubicBezTo>
                  <a:cubicBezTo>
                    <a:pt x="146722" y="1508094"/>
                    <a:pt x="246510" y="1551769"/>
                    <a:pt x="347165" y="1551769"/>
                  </a:cubicBezTo>
                  <a:close/>
                </a:path>
              </a:pathLst>
            </a:custGeom>
            <a:solidFill>
              <a:schemeClr val="accent1">
                <a:lumMod val="50000"/>
              </a:schemeClr>
            </a:solidFill>
            <a:ln w="2884" cap="flat">
              <a:noFill/>
              <a:prstDash val="solid"/>
              <a:miter/>
            </a:ln>
          </p:spPr>
          <p:txBody>
            <a:bodyPr rtlCol="0" anchor="ctr"/>
            <a:lstStyle/>
            <a:p>
              <a:endParaRPr lang="id-ID">
                <a:solidFill>
                  <a:schemeClr val="accent1"/>
                </a:solidFill>
                <a:latin typeface="Montserrat" panose="00000500000000000000" pitchFamily="2" charset="0"/>
              </a:endParaRPr>
            </a:p>
          </p:txBody>
        </p:sp>
      </p:grpSp>
      <p:grpSp>
        <p:nvGrpSpPr>
          <p:cNvPr id="74" name="Group 52">
            <a:extLst>
              <a:ext uri="{FF2B5EF4-FFF2-40B4-BE49-F238E27FC236}">
                <a16:creationId xmlns:a16="http://schemas.microsoft.com/office/drawing/2014/main" id="{213CC900-7EA5-4F08-9FB0-A3C3D7F08BBD}"/>
              </a:ext>
            </a:extLst>
          </p:cNvPr>
          <p:cNvGrpSpPr>
            <a:grpSpLocks noChangeAspect="1"/>
          </p:cNvGrpSpPr>
          <p:nvPr/>
        </p:nvGrpSpPr>
        <p:grpSpPr>
          <a:xfrm>
            <a:off x="10850870" y="5503562"/>
            <a:ext cx="348059" cy="360000"/>
            <a:chOff x="2281151" y="2761528"/>
            <a:chExt cx="1657802" cy="1714678"/>
          </a:xfrm>
          <a:solidFill>
            <a:schemeClr val="accent1"/>
          </a:solidFill>
          <a:effectLst>
            <a:outerShdw blurRad="94654" dist="38100" dir="2700000" algn="tl" rotWithShape="0">
              <a:prstClr val="black">
                <a:alpha val="60000"/>
              </a:prstClr>
            </a:outerShdw>
          </a:effectLst>
        </p:grpSpPr>
        <p:sp>
          <p:nvSpPr>
            <p:cNvPr id="75" name="Freeform: Shape 2">
              <a:extLst>
                <a:ext uri="{FF2B5EF4-FFF2-40B4-BE49-F238E27FC236}">
                  <a16:creationId xmlns:a16="http://schemas.microsoft.com/office/drawing/2014/main" id="{3B246329-FC68-4560-A067-CC818BA268F6}"/>
                </a:ext>
              </a:extLst>
            </p:cNvPr>
            <p:cNvSpPr/>
            <p:nvPr/>
          </p:nvSpPr>
          <p:spPr>
            <a:xfrm>
              <a:off x="2281151" y="3555835"/>
              <a:ext cx="1657802" cy="920371"/>
            </a:xfrm>
            <a:custGeom>
              <a:avLst/>
              <a:gdLst>
                <a:gd name="connsiteX0" fmla="*/ 347165 w 2807077"/>
                <a:gd name="connsiteY0" fmla="*/ 1551769 h 1558421"/>
                <a:gd name="connsiteX1" fmla="*/ 566119 w 2807077"/>
                <a:gd name="connsiteY1" fmla="*/ 1473675 h 1558421"/>
                <a:gd name="connsiteX2" fmla="*/ 1399418 w 2807077"/>
                <a:gd name="connsiteY2" fmla="*/ 794830 h 1558421"/>
                <a:gd name="connsiteX3" fmla="*/ 2240812 w 2807077"/>
                <a:gd name="connsiteY3" fmla="*/ 1480327 h 1558421"/>
                <a:gd name="connsiteX4" fmla="*/ 2459767 w 2807077"/>
                <a:gd name="connsiteY4" fmla="*/ 1558422 h 1558421"/>
                <a:gd name="connsiteX5" fmla="*/ 2729051 w 2807077"/>
                <a:gd name="connsiteY5" fmla="*/ 1430578 h 1558421"/>
                <a:gd name="connsiteX6" fmla="*/ 2679302 w 2807077"/>
                <a:gd name="connsiteY6" fmla="*/ 942342 h 1558421"/>
                <a:gd name="connsiteX7" fmla="*/ 1618661 w 2807077"/>
                <a:gd name="connsiteY7" fmla="*/ 78095 h 1558421"/>
                <a:gd name="connsiteX8" fmla="*/ 1180175 w 2807077"/>
                <a:gd name="connsiteY8" fmla="*/ 78095 h 1558421"/>
                <a:gd name="connsiteX9" fmla="*/ 127922 w 2807077"/>
                <a:gd name="connsiteY9" fmla="*/ 935689 h 1558421"/>
                <a:gd name="connsiteX10" fmla="*/ 77883 w 2807077"/>
                <a:gd name="connsiteY10" fmla="*/ 1423925 h 1558421"/>
                <a:gd name="connsiteX11" fmla="*/ 347165 w 2807077"/>
                <a:gd name="connsiteY11" fmla="*/ 1551769 h 1558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07077" h="1558421">
                  <a:moveTo>
                    <a:pt x="347165" y="1551769"/>
                  </a:moveTo>
                  <a:cubicBezTo>
                    <a:pt x="424103" y="1551769"/>
                    <a:pt x="501908" y="1526313"/>
                    <a:pt x="566119" y="1473675"/>
                  </a:cubicBezTo>
                  <a:lnTo>
                    <a:pt x="1399418" y="794830"/>
                  </a:lnTo>
                  <a:lnTo>
                    <a:pt x="2240812" y="1480327"/>
                  </a:lnTo>
                  <a:cubicBezTo>
                    <a:pt x="2305316" y="1532679"/>
                    <a:pt x="2382832" y="1558422"/>
                    <a:pt x="2459767" y="1558422"/>
                  </a:cubicBezTo>
                  <a:cubicBezTo>
                    <a:pt x="2560422" y="1558422"/>
                    <a:pt x="2660499" y="1514744"/>
                    <a:pt x="2729051" y="1430578"/>
                  </a:cubicBezTo>
                  <a:cubicBezTo>
                    <a:pt x="2850240" y="1281909"/>
                    <a:pt x="2827682" y="1063244"/>
                    <a:pt x="2679302" y="942342"/>
                  </a:cubicBezTo>
                  <a:lnTo>
                    <a:pt x="1618661" y="78095"/>
                  </a:lnTo>
                  <a:cubicBezTo>
                    <a:pt x="1491107" y="-26032"/>
                    <a:pt x="1307729" y="-26032"/>
                    <a:pt x="1180175" y="78095"/>
                  </a:cubicBezTo>
                  <a:lnTo>
                    <a:pt x="127922" y="935689"/>
                  </a:lnTo>
                  <a:cubicBezTo>
                    <a:pt x="-20747" y="1056591"/>
                    <a:pt x="-43019" y="1275253"/>
                    <a:pt x="77883" y="1423925"/>
                  </a:cubicBezTo>
                  <a:cubicBezTo>
                    <a:pt x="146722" y="1508094"/>
                    <a:pt x="246510" y="1551769"/>
                    <a:pt x="347165" y="1551769"/>
                  </a:cubicBezTo>
                  <a:close/>
                </a:path>
              </a:pathLst>
            </a:custGeom>
            <a:solidFill>
              <a:schemeClr val="accent1">
                <a:lumMod val="50000"/>
              </a:schemeClr>
            </a:solidFill>
            <a:ln w="2884" cap="flat">
              <a:noFill/>
              <a:prstDash val="solid"/>
              <a:miter/>
            </a:ln>
          </p:spPr>
          <p:txBody>
            <a:bodyPr rtlCol="0" anchor="ctr"/>
            <a:lstStyle/>
            <a:p>
              <a:endParaRPr lang="id-ID">
                <a:solidFill>
                  <a:schemeClr val="accent1"/>
                </a:solidFill>
                <a:latin typeface="Montserrat" panose="00000500000000000000" pitchFamily="2" charset="0"/>
              </a:endParaRPr>
            </a:p>
          </p:txBody>
        </p:sp>
        <p:sp>
          <p:nvSpPr>
            <p:cNvPr id="76" name="Freeform: Shape 3">
              <a:extLst>
                <a:ext uri="{FF2B5EF4-FFF2-40B4-BE49-F238E27FC236}">
                  <a16:creationId xmlns:a16="http://schemas.microsoft.com/office/drawing/2014/main" id="{2A3839B2-EB6F-46E2-AD10-EE6CA84F98EA}"/>
                </a:ext>
              </a:extLst>
            </p:cNvPr>
            <p:cNvSpPr/>
            <p:nvPr/>
          </p:nvSpPr>
          <p:spPr>
            <a:xfrm>
              <a:off x="2281151" y="2761528"/>
              <a:ext cx="1657802" cy="920374"/>
            </a:xfrm>
            <a:custGeom>
              <a:avLst/>
              <a:gdLst>
                <a:gd name="connsiteX0" fmla="*/ 347165 w 2807077"/>
                <a:gd name="connsiteY0" fmla="*/ 1551769 h 1558421"/>
                <a:gd name="connsiteX1" fmla="*/ 566119 w 2807077"/>
                <a:gd name="connsiteY1" fmla="*/ 1473674 h 1558421"/>
                <a:gd name="connsiteX2" fmla="*/ 1399418 w 2807077"/>
                <a:gd name="connsiteY2" fmla="*/ 794830 h 1558421"/>
                <a:gd name="connsiteX3" fmla="*/ 2240812 w 2807077"/>
                <a:gd name="connsiteY3" fmla="*/ 1480327 h 1558421"/>
                <a:gd name="connsiteX4" fmla="*/ 2459767 w 2807077"/>
                <a:gd name="connsiteY4" fmla="*/ 1558422 h 1558421"/>
                <a:gd name="connsiteX5" fmla="*/ 2729051 w 2807077"/>
                <a:gd name="connsiteY5" fmla="*/ 1430578 h 1558421"/>
                <a:gd name="connsiteX6" fmla="*/ 2679302 w 2807077"/>
                <a:gd name="connsiteY6" fmla="*/ 942342 h 1558421"/>
                <a:gd name="connsiteX7" fmla="*/ 1618661 w 2807077"/>
                <a:gd name="connsiteY7" fmla="*/ 78095 h 1558421"/>
                <a:gd name="connsiteX8" fmla="*/ 1180175 w 2807077"/>
                <a:gd name="connsiteY8" fmla="*/ 78095 h 1558421"/>
                <a:gd name="connsiteX9" fmla="*/ 127922 w 2807077"/>
                <a:gd name="connsiteY9" fmla="*/ 935400 h 1558421"/>
                <a:gd name="connsiteX10" fmla="*/ 77883 w 2807077"/>
                <a:gd name="connsiteY10" fmla="*/ 1423925 h 1558421"/>
                <a:gd name="connsiteX11" fmla="*/ 347165 w 2807077"/>
                <a:gd name="connsiteY11" fmla="*/ 1551769 h 1558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07077" h="1558421">
                  <a:moveTo>
                    <a:pt x="347165" y="1551769"/>
                  </a:moveTo>
                  <a:cubicBezTo>
                    <a:pt x="424103" y="1551769"/>
                    <a:pt x="501908" y="1526316"/>
                    <a:pt x="566119" y="1473674"/>
                  </a:cubicBezTo>
                  <a:lnTo>
                    <a:pt x="1399418" y="794830"/>
                  </a:lnTo>
                  <a:lnTo>
                    <a:pt x="2240812" y="1480327"/>
                  </a:lnTo>
                  <a:cubicBezTo>
                    <a:pt x="2305316" y="1532682"/>
                    <a:pt x="2382832" y="1558422"/>
                    <a:pt x="2459767" y="1558422"/>
                  </a:cubicBezTo>
                  <a:cubicBezTo>
                    <a:pt x="2560422" y="1558422"/>
                    <a:pt x="2660499" y="1514746"/>
                    <a:pt x="2729051" y="1430578"/>
                  </a:cubicBezTo>
                  <a:cubicBezTo>
                    <a:pt x="2850240" y="1281912"/>
                    <a:pt x="2827682" y="1063244"/>
                    <a:pt x="2679302" y="942342"/>
                  </a:cubicBezTo>
                  <a:lnTo>
                    <a:pt x="1618661" y="78095"/>
                  </a:lnTo>
                  <a:cubicBezTo>
                    <a:pt x="1491107" y="-26032"/>
                    <a:pt x="1307729" y="-26032"/>
                    <a:pt x="1180175" y="78095"/>
                  </a:cubicBezTo>
                  <a:lnTo>
                    <a:pt x="127922" y="935400"/>
                  </a:lnTo>
                  <a:cubicBezTo>
                    <a:pt x="-20747" y="1056591"/>
                    <a:pt x="-43019" y="1275256"/>
                    <a:pt x="77883" y="1423925"/>
                  </a:cubicBezTo>
                  <a:cubicBezTo>
                    <a:pt x="146722" y="1508094"/>
                    <a:pt x="246510" y="1551769"/>
                    <a:pt x="347165" y="1551769"/>
                  </a:cubicBezTo>
                  <a:close/>
                </a:path>
              </a:pathLst>
            </a:custGeom>
            <a:solidFill>
              <a:schemeClr val="accent1">
                <a:lumMod val="50000"/>
              </a:schemeClr>
            </a:solidFill>
            <a:ln w="2884" cap="flat">
              <a:noFill/>
              <a:prstDash val="solid"/>
              <a:miter/>
            </a:ln>
          </p:spPr>
          <p:txBody>
            <a:bodyPr rtlCol="0" anchor="ctr"/>
            <a:lstStyle/>
            <a:p>
              <a:endParaRPr lang="id-ID">
                <a:solidFill>
                  <a:schemeClr val="accent1"/>
                </a:solidFill>
                <a:latin typeface="Montserrat" panose="00000500000000000000" pitchFamily="2" charset="0"/>
              </a:endParaRPr>
            </a:p>
          </p:txBody>
        </p:sp>
      </p:grpSp>
      <p:sp>
        <p:nvSpPr>
          <p:cNvPr id="77" name="Oval 38">
            <a:extLst>
              <a:ext uri="{FF2B5EF4-FFF2-40B4-BE49-F238E27FC236}">
                <a16:creationId xmlns:a16="http://schemas.microsoft.com/office/drawing/2014/main" id="{85FD1E7A-8717-4157-B94A-66C65A28606D}"/>
              </a:ext>
            </a:extLst>
          </p:cNvPr>
          <p:cNvSpPr>
            <a:spLocks noChangeAspect="1"/>
          </p:cNvSpPr>
          <p:nvPr/>
        </p:nvSpPr>
        <p:spPr>
          <a:xfrm>
            <a:off x="6402531" y="5982841"/>
            <a:ext cx="756000" cy="756000"/>
          </a:xfrm>
          <a:prstGeom prst="ellipse">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598">
              <a:solidFill>
                <a:schemeClr val="accent1"/>
              </a:solidFill>
              <a:latin typeface="Montserrat" panose="00000500000000000000" pitchFamily="2" charset="0"/>
            </a:endParaRPr>
          </a:p>
        </p:txBody>
      </p:sp>
      <p:sp>
        <p:nvSpPr>
          <p:cNvPr id="78" name="Oval 40">
            <a:extLst>
              <a:ext uri="{FF2B5EF4-FFF2-40B4-BE49-F238E27FC236}">
                <a16:creationId xmlns:a16="http://schemas.microsoft.com/office/drawing/2014/main" id="{CE5CD8EE-960E-4B1B-96EF-C97021206B22}"/>
              </a:ext>
            </a:extLst>
          </p:cNvPr>
          <p:cNvSpPr>
            <a:spLocks noChangeAspect="1"/>
          </p:cNvSpPr>
          <p:nvPr/>
        </p:nvSpPr>
        <p:spPr>
          <a:xfrm>
            <a:off x="10656209" y="5969388"/>
            <a:ext cx="756000" cy="756000"/>
          </a:xfrm>
          <a:prstGeom prst="ellipse">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598">
              <a:solidFill>
                <a:schemeClr val="accent1"/>
              </a:solidFill>
              <a:latin typeface="Montserrat" panose="00000500000000000000" pitchFamily="2" charset="0"/>
            </a:endParaRPr>
          </a:p>
        </p:txBody>
      </p:sp>
      <p:sp>
        <p:nvSpPr>
          <p:cNvPr id="79" name="Oval 39">
            <a:extLst>
              <a:ext uri="{FF2B5EF4-FFF2-40B4-BE49-F238E27FC236}">
                <a16:creationId xmlns:a16="http://schemas.microsoft.com/office/drawing/2014/main" id="{E4BAF7E8-AC40-40D6-A9CA-096360493064}"/>
              </a:ext>
            </a:extLst>
          </p:cNvPr>
          <p:cNvSpPr>
            <a:spLocks noChangeAspect="1"/>
          </p:cNvSpPr>
          <p:nvPr/>
        </p:nvSpPr>
        <p:spPr>
          <a:xfrm>
            <a:off x="8507566" y="5982841"/>
            <a:ext cx="756000" cy="756000"/>
          </a:xfrm>
          <a:prstGeom prst="ellipse">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598">
              <a:solidFill>
                <a:schemeClr val="accent1"/>
              </a:solidFill>
              <a:latin typeface="Montserrat" panose="00000500000000000000" pitchFamily="2" charset="0"/>
            </a:endParaRPr>
          </a:p>
        </p:txBody>
      </p:sp>
      <p:sp>
        <p:nvSpPr>
          <p:cNvPr id="80" name="TextBox 81">
            <a:extLst>
              <a:ext uri="{FF2B5EF4-FFF2-40B4-BE49-F238E27FC236}">
                <a16:creationId xmlns:a16="http://schemas.microsoft.com/office/drawing/2014/main" id="{F1322DA7-C80C-448D-84DD-C1FEF447C971}"/>
              </a:ext>
            </a:extLst>
          </p:cNvPr>
          <p:cNvSpPr txBox="1"/>
          <p:nvPr/>
        </p:nvSpPr>
        <p:spPr>
          <a:xfrm>
            <a:off x="7920658" y="2219728"/>
            <a:ext cx="1929816" cy="2539157"/>
          </a:xfrm>
          <a:prstGeom prst="rect">
            <a:avLst/>
          </a:prstGeom>
          <a:noFill/>
        </p:spPr>
        <p:txBody>
          <a:bodyPr wrap="square" lIns="0" tIns="0" rIns="0" bIns="0" rtlCol="0" anchor="ctr">
            <a:spAutoFit/>
          </a:bodyPr>
          <a:lstStyle/>
          <a:p>
            <a:pPr marL="171450" indent="-171450">
              <a:buFont typeface="Arial" panose="020B0604020202020204" pitchFamily="34" charset="0"/>
              <a:buChar char="•"/>
            </a:pPr>
            <a:r>
              <a:rPr lang="de-DE" sz="1200" dirty="0">
                <a:latin typeface="Montserrat" panose="00000500000000000000" pitchFamily="2" charset="0"/>
              </a:rPr>
              <a:t>Anzeige von </a:t>
            </a:r>
            <a:r>
              <a:rPr lang="de-DE" sz="1200" b="1" dirty="0">
                <a:latin typeface="Montserrat" panose="00000500000000000000" pitchFamily="2" charset="0"/>
              </a:rPr>
              <a:t>DICOM- und Nicht-DICOM-</a:t>
            </a:r>
            <a:r>
              <a:rPr lang="de-DE" sz="1200" dirty="0">
                <a:latin typeface="Montserrat" panose="00000500000000000000" pitchFamily="2" charset="0"/>
              </a:rPr>
              <a:t>Daten</a:t>
            </a:r>
          </a:p>
          <a:p>
            <a:pPr marL="171450" indent="-171450">
              <a:buFont typeface="Arial" panose="020B0604020202020204" pitchFamily="34" charset="0"/>
              <a:buChar char="•"/>
            </a:pPr>
            <a:r>
              <a:rPr lang="de-DE" sz="1200" dirty="0">
                <a:latin typeface="Montserrat" panose="00000500000000000000" pitchFamily="2" charset="0"/>
              </a:rPr>
              <a:t>Standard-DICOM-Werkzeuge</a:t>
            </a:r>
          </a:p>
          <a:p>
            <a:pPr marL="171450" indent="-171450">
              <a:buFont typeface="Arial" panose="020B0604020202020204" pitchFamily="34" charset="0"/>
              <a:buChar char="•"/>
            </a:pPr>
            <a:r>
              <a:rPr lang="de-DE" sz="1200" dirty="0">
                <a:latin typeface="Montserrat" panose="00000500000000000000" pitchFamily="2" charset="0"/>
              </a:rPr>
              <a:t>Darstellung von Zuständen</a:t>
            </a:r>
          </a:p>
          <a:p>
            <a:pPr marL="171450" indent="-171450">
              <a:buFont typeface="Arial" panose="020B0604020202020204" pitchFamily="34" charset="0"/>
              <a:buChar char="•"/>
            </a:pPr>
            <a:r>
              <a:rPr lang="de-DE" sz="1200" dirty="0">
                <a:latin typeface="Montserrat" panose="00000500000000000000" pitchFamily="2" charset="0"/>
              </a:rPr>
              <a:t>Manuelle Synchronisation von Serien</a:t>
            </a:r>
          </a:p>
          <a:p>
            <a:pPr marL="171450" indent="-171450">
              <a:buFont typeface="Arial" panose="020B0604020202020204" pitchFamily="34" charset="0"/>
              <a:buChar char="•"/>
            </a:pPr>
            <a:r>
              <a:rPr lang="de-DE" sz="1200" dirty="0">
                <a:latin typeface="Montserrat" panose="00000500000000000000" pitchFamily="2" charset="0"/>
              </a:rPr>
              <a:t>Einfache Konfiguration von Split-/Sortierregeln</a:t>
            </a:r>
          </a:p>
          <a:p>
            <a:endParaRPr lang="de-DE" sz="900" dirty="0">
              <a:latin typeface="Montserrat" panose="00000500000000000000" pitchFamily="2" charset="0"/>
            </a:endParaRPr>
          </a:p>
        </p:txBody>
      </p:sp>
      <p:sp>
        <p:nvSpPr>
          <p:cNvPr id="81" name="TextBox 81">
            <a:extLst>
              <a:ext uri="{FF2B5EF4-FFF2-40B4-BE49-F238E27FC236}">
                <a16:creationId xmlns:a16="http://schemas.microsoft.com/office/drawing/2014/main" id="{CE04FA7B-E1B1-40DA-8193-1AF7F09397C0}"/>
              </a:ext>
            </a:extLst>
          </p:cNvPr>
          <p:cNvSpPr txBox="1"/>
          <p:nvPr/>
        </p:nvSpPr>
        <p:spPr>
          <a:xfrm>
            <a:off x="10053566" y="2215477"/>
            <a:ext cx="1920240" cy="1477328"/>
          </a:xfrm>
          <a:prstGeom prst="rect">
            <a:avLst/>
          </a:prstGeom>
          <a:noFill/>
        </p:spPr>
        <p:txBody>
          <a:bodyPr wrap="square" lIns="0" tIns="0" rIns="0" bIns="0" rtlCol="0" anchor="ctr">
            <a:spAutoFit/>
          </a:bodyPr>
          <a:lstStyle/>
          <a:p>
            <a:pPr marL="171450" indent="-171450">
              <a:buFont typeface="Arial" panose="020B0604020202020204" pitchFamily="34" charset="0"/>
              <a:buChar char="•"/>
            </a:pPr>
            <a:r>
              <a:rPr lang="de-DE" sz="1200" dirty="0">
                <a:latin typeface="Montserrat" panose="00000500000000000000" pitchFamily="2" charset="0"/>
              </a:rPr>
              <a:t>Stand Alone Einsatz möglich</a:t>
            </a:r>
          </a:p>
          <a:p>
            <a:pPr marL="171450" indent="-171450">
              <a:buFont typeface="Arial" panose="020B0604020202020204" pitchFamily="34" charset="0"/>
              <a:buChar char="•"/>
            </a:pPr>
            <a:r>
              <a:rPr lang="de-DE" sz="1200" dirty="0">
                <a:latin typeface="Montserrat" panose="00000500000000000000" pitchFamily="2" charset="0"/>
              </a:rPr>
              <a:t>Kontextbasierte Integration</a:t>
            </a:r>
          </a:p>
          <a:p>
            <a:pPr marL="171450" indent="-171450">
              <a:buFont typeface="Arial" panose="020B0604020202020204" pitchFamily="34" charset="0"/>
              <a:buChar char="•"/>
            </a:pPr>
            <a:r>
              <a:rPr lang="de-DE" sz="1200" b="1" dirty="0">
                <a:latin typeface="Montserrat" panose="00000500000000000000" pitchFamily="2" charset="0"/>
              </a:rPr>
              <a:t>Zur Befundung einsetzbar</a:t>
            </a:r>
          </a:p>
          <a:p>
            <a:pPr marL="171450" indent="-171450">
              <a:buFont typeface="Arial" panose="020B0604020202020204" pitchFamily="34" charset="0"/>
              <a:buChar char="•"/>
            </a:pPr>
            <a:r>
              <a:rPr lang="de-DE" sz="1200" dirty="0">
                <a:latin typeface="Montserrat" panose="00000500000000000000" pitchFamily="2" charset="0"/>
              </a:rPr>
              <a:t>Authentifizierung über Keycloack</a:t>
            </a:r>
          </a:p>
        </p:txBody>
      </p:sp>
      <p:pic>
        <p:nvPicPr>
          <p:cNvPr id="85" name="Graphic 50" descr="Search Inventory outline">
            <a:extLst>
              <a:ext uri="{FF2B5EF4-FFF2-40B4-BE49-F238E27FC236}">
                <a16:creationId xmlns:a16="http://schemas.microsoft.com/office/drawing/2014/main" id="{200919B2-FA9C-45BA-B125-B93E9DA8B46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549524" y="6125192"/>
            <a:ext cx="462009" cy="462009"/>
          </a:xfrm>
          <a:prstGeom prst="rect">
            <a:avLst/>
          </a:prstGeom>
        </p:spPr>
      </p:pic>
      <p:pic>
        <p:nvPicPr>
          <p:cNvPr id="86" name="Graphic 52" descr="Computer outline">
            <a:extLst>
              <a:ext uri="{FF2B5EF4-FFF2-40B4-BE49-F238E27FC236}">
                <a16:creationId xmlns:a16="http://schemas.microsoft.com/office/drawing/2014/main" id="{839DA610-594E-4441-BF02-61F20CBE398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790513" y="6115606"/>
            <a:ext cx="466843" cy="466843"/>
          </a:xfrm>
          <a:prstGeom prst="rect">
            <a:avLst/>
          </a:prstGeom>
        </p:spPr>
      </p:pic>
      <p:pic>
        <p:nvPicPr>
          <p:cNvPr id="87" name="Graphic 54" descr="Ui Ux outline">
            <a:extLst>
              <a:ext uri="{FF2B5EF4-FFF2-40B4-BE49-F238E27FC236}">
                <a16:creationId xmlns:a16="http://schemas.microsoft.com/office/drawing/2014/main" id="{F4393D47-5BBA-4836-93CC-0123E7A87C0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611959" y="6094369"/>
            <a:ext cx="527251" cy="527251"/>
          </a:xfrm>
          <a:prstGeom prst="rect">
            <a:avLst/>
          </a:prstGeom>
        </p:spPr>
      </p:pic>
      <p:grpSp>
        <p:nvGrpSpPr>
          <p:cNvPr id="88" name="Gruppieren 87">
            <a:extLst>
              <a:ext uri="{FF2B5EF4-FFF2-40B4-BE49-F238E27FC236}">
                <a16:creationId xmlns:a16="http://schemas.microsoft.com/office/drawing/2014/main" id="{788E187F-C8B3-4768-A3B2-49DB76C72CAA}"/>
              </a:ext>
            </a:extLst>
          </p:cNvPr>
          <p:cNvGrpSpPr/>
          <p:nvPr/>
        </p:nvGrpSpPr>
        <p:grpSpPr>
          <a:xfrm>
            <a:off x="35853" y="2071338"/>
            <a:ext cx="5646821" cy="3338239"/>
            <a:chOff x="3990089" y="1733594"/>
            <a:chExt cx="5594088" cy="3329849"/>
          </a:xfrm>
        </p:grpSpPr>
        <p:pic>
          <p:nvPicPr>
            <p:cNvPr id="89" name="Picture 13">
              <a:extLst>
                <a:ext uri="{FF2B5EF4-FFF2-40B4-BE49-F238E27FC236}">
                  <a16:creationId xmlns:a16="http://schemas.microsoft.com/office/drawing/2014/main" id="{182C71FB-C567-47D3-9E2B-C432D16E1CD4}"/>
                </a:ext>
              </a:extLst>
            </p:cNvPr>
            <p:cNvPicPr>
              <a:picLocks noChangeAspect="1"/>
            </p:cNvPicPr>
            <p:nvPr/>
          </p:nvPicPr>
          <p:blipFill rotWithShape="1">
            <a:blip r:embed="rId9"/>
            <a:srcRect l="28533" t="13278" r="7558" b="12222"/>
            <a:stretch/>
          </p:blipFill>
          <p:spPr>
            <a:xfrm>
              <a:off x="3990089" y="1733594"/>
              <a:ext cx="5594088" cy="3329849"/>
            </a:xfrm>
            <a:prstGeom prst="rect">
              <a:avLst/>
            </a:prstGeom>
          </p:spPr>
        </p:pic>
        <p:pic>
          <p:nvPicPr>
            <p:cNvPr id="90" name="Grafik 1">
              <a:extLst>
                <a:ext uri="{FF2B5EF4-FFF2-40B4-BE49-F238E27FC236}">
                  <a16:creationId xmlns:a16="http://schemas.microsoft.com/office/drawing/2014/main" id="{D9A6C464-28F2-4465-813A-46035FD24DCE}"/>
                </a:ext>
              </a:extLst>
            </p:cNvPr>
            <p:cNvPicPr>
              <a:picLocks noChangeAspect="1"/>
            </p:cNvPicPr>
            <p:nvPr/>
          </p:nvPicPr>
          <p:blipFill>
            <a:blip r:embed="rId10"/>
            <a:stretch>
              <a:fillRect/>
            </a:stretch>
          </p:blipFill>
          <p:spPr>
            <a:xfrm>
              <a:off x="4568778" y="2086042"/>
              <a:ext cx="4399297" cy="2279433"/>
            </a:xfrm>
            <a:prstGeom prst="rect">
              <a:avLst/>
            </a:prstGeom>
            <a:effectLst/>
          </p:spPr>
        </p:pic>
      </p:grpSp>
    </p:spTree>
    <p:extLst>
      <p:ext uri="{BB962C8B-B14F-4D97-AF65-F5344CB8AC3E}">
        <p14:creationId xmlns:p14="http://schemas.microsoft.com/office/powerpoint/2010/main" val="89777869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EB3B0279-2302-40A4-AA57-FFB971E5DA87}"/>
              </a:ext>
            </a:extLst>
          </p:cNvPr>
          <p:cNvSpPr>
            <a:spLocks noGrp="1"/>
          </p:cNvSpPr>
          <p:nvPr>
            <p:ph type="ctrTitle"/>
          </p:nvPr>
        </p:nvSpPr>
        <p:spPr>
          <a:xfrm>
            <a:off x="520377" y="1117526"/>
            <a:ext cx="8260947" cy="456632"/>
          </a:xfrm>
        </p:spPr>
        <p:txBody>
          <a:bodyPr/>
          <a:lstStyle/>
          <a:p>
            <a:r>
              <a:rPr lang="fr-FR" dirty="0" err="1"/>
              <a:t>Einheitlicher</a:t>
            </a:r>
            <a:r>
              <a:rPr lang="fr-FR" dirty="0"/>
              <a:t> </a:t>
            </a:r>
            <a:r>
              <a:rPr lang="fr-FR" dirty="0" err="1"/>
              <a:t>Zugriff</a:t>
            </a:r>
            <a:r>
              <a:rPr lang="fr-FR" dirty="0"/>
              <a:t> – </a:t>
            </a:r>
            <a:r>
              <a:rPr lang="fr-FR" dirty="0" err="1"/>
              <a:t>Prozess</a:t>
            </a:r>
            <a:r>
              <a:rPr lang="fr-FR" dirty="0"/>
              <a:t>- </a:t>
            </a:r>
            <a:r>
              <a:rPr lang="fr-FR" dirty="0" err="1"/>
              <a:t>und</a:t>
            </a:r>
            <a:r>
              <a:rPr lang="fr-FR" dirty="0"/>
              <a:t> </a:t>
            </a:r>
            <a:r>
              <a:rPr lang="fr-FR" dirty="0" err="1"/>
              <a:t>Inhaltsbasiert</a:t>
            </a:r>
            <a:endParaRPr lang="fr-FR" dirty="0"/>
          </a:p>
        </p:txBody>
      </p:sp>
      <p:sp>
        <p:nvSpPr>
          <p:cNvPr id="60" name="Rechteck: abgerundete Ecken 59">
            <a:extLst>
              <a:ext uri="{FF2B5EF4-FFF2-40B4-BE49-F238E27FC236}">
                <a16:creationId xmlns:a16="http://schemas.microsoft.com/office/drawing/2014/main" id="{FA33AD68-D1F0-4C71-A7BE-36EAC53DD819}"/>
              </a:ext>
            </a:extLst>
          </p:cNvPr>
          <p:cNvSpPr/>
          <p:nvPr/>
        </p:nvSpPr>
        <p:spPr>
          <a:xfrm>
            <a:off x="10006755" y="1795520"/>
            <a:ext cx="1991551" cy="3230675"/>
          </a:xfrm>
          <a:prstGeom prst="roundRect">
            <a:avLst/>
          </a:prstGeom>
          <a:solidFill>
            <a:srgbClr val="00A3E0">
              <a:alpha val="1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61" name="Rechteck: abgerundete Ecken 60">
            <a:extLst>
              <a:ext uri="{FF2B5EF4-FFF2-40B4-BE49-F238E27FC236}">
                <a16:creationId xmlns:a16="http://schemas.microsoft.com/office/drawing/2014/main" id="{CED3A6C0-0054-42C4-BB1B-2E0EBCA9A4F3}"/>
              </a:ext>
            </a:extLst>
          </p:cNvPr>
          <p:cNvSpPr/>
          <p:nvPr/>
        </p:nvSpPr>
        <p:spPr>
          <a:xfrm>
            <a:off x="7875907" y="1795520"/>
            <a:ext cx="1991551" cy="3198920"/>
          </a:xfrm>
          <a:prstGeom prst="roundRect">
            <a:avLst/>
          </a:prstGeom>
          <a:solidFill>
            <a:srgbClr val="A1A2A1">
              <a:alpha val="1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62" name="Rechteck: abgerundete Ecken 61">
            <a:extLst>
              <a:ext uri="{FF2B5EF4-FFF2-40B4-BE49-F238E27FC236}">
                <a16:creationId xmlns:a16="http://schemas.microsoft.com/office/drawing/2014/main" id="{D6D60A72-0178-423A-A99C-8BDAFF505A95}"/>
              </a:ext>
            </a:extLst>
          </p:cNvPr>
          <p:cNvSpPr/>
          <p:nvPr/>
        </p:nvSpPr>
        <p:spPr>
          <a:xfrm>
            <a:off x="5762102" y="1795520"/>
            <a:ext cx="1991551" cy="3198920"/>
          </a:xfrm>
          <a:prstGeom prst="roundRect">
            <a:avLst/>
          </a:prstGeom>
          <a:solidFill>
            <a:schemeClr val="accent1">
              <a:alpha val="1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cxnSp>
        <p:nvCxnSpPr>
          <p:cNvPr id="63" name="Straight Arrow Connector 35">
            <a:extLst>
              <a:ext uri="{FF2B5EF4-FFF2-40B4-BE49-F238E27FC236}">
                <a16:creationId xmlns:a16="http://schemas.microsoft.com/office/drawing/2014/main" id="{B6D1CDAE-537C-4965-9CF7-C158DA692FD4}"/>
              </a:ext>
            </a:extLst>
          </p:cNvPr>
          <p:cNvCxnSpPr>
            <a:cxnSpLocks/>
          </p:cNvCxnSpPr>
          <p:nvPr/>
        </p:nvCxnSpPr>
        <p:spPr>
          <a:xfrm flipH="1">
            <a:off x="0" y="6346553"/>
            <a:ext cx="12192000" cy="0"/>
          </a:xfrm>
          <a:prstGeom prst="straightConnector1">
            <a:avLst/>
          </a:prstGeom>
          <a:ln w="88900" cap="rnd">
            <a:solidFill>
              <a:schemeClr val="accent1">
                <a:lumMod val="50000"/>
              </a:schemeClr>
            </a:solidFill>
            <a:prstDash val="solid"/>
            <a:round/>
            <a:headEnd type="none" w="lg" len="lg"/>
            <a:tailEnd type="none" w="lg" len="lg"/>
          </a:ln>
        </p:spPr>
        <p:style>
          <a:lnRef idx="1">
            <a:schemeClr val="accent1"/>
          </a:lnRef>
          <a:fillRef idx="0">
            <a:schemeClr val="accent1"/>
          </a:fillRef>
          <a:effectRef idx="0">
            <a:schemeClr val="accent1"/>
          </a:effectRef>
          <a:fontRef idx="minor">
            <a:schemeClr val="tx1"/>
          </a:fontRef>
        </p:style>
      </p:cxnSp>
      <p:sp>
        <p:nvSpPr>
          <p:cNvPr id="64" name="Pentagon 24">
            <a:extLst>
              <a:ext uri="{FF2B5EF4-FFF2-40B4-BE49-F238E27FC236}">
                <a16:creationId xmlns:a16="http://schemas.microsoft.com/office/drawing/2014/main" id="{BB4BA29C-5184-4940-9207-0C18BFE3E298}"/>
              </a:ext>
            </a:extLst>
          </p:cNvPr>
          <p:cNvSpPr/>
          <p:nvPr/>
        </p:nvSpPr>
        <p:spPr>
          <a:xfrm>
            <a:off x="10007846" y="4733930"/>
            <a:ext cx="2011680" cy="640080"/>
          </a:xfrm>
          <a:prstGeom prst="rect">
            <a:avLst/>
          </a:prstGeom>
          <a:solidFill>
            <a:schemeClr val="accent6"/>
          </a:solidFill>
          <a:ln w="317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dirty="0" err="1">
                <a:solidFill>
                  <a:srgbClr val="FFFFFF"/>
                </a:solidFill>
                <a:latin typeface="Montserrat" panose="00000500000000000000" pitchFamily="2" charset="0"/>
              </a:rPr>
              <a:t>Allgemein</a:t>
            </a:r>
            <a:endParaRPr lang="en-US" sz="1400" b="1" dirty="0">
              <a:solidFill>
                <a:schemeClr val="bg1"/>
              </a:solidFill>
              <a:latin typeface="Montserrat" panose="00000500000000000000" pitchFamily="2" charset="0"/>
            </a:endParaRPr>
          </a:p>
        </p:txBody>
      </p:sp>
      <p:sp>
        <p:nvSpPr>
          <p:cNvPr id="65" name="Pentagon 21">
            <a:extLst>
              <a:ext uri="{FF2B5EF4-FFF2-40B4-BE49-F238E27FC236}">
                <a16:creationId xmlns:a16="http://schemas.microsoft.com/office/drawing/2014/main" id="{EF8D2C74-BD9E-493D-B55E-F2BD5F28D7F1}"/>
              </a:ext>
            </a:extLst>
          </p:cNvPr>
          <p:cNvSpPr/>
          <p:nvPr/>
        </p:nvSpPr>
        <p:spPr>
          <a:xfrm>
            <a:off x="7855778" y="4744203"/>
            <a:ext cx="2011680" cy="640080"/>
          </a:xfrm>
          <a:prstGeom prst="rect">
            <a:avLst/>
          </a:prstGeom>
          <a:solidFill>
            <a:schemeClr val="tx2">
              <a:lumMod val="60000"/>
              <a:lumOff val="40000"/>
            </a:schemeClr>
          </a:solidFill>
          <a:ln w="317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dirty="0" err="1">
                <a:solidFill>
                  <a:srgbClr val="FFFFFF"/>
                </a:solidFill>
                <a:latin typeface="Montserrat" panose="00000500000000000000" pitchFamily="2" charset="0"/>
              </a:rPr>
              <a:t>Anzeige</a:t>
            </a:r>
            <a:endParaRPr lang="en-US" sz="1400" b="1" dirty="0">
              <a:solidFill>
                <a:schemeClr val="bg1"/>
              </a:solidFill>
              <a:latin typeface="Montserrat" panose="00000500000000000000" pitchFamily="2" charset="0"/>
            </a:endParaRPr>
          </a:p>
        </p:txBody>
      </p:sp>
      <p:sp>
        <p:nvSpPr>
          <p:cNvPr id="66" name="Pentagon 22">
            <a:extLst>
              <a:ext uri="{FF2B5EF4-FFF2-40B4-BE49-F238E27FC236}">
                <a16:creationId xmlns:a16="http://schemas.microsoft.com/office/drawing/2014/main" id="{94B35FA3-8CAA-4EF8-9B53-81E85EE0B73F}"/>
              </a:ext>
            </a:extLst>
          </p:cNvPr>
          <p:cNvSpPr/>
          <p:nvPr/>
        </p:nvSpPr>
        <p:spPr>
          <a:xfrm>
            <a:off x="5764670" y="4738193"/>
            <a:ext cx="2011680" cy="640080"/>
          </a:xfrm>
          <a:prstGeom prst="rect">
            <a:avLst/>
          </a:prstGeom>
          <a:solidFill>
            <a:schemeClr val="accent1"/>
          </a:solidFill>
          <a:ln w="317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err="1">
                <a:solidFill>
                  <a:srgbClr val="FFFFFF"/>
                </a:solidFill>
                <a:latin typeface="Montserrat" panose="00000500000000000000" pitchFamily="2" charset="0"/>
              </a:rPr>
              <a:t>Patientensuche</a:t>
            </a:r>
            <a:endParaRPr lang="en-US" sz="1400" b="1" dirty="0">
              <a:solidFill>
                <a:schemeClr val="bg1"/>
              </a:solidFill>
              <a:latin typeface="Montserrat" panose="00000500000000000000" pitchFamily="2" charset="0"/>
            </a:endParaRPr>
          </a:p>
        </p:txBody>
      </p:sp>
      <p:sp>
        <p:nvSpPr>
          <p:cNvPr id="67" name="TextBox 81">
            <a:extLst>
              <a:ext uri="{FF2B5EF4-FFF2-40B4-BE49-F238E27FC236}">
                <a16:creationId xmlns:a16="http://schemas.microsoft.com/office/drawing/2014/main" id="{432DADFB-3A7F-4329-BCE5-CF4ADA532E0B}"/>
              </a:ext>
            </a:extLst>
          </p:cNvPr>
          <p:cNvSpPr txBox="1"/>
          <p:nvPr/>
        </p:nvSpPr>
        <p:spPr>
          <a:xfrm>
            <a:off x="5774688" y="1938478"/>
            <a:ext cx="2011680" cy="2400657"/>
          </a:xfrm>
          <a:prstGeom prst="rect">
            <a:avLst/>
          </a:prstGeom>
          <a:noFill/>
        </p:spPr>
        <p:txBody>
          <a:bodyPr wrap="square" lIns="0" tIns="0" rIns="0" bIns="0" rtlCol="0" anchor="ctr">
            <a:spAutoFit/>
          </a:bodyPr>
          <a:lstStyle/>
          <a:p>
            <a:pPr marL="171450" indent="-109538">
              <a:buFont typeface="Arial" panose="020B0604020202020204" pitchFamily="34" charset="0"/>
              <a:buChar char="•"/>
            </a:pPr>
            <a:r>
              <a:rPr lang="de-DE" sz="1200" b="1" dirty="0">
                <a:latin typeface="Montserrat" panose="00000500000000000000" pitchFamily="2" charset="0"/>
              </a:rPr>
              <a:t>Kontextbezogener Start </a:t>
            </a:r>
            <a:r>
              <a:rPr lang="de-DE" sz="1200" dirty="0">
                <a:latin typeface="Montserrat" panose="00000500000000000000" pitchFamily="2" charset="0"/>
              </a:rPr>
              <a:t>- aus der KIS</a:t>
            </a:r>
          </a:p>
          <a:p>
            <a:pPr marL="171450" indent="-109538">
              <a:buFont typeface="Arial" panose="020B0604020202020204" pitchFamily="34" charset="0"/>
              <a:buChar char="•"/>
            </a:pPr>
            <a:r>
              <a:rPr lang="de-DE" sz="1200" b="1" dirty="0">
                <a:latin typeface="Montserrat" panose="00000500000000000000" pitchFamily="2" charset="0"/>
              </a:rPr>
              <a:t>Inhaltsbasierte Suche </a:t>
            </a:r>
            <a:r>
              <a:rPr lang="de-DE" sz="1200" dirty="0">
                <a:latin typeface="Montserrat" panose="00000500000000000000" pitchFamily="2" charset="0"/>
              </a:rPr>
              <a:t>nach verschiedenen Kriterien</a:t>
            </a:r>
          </a:p>
          <a:p>
            <a:pPr marL="171450" indent="-109538">
              <a:buFont typeface="Arial" panose="020B0604020202020204" pitchFamily="34" charset="0"/>
              <a:buChar char="•"/>
            </a:pPr>
            <a:r>
              <a:rPr lang="de-DE" sz="1200" b="1" dirty="0">
                <a:latin typeface="Montserrat" panose="00000500000000000000" pitchFamily="2" charset="0"/>
              </a:rPr>
              <a:t>Individuelle Suche </a:t>
            </a:r>
            <a:r>
              <a:rPr lang="de-DE" sz="1200" dirty="0">
                <a:latin typeface="Montserrat" panose="00000500000000000000" pitchFamily="2" charset="0"/>
              </a:rPr>
              <a:t>nach verschiedenen Kriterien</a:t>
            </a:r>
          </a:p>
          <a:p>
            <a:pPr marL="171450" indent="-109538">
              <a:buFont typeface="Arial" panose="020B0604020202020204" pitchFamily="34" charset="0"/>
              <a:buChar char="•"/>
            </a:pPr>
            <a:r>
              <a:rPr lang="de-DE" sz="1200" b="1" dirty="0">
                <a:latin typeface="Montserrat" panose="00000500000000000000" pitchFamily="2" charset="0"/>
              </a:rPr>
              <a:t>Volltextsuche</a:t>
            </a:r>
            <a:r>
              <a:rPr lang="de-DE" sz="1200" dirty="0">
                <a:latin typeface="Montserrat" panose="00000500000000000000" pitchFamily="2" charset="0"/>
              </a:rPr>
              <a:t> </a:t>
            </a:r>
            <a:r>
              <a:rPr lang="de-DE" sz="1200" b="1" dirty="0">
                <a:latin typeface="Montserrat" panose="00000500000000000000" pitchFamily="2" charset="0"/>
              </a:rPr>
              <a:t>mit integrierter OCR-Engine</a:t>
            </a:r>
          </a:p>
          <a:p>
            <a:pPr marL="171450" indent="-109538">
              <a:buFont typeface="Arial" panose="020B0604020202020204" pitchFamily="34" charset="0"/>
              <a:buChar char="•"/>
            </a:pPr>
            <a:r>
              <a:rPr lang="de-DE" sz="1200" dirty="0">
                <a:latin typeface="Montserrat" panose="00000500000000000000" pitchFamily="2" charset="0"/>
              </a:rPr>
              <a:t>Zugriff nach </a:t>
            </a:r>
            <a:r>
              <a:rPr lang="de-DE" sz="1200" b="1" dirty="0">
                <a:latin typeface="Montserrat" panose="00000500000000000000" pitchFamily="2" charset="0"/>
              </a:rPr>
              <a:t>Rollen/Rechten </a:t>
            </a:r>
          </a:p>
        </p:txBody>
      </p:sp>
      <p:grpSp>
        <p:nvGrpSpPr>
          <p:cNvPr id="68" name="Group 44">
            <a:extLst>
              <a:ext uri="{FF2B5EF4-FFF2-40B4-BE49-F238E27FC236}">
                <a16:creationId xmlns:a16="http://schemas.microsoft.com/office/drawing/2014/main" id="{46285379-B28D-4609-A710-65FA9EE49E86}"/>
              </a:ext>
            </a:extLst>
          </p:cNvPr>
          <p:cNvGrpSpPr>
            <a:grpSpLocks noChangeAspect="1"/>
          </p:cNvGrpSpPr>
          <p:nvPr/>
        </p:nvGrpSpPr>
        <p:grpSpPr>
          <a:xfrm>
            <a:off x="6606500" y="5503562"/>
            <a:ext cx="348059" cy="360000"/>
            <a:chOff x="2281151" y="2761528"/>
            <a:chExt cx="1657802" cy="1714678"/>
          </a:xfrm>
          <a:solidFill>
            <a:schemeClr val="accent1"/>
          </a:solidFill>
          <a:effectLst>
            <a:outerShdw blurRad="94654" dist="38100" dir="2700000" algn="tl" rotWithShape="0">
              <a:prstClr val="black">
                <a:alpha val="60000"/>
              </a:prstClr>
            </a:outerShdw>
          </a:effectLst>
        </p:grpSpPr>
        <p:sp>
          <p:nvSpPr>
            <p:cNvPr id="69" name="Freeform: Shape 2">
              <a:extLst>
                <a:ext uri="{FF2B5EF4-FFF2-40B4-BE49-F238E27FC236}">
                  <a16:creationId xmlns:a16="http://schemas.microsoft.com/office/drawing/2014/main" id="{98089EFB-E966-497E-8577-B9BAD241B200}"/>
                </a:ext>
              </a:extLst>
            </p:cNvPr>
            <p:cNvSpPr/>
            <p:nvPr/>
          </p:nvSpPr>
          <p:spPr>
            <a:xfrm>
              <a:off x="2281151" y="3555835"/>
              <a:ext cx="1657802" cy="920371"/>
            </a:xfrm>
            <a:custGeom>
              <a:avLst/>
              <a:gdLst>
                <a:gd name="connsiteX0" fmla="*/ 347165 w 2807077"/>
                <a:gd name="connsiteY0" fmla="*/ 1551769 h 1558421"/>
                <a:gd name="connsiteX1" fmla="*/ 566119 w 2807077"/>
                <a:gd name="connsiteY1" fmla="*/ 1473675 h 1558421"/>
                <a:gd name="connsiteX2" fmla="*/ 1399418 w 2807077"/>
                <a:gd name="connsiteY2" fmla="*/ 794830 h 1558421"/>
                <a:gd name="connsiteX3" fmla="*/ 2240812 w 2807077"/>
                <a:gd name="connsiteY3" fmla="*/ 1480327 h 1558421"/>
                <a:gd name="connsiteX4" fmla="*/ 2459767 w 2807077"/>
                <a:gd name="connsiteY4" fmla="*/ 1558422 h 1558421"/>
                <a:gd name="connsiteX5" fmla="*/ 2729051 w 2807077"/>
                <a:gd name="connsiteY5" fmla="*/ 1430578 h 1558421"/>
                <a:gd name="connsiteX6" fmla="*/ 2679302 w 2807077"/>
                <a:gd name="connsiteY6" fmla="*/ 942342 h 1558421"/>
                <a:gd name="connsiteX7" fmla="*/ 1618661 w 2807077"/>
                <a:gd name="connsiteY7" fmla="*/ 78095 h 1558421"/>
                <a:gd name="connsiteX8" fmla="*/ 1180175 w 2807077"/>
                <a:gd name="connsiteY8" fmla="*/ 78095 h 1558421"/>
                <a:gd name="connsiteX9" fmla="*/ 127922 w 2807077"/>
                <a:gd name="connsiteY9" fmla="*/ 935689 h 1558421"/>
                <a:gd name="connsiteX10" fmla="*/ 77883 w 2807077"/>
                <a:gd name="connsiteY10" fmla="*/ 1423925 h 1558421"/>
                <a:gd name="connsiteX11" fmla="*/ 347165 w 2807077"/>
                <a:gd name="connsiteY11" fmla="*/ 1551769 h 1558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07077" h="1558421">
                  <a:moveTo>
                    <a:pt x="347165" y="1551769"/>
                  </a:moveTo>
                  <a:cubicBezTo>
                    <a:pt x="424103" y="1551769"/>
                    <a:pt x="501908" y="1526313"/>
                    <a:pt x="566119" y="1473675"/>
                  </a:cubicBezTo>
                  <a:lnTo>
                    <a:pt x="1399418" y="794830"/>
                  </a:lnTo>
                  <a:lnTo>
                    <a:pt x="2240812" y="1480327"/>
                  </a:lnTo>
                  <a:cubicBezTo>
                    <a:pt x="2305316" y="1532679"/>
                    <a:pt x="2382832" y="1558422"/>
                    <a:pt x="2459767" y="1558422"/>
                  </a:cubicBezTo>
                  <a:cubicBezTo>
                    <a:pt x="2560422" y="1558422"/>
                    <a:pt x="2660499" y="1514744"/>
                    <a:pt x="2729051" y="1430578"/>
                  </a:cubicBezTo>
                  <a:cubicBezTo>
                    <a:pt x="2850240" y="1281909"/>
                    <a:pt x="2827682" y="1063244"/>
                    <a:pt x="2679302" y="942342"/>
                  </a:cubicBezTo>
                  <a:lnTo>
                    <a:pt x="1618661" y="78095"/>
                  </a:lnTo>
                  <a:cubicBezTo>
                    <a:pt x="1491107" y="-26032"/>
                    <a:pt x="1307729" y="-26032"/>
                    <a:pt x="1180175" y="78095"/>
                  </a:cubicBezTo>
                  <a:lnTo>
                    <a:pt x="127922" y="935689"/>
                  </a:lnTo>
                  <a:cubicBezTo>
                    <a:pt x="-20747" y="1056591"/>
                    <a:pt x="-43019" y="1275253"/>
                    <a:pt x="77883" y="1423925"/>
                  </a:cubicBezTo>
                  <a:cubicBezTo>
                    <a:pt x="146722" y="1508094"/>
                    <a:pt x="246510" y="1551769"/>
                    <a:pt x="347165" y="1551769"/>
                  </a:cubicBezTo>
                  <a:close/>
                </a:path>
              </a:pathLst>
            </a:custGeom>
            <a:solidFill>
              <a:schemeClr val="accent1">
                <a:lumMod val="50000"/>
              </a:schemeClr>
            </a:solidFill>
            <a:ln w="2884" cap="flat">
              <a:noFill/>
              <a:prstDash val="solid"/>
              <a:miter/>
            </a:ln>
          </p:spPr>
          <p:txBody>
            <a:bodyPr rtlCol="0" anchor="ctr"/>
            <a:lstStyle/>
            <a:p>
              <a:endParaRPr lang="id-ID">
                <a:solidFill>
                  <a:schemeClr val="accent1"/>
                </a:solidFill>
                <a:latin typeface="Montserrat" panose="00000500000000000000" pitchFamily="2" charset="0"/>
              </a:endParaRPr>
            </a:p>
          </p:txBody>
        </p:sp>
        <p:sp>
          <p:nvSpPr>
            <p:cNvPr id="70" name="Freeform: Shape 3">
              <a:extLst>
                <a:ext uri="{FF2B5EF4-FFF2-40B4-BE49-F238E27FC236}">
                  <a16:creationId xmlns:a16="http://schemas.microsoft.com/office/drawing/2014/main" id="{68FF26D2-78BD-4E29-98A2-78C64CDAEF41}"/>
                </a:ext>
              </a:extLst>
            </p:cNvPr>
            <p:cNvSpPr/>
            <p:nvPr/>
          </p:nvSpPr>
          <p:spPr>
            <a:xfrm>
              <a:off x="2281151" y="2761528"/>
              <a:ext cx="1657802" cy="920374"/>
            </a:xfrm>
            <a:custGeom>
              <a:avLst/>
              <a:gdLst>
                <a:gd name="connsiteX0" fmla="*/ 347165 w 2807077"/>
                <a:gd name="connsiteY0" fmla="*/ 1551769 h 1558421"/>
                <a:gd name="connsiteX1" fmla="*/ 566119 w 2807077"/>
                <a:gd name="connsiteY1" fmla="*/ 1473674 h 1558421"/>
                <a:gd name="connsiteX2" fmla="*/ 1399418 w 2807077"/>
                <a:gd name="connsiteY2" fmla="*/ 794830 h 1558421"/>
                <a:gd name="connsiteX3" fmla="*/ 2240812 w 2807077"/>
                <a:gd name="connsiteY3" fmla="*/ 1480327 h 1558421"/>
                <a:gd name="connsiteX4" fmla="*/ 2459767 w 2807077"/>
                <a:gd name="connsiteY4" fmla="*/ 1558422 h 1558421"/>
                <a:gd name="connsiteX5" fmla="*/ 2729051 w 2807077"/>
                <a:gd name="connsiteY5" fmla="*/ 1430578 h 1558421"/>
                <a:gd name="connsiteX6" fmla="*/ 2679302 w 2807077"/>
                <a:gd name="connsiteY6" fmla="*/ 942342 h 1558421"/>
                <a:gd name="connsiteX7" fmla="*/ 1618661 w 2807077"/>
                <a:gd name="connsiteY7" fmla="*/ 78095 h 1558421"/>
                <a:gd name="connsiteX8" fmla="*/ 1180175 w 2807077"/>
                <a:gd name="connsiteY8" fmla="*/ 78095 h 1558421"/>
                <a:gd name="connsiteX9" fmla="*/ 127922 w 2807077"/>
                <a:gd name="connsiteY9" fmla="*/ 935400 h 1558421"/>
                <a:gd name="connsiteX10" fmla="*/ 77883 w 2807077"/>
                <a:gd name="connsiteY10" fmla="*/ 1423925 h 1558421"/>
                <a:gd name="connsiteX11" fmla="*/ 347165 w 2807077"/>
                <a:gd name="connsiteY11" fmla="*/ 1551769 h 1558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07077" h="1558421">
                  <a:moveTo>
                    <a:pt x="347165" y="1551769"/>
                  </a:moveTo>
                  <a:cubicBezTo>
                    <a:pt x="424103" y="1551769"/>
                    <a:pt x="501908" y="1526316"/>
                    <a:pt x="566119" y="1473674"/>
                  </a:cubicBezTo>
                  <a:lnTo>
                    <a:pt x="1399418" y="794830"/>
                  </a:lnTo>
                  <a:lnTo>
                    <a:pt x="2240812" y="1480327"/>
                  </a:lnTo>
                  <a:cubicBezTo>
                    <a:pt x="2305316" y="1532682"/>
                    <a:pt x="2382832" y="1558422"/>
                    <a:pt x="2459767" y="1558422"/>
                  </a:cubicBezTo>
                  <a:cubicBezTo>
                    <a:pt x="2560422" y="1558422"/>
                    <a:pt x="2660499" y="1514746"/>
                    <a:pt x="2729051" y="1430578"/>
                  </a:cubicBezTo>
                  <a:cubicBezTo>
                    <a:pt x="2850240" y="1281912"/>
                    <a:pt x="2827682" y="1063244"/>
                    <a:pt x="2679302" y="942342"/>
                  </a:cubicBezTo>
                  <a:lnTo>
                    <a:pt x="1618661" y="78095"/>
                  </a:lnTo>
                  <a:cubicBezTo>
                    <a:pt x="1491107" y="-26032"/>
                    <a:pt x="1307729" y="-26032"/>
                    <a:pt x="1180175" y="78095"/>
                  </a:cubicBezTo>
                  <a:lnTo>
                    <a:pt x="127922" y="935400"/>
                  </a:lnTo>
                  <a:cubicBezTo>
                    <a:pt x="-20747" y="1056591"/>
                    <a:pt x="-43019" y="1275256"/>
                    <a:pt x="77883" y="1423925"/>
                  </a:cubicBezTo>
                  <a:cubicBezTo>
                    <a:pt x="146722" y="1508094"/>
                    <a:pt x="246510" y="1551769"/>
                    <a:pt x="347165" y="1551769"/>
                  </a:cubicBezTo>
                  <a:close/>
                </a:path>
              </a:pathLst>
            </a:custGeom>
            <a:solidFill>
              <a:schemeClr val="accent1">
                <a:lumMod val="50000"/>
              </a:schemeClr>
            </a:solidFill>
            <a:ln w="2884" cap="flat">
              <a:noFill/>
              <a:prstDash val="solid"/>
              <a:miter/>
            </a:ln>
          </p:spPr>
          <p:txBody>
            <a:bodyPr rtlCol="0" anchor="ctr"/>
            <a:lstStyle/>
            <a:p>
              <a:endParaRPr lang="id-ID">
                <a:solidFill>
                  <a:schemeClr val="accent1"/>
                </a:solidFill>
                <a:latin typeface="Montserrat" panose="00000500000000000000" pitchFamily="2" charset="0"/>
              </a:endParaRPr>
            </a:p>
          </p:txBody>
        </p:sp>
      </p:grpSp>
      <p:grpSp>
        <p:nvGrpSpPr>
          <p:cNvPr id="71" name="Group 48">
            <a:extLst>
              <a:ext uri="{FF2B5EF4-FFF2-40B4-BE49-F238E27FC236}">
                <a16:creationId xmlns:a16="http://schemas.microsoft.com/office/drawing/2014/main" id="{2F749932-CF06-4D70-8555-535566CD7B1D}"/>
              </a:ext>
            </a:extLst>
          </p:cNvPr>
          <p:cNvGrpSpPr>
            <a:grpSpLocks noChangeAspect="1"/>
          </p:cNvGrpSpPr>
          <p:nvPr/>
        </p:nvGrpSpPr>
        <p:grpSpPr>
          <a:xfrm>
            <a:off x="8698205" y="5503562"/>
            <a:ext cx="348059" cy="360000"/>
            <a:chOff x="2281151" y="2761528"/>
            <a:chExt cx="1657802" cy="1714678"/>
          </a:xfrm>
          <a:solidFill>
            <a:schemeClr val="accent1"/>
          </a:solidFill>
          <a:effectLst>
            <a:outerShdw blurRad="94654" dist="38100" dir="2700000" algn="tl" rotWithShape="0">
              <a:prstClr val="black">
                <a:alpha val="60000"/>
              </a:prstClr>
            </a:outerShdw>
          </a:effectLst>
        </p:grpSpPr>
        <p:sp>
          <p:nvSpPr>
            <p:cNvPr id="72" name="Freeform: Shape 2">
              <a:extLst>
                <a:ext uri="{FF2B5EF4-FFF2-40B4-BE49-F238E27FC236}">
                  <a16:creationId xmlns:a16="http://schemas.microsoft.com/office/drawing/2014/main" id="{7CEA788F-9B43-4DE1-B7EC-B883F7D068A5}"/>
                </a:ext>
              </a:extLst>
            </p:cNvPr>
            <p:cNvSpPr/>
            <p:nvPr/>
          </p:nvSpPr>
          <p:spPr>
            <a:xfrm>
              <a:off x="2281151" y="3555835"/>
              <a:ext cx="1657802" cy="920371"/>
            </a:xfrm>
            <a:custGeom>
              <a:avLst/>
              <a:gdLst>
                <a:gd name="connsiteX0" fmla="*/ 347165 w 2807077"/>
                <a:gd name="connsiteY0" fmla="*/ 1551769 h 1558421"/>
                <a:gd name="connsiteX1" fmla="*/ 566119 w 2807077"/>
                <a:gd name="connsiteY1" fmla="*/ 1473675 h 1558421"/>
                <a:gd name="connsiteX2" fmla="*/ 1399418 w 2807077"/>
                <a:gd name="connsiteY2" fmla="*/ 794830 h 1558421"/>
                <a:gd name="connsiteX3" fmla="*/ 2240812 w 2807077"/>
                <a:gd name="connsiteY3" fmla="*/ 1480327 h 1558421"/>
                <a:gd name="connsiteX4" fmla="*/ 2459767 w 2807077"/>
                <a:gd name="connsiteY4" fmla="*/ 1558422 h 1558421"/>
                <a:gd name="connsiteX5" fmla="*/ 2729051 w 2807077"/>
                <a:gd name="connsiteY5" fmla="*/ 1430578 h 1558421"/>
                <a:gd name="connsiteX6" fmla="*/ 2679302 w 2807077"/>
                <a:gd name="connsiteY6" fmla="*/ 942342 h 1558421"/>
                <a:gd name="connsiteX7" fmla="*/ 1618661 w 2807077"/>
                <a:gd name="connsiteY7" fmla="*/ 78095 h 1558421"/>
                <a:gd name="connsiteX8" fmla="*/ 1180175 w 2807077"/>
                <a:gd name="connsiteY8" fmla="*/ 78095 h 1558421"/>
                <a:gd name="connsiteX9" fmla="*/ 127922 w 2807077"/>
                <a:gd name="connsiteY9" fmla="*/ 935689 h 1558421"/>
                <a:gd name="connsiteX10" fmla="*/ 77883 w 2807077"/>
                <a:gd name="connsiteY10" fmla="*/ 1423925 h 1558421"/>
                <a:gd name="connsiteX11" fmla="*/ 347165 w 2807077"/>
                <a:gd name="connsiteY11" fmla="*/ 1551769 h 1558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07077" h="1558421">
                  <a:moveTo>
                    <a:pt x="347165" y="1551769"/>
                  </a:moveTo>
                  <a:cubicBezTo>
                    <a:pt x="424103" y="1551769"/>
                    <a:pt x="501908" y="1526313"/>
                    <a:pt x="566119" y="1473675"/>
                  </a:cubicBezTo>
                  <a:lnTo>
                    <a:pt x="1399418" y="794830"/>
                  </a:lnTo>
                  <a:lnTo>
                    <a:pt x="2240812" y="1480327"/>
                  </a:lnTo>
                  <a:cubicBezTo>
                    <a:pt x="2305316" y="1532679"/>
                    <a:pt x="2382832" y="1558422"/>
                    <a:pt x="2459767" y="1558422"/>
                  </a:cubicBezTo>
                  <a:cubicBezTo>
                    <a:pt x="2560422" y="1558422"/>
                    <a:pt x="2660499" y="1514744"/>
                    <a:pt x="2729051" y="1430578"/>
                  </a:cubicBezTo>
                  <a:cubicBezTo>
                    <a:pt x="2850240" y="1281909"/>
                    <a:pt x="2827682" y="1063244"/>
                    <a:pt x="2679302" y="942342"/>
                  </a:cubicBezTo>
                  <a:lnTo>
                    <a:pt x="1618661" y="78095"/>
                  </a:lnTo>
                  <a:cubicBezTo>
                    <a:pt x="1491107" y="-26032"/>
                    <a:pt x="1307729" y="-26032"/>
                    <a:pt x="1180175" y="78095"/>
                  </a:cubicBezTo>
                  <a:lnTo>
                    <a:pt x="127922" y="935689"/>
                  </a:lnTo>
                  <a:cubicBezTo>
                    <a:pt x="-20747" y="1056591"/>
                    <a:pt x="-43019" y="1275253"/>
                    <a:pt x="77883" y="1423925"/>
                  </a:cubicBezTo>
                  <a:cubicBezTo>
                    <a:pt x="146722" y="1508094"/>
                    <a:pt x="246510" y="1551769"/>
                    <a:pt x="347165" y="1551769"/>
                  </a:cubicBezTo>
                  <a:close/>
                </a:path>
              </a:pathLst>
            </a:custGeom>
            <a:solidFill>
              <a:schemeClr val="accent1">
                <a:lumMod val="50000"/>
              </a:schemeClr>
            </a:solidFill>
            <a:ln w="2884" cap="flat">
              <a:noFill/>
              <a:prstDash val="solid"/>
              <a:miter/>
            </a:ln>
          </p:spPr>
          <p:txBody>
            <a:bodyPr rtlCol="0" anchor="ctr"/>
            <a:lstStyle/>
            <a:p>
              <a:endParaRPr lang="id-ID">
                <a:solidFill>
                  <a:schemeClr val="accent1"/>
                </a:solidFill>
                <a:latin typeface="Montserrat" panose="00000500000000000000" pitchFamily="2" charset="0"/>
              </a:endParaRPr>
            </a:p>
          </p:txBody>
        </p:sp>
        <p:sp>
          <p:nvSpPr>
            <p:cNvPr id="73" name="Freeform: Shape 3">
              <a:extLst>
                <a:ext uri="{FF2B5EF4-FFF2-40B4-BE49-F238E27FC236}">
                  <a16:creationId xmlns:a16="http://schemas.microsoft.com/office/drawing/2014/main" id="{B80EF59C-0086-4536-A12A-32E8027AFCE7}"/>
                </a:ext>
              </a:extLst>
            </p:cNvPr>
            <p:cNvSpPr/>
            <p:nvPr/>
          </p:nvSpPr>
          <p:spPr>
            <a:xfrm>
              <a:off x="2281151" y="2761528"/>
              <a:ext cx="1657802" cy="920374"/>
            </a:xfrm>
            <a:custGeom>
              <a:avLst/>
              <a:gdLst>
                <a:gd name="connsiteX0" fmla="*/ 347165 w 2807077"/>
                <a:gd name="connsiteY0" fmla="*/ 1551769 h 1558421"/>
                <a:gd name="connsiteX1" fmla="*/ 566119 w 2807077"/>
                <a:gd name="connsiteY1" fmla="*/ 1473674 h 1558421"/>
                <a:gd name="connsiteX2" fmla="*/ 1399418 w 2807077"/>
                <a:gd name="connsiteY2" fmla="*/ 794830 h 1558421"/>
                <a:gd name="connsiteX3" fmla="*/ 2240812 w 2807077"/>
                <a:gd name="connsiteY3" fmla="*/ 1480327 h 1558421"/>
                <a:gd name="connsiteX4" fmla="*/ 2459767 w 2807077"/>
                <a:gd name="connsiteY4" fmla="*/ 1558422 h 1558421"/>
                <a:gd name="connsiteX5" fmla="*/ 2729051 w 2807077"/>
                <a:gd name="connsiteY5" fmla="*/ 1430578 h 1558421"/>
                <a:gd name="connsiteX6" fmla="*/ 2679302 w 2807077"/>
                <a:gd name="connsiteY6" fmla="*/ 942342 h 1558421"/>
                <a:gd name="connsiteX7" fmla="*/ 1618661 w 2807077"/>
                <a:gd name="connsiteY7" fmla="*/ 78095 h 1558421"/>
                <a:gd name="connsiteX8" fmla="*/ 1180175 w 2807077"/>
                <a:gd name="connsiteY8" fmla="*/ 78095 h 1558421"/>
                <a:gd name="connsiteX9" fmla="*/ 127922 w 2807077"/>
                <a:gd name="connsiteY9" fmla="*/ 935400 h 1558421"/>
                <a:gd name="connsiteX10" fmla="*/ 77883 w 2807077"/>
                <a:gd name="connsiteY10" fmla="*/ 1423925 h 1558421"/>
                <a:gd name="connsiteX11" fmla="*/ 347165 w 2807077"/>
                <a:gd name="connsiteY11" fmla="*/ 1551769 h 1558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07077" h="1558421">
                  <a:moveTo>
                    <a:pt x="347165" y="1551769"/>
                  </a:moveTo>
                  <a:cubicBezTo>
                    <a:pt x="424103" y="1551769"/>
                    <a:pt x="501908" y="1526316"/>
                    <a:pt x="566119" y="1473674"/>
                  </a:cubicBezTo>
                  <a:lnTo>
                    <a:pt x="1399418" y="794830"/>
                  </a:lnTo>
                  <a:lnTo>
                    <a:pt x="2240812" y="1480327"/>
                  </a:lnTo>
                  <a:cubicBezTo>
                    <a:pt x="2305316" y="1532682"/>
                    <a:pt x="2382832" y="1558422"/>
                    <a:pt x="2459767" y="1558422"/>
                  </a:cubicBezTo>
                  <a:cubicBezTo>
                    <a:pt x="2560422" y="1558422"/>
                    <a:pt x="2660499" y="1514746"/>
                    <a:pt x="2729051" y="1430578"/>
                  </a:cubicBezTo>
                  <a:cubicBezTo>
                    <a:pt x="2850240" y="1281912"/>
                    <a:pt x="2827682" y="1063244"/>
                    <a:pt x="2679302" y="942342"/>
                  </a:cubicBezTo>
                  <a:lnTo>
                    <a:pt x="1618661" y="78095"/>
                  </a:lnTo>
                  <a:cubicBezTo>
                    <a:pt x="1491107" y="-26032"/>
                    <a:pt x="1307729" y="-26032"/>
                    <a:pt x="1180175" y="78095"/>
                  </a:cubicBezTo>
                  <a:lnTo>
                    <a:pt x="127922" y="935400"/>
                  </a:lnTo>
                  <a:cubicBezTo>
                    <a:pt x="-20747" y="1056591"/>
                    <a:pt x="-43019" y="1275256"/>
                    <a:pt x="77883" y="1423925"/>
                  </a:cubicBezTo>
                  <a:cubicBezTo>
                    <a:pt x="146722" y="1508094"/>
                    <a:pt x="246510" y="1551769"/>
                    <a:pt x="347165" y="1551769"/>
                  </a:cubicBezTo>
                  <a:close/>
                </a:path>
              </a:pathLst>
            </a:custGeom>
            <a:solidFill>
              <a:schemeClr val="accent1">
                <a:lumMod val="50000"/>
              </a:schemeClr>
            </a:solidFill>
            <a:ln w="2884" cap="flat">
              <a:noFill/>
              <a:prstDash val="solid"/>
              <a:miter/>
            </a:ln>
          </p:spPr>
          <p:txBody>
            <a:bodyPr rtlCol="0" anchor="ctr"/>
            <a:lstStyle/>
            <a:p>
              <a:endParaRPr lang="id-ID">
                <a:solidFill>
                  <a:schemeClr val="accent1"/>
                </a:solidFill>
                <a:latin typeface="Montserrat" panose="00000500000000000000" pitchFamily="2" charset="0"/>
              </a:endParaRPr>
            </a:p>
          </p:txBody>
        </p:sp>
      </p:grpSp>
      <p:grpSp>
        <p:nvGrpSpPr>
          <p:cNvPr id="74" name="Group 52">
            <a:extLst>
              <a:ext uri="{FF2B5EF4-FFF2-40B4-BE49-F238E27FC236}">
                <a16:creationId xmlns:a16="http://schemas.microsoft.com/office/drawing/2014/main" id="{213CC900-7EA5-4F08-9FB0-A3C3D7F08BBD}"/>
              </a:ext>
            </a:extLst>
          </p:cNvPr>
          <p:cNvGrpSpPr>
            <a:grpSpLocks noChangeAspect="1"/>
          </p:cNvGrpSpPr>
          <p:nvPr/>
        </p:nvGrpSpPr>
        <p:grpSpPr>
          <a:xfrm>
            <a:off x="10850870" y="5503562"/>
            <a:ext cx="348059" cy="360000"/>
            <a:chOff x="2281151" y="2761528"/>
            <a:chExt cx="1657802" cy="1714678"/>
          </a:xfrm>
          <a:solidFill>
            <a:schemeClr val="accent1"/>
          </a:solidFill>
          <a:effectLst>
            <a:outerShdw blurRad="94654" dist="38100" dir="2700000" algn="tl" rotWithShape="0">
              <a:prstClr val="black">
                <a:alpha val="60000"/>
              </a:prstClr>
            </a:outerShdw>
          </a:effectLst>
        </p:grpSpPr>
        <p:sp>
          <p:nvSpPr>
            <p:cNvPr id="75" name="Freeform: Shape 2">
              <a:extLst>
                <a:ext uri="{FF2B5EF4-FFF2-40B4-BE49-F238E27FC236}">
                  <a16:creationId xmlns:a16="http://schemas.microsoft.com/office/drawing/2014/main" id="{3B246329-FC68-4560-A067-CC818BA268F6}"/>
                </a:ext>
              </a:extLst>
            </p:cNvPr>
            <p:cNvSpPr/>
            <p:nvPr/>
          </p:nvSpPr>
          <p:spPr>
            <a:xfrm>
              <a:off x="2281151" y="3555835"/>
              <a:ext cx="1657802" cy="920371"/>
            </a:xfrm>
            <a:custGeom>
              <a:avLst/>
              <a:gdLst>
                <a:gd name="connsiteX0" fmla="*/ 347165 w 2807077"/>
                <a:gd name="connsiteY0" fmla="*/ 1551769 h 1558421"/>
                <a:gd name="connsiteX1" fmla="*/ 566119 w 2807077"/>
                <a:gd name="connsiteY1" fmla="*/ 1473675 h 1558421"/>
                <a:gd name="connsiteX2" fmla="*/ 1399418 w 2807077"/>
                <a:gd name="connsiteY2" fmla="*/ 794830 h 1558421"/>
                <a:gd name="connsiteX3" fmla="*/ 2240812 w 2807077"/>
                <a:gd name="connsiteY3" fmla="*/ 1480327 h 1558421"/>
                <a:gd name="connsiteX4" fmla="*/ 2459767 w 2807077"/>
                <a:gd name="connsiteY4" fmla="*/ 1558422 h 1558421"/>
                <a:gd name="connsiteX5" fmla="*/ 2729051 w 2807077"/>
                <a:gd name="connsiteY5" fmla="*/ 1430578 h 1558421"/>
                <a:gd name="connsiteX6" fmla="*/ 2679302 w 2807077"/>
                <a:gd name="connsiteY6" fmla="*/ 942342 h 1558421"/>
                <a:gd name="connsiteX7" fmla="*/ 1618661 w 2807077"/>
                <a:gd name="connsiteY7" fmla="*/ 78095 h 1558421"/>
                <a:gd name="connsiteX8" fmla="*/ 1180175 w 2807077"/>
                <a:gd name="connsiteY8" fmla="*/ 78095 h 1558421"/>
                <a:gd name="connsiteX9" fmla="*/ 127922 w 2807077"/>
                <a:gd name="connsiteY9" fmla="*/ 935689 h 1558421"/>
                <a:gd name="connsiteX10" fmla="*/ 77883 w 2807077"/>
                <a:gd name="connsiteY10" fmla="*/ 1423925 h 1558421"/>
                <a:gd name="connsiteX11" fmla="*/ 347165 w 2807077"/>
                <a:gd name="connsiteY11" fmla="*/ 1551769 h 1558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07077" h="1558421">
                  <a:moveTo>
                    <a:pt x="347165" y="1551769"/>
                  </a:moveTo>
                  <a:cubicBezTo>
                    <a:pt x="424103" y="1551769"/>
                    <a:pt x="501908" y="1526313"/>
                    <a:pt x="566119" y="1473675"/>
                  </a:cubicBezTo>
                  <a:lnTo>
                    <a:pt x="1399418" y="794830"/>
                  </a:lnTo>
                  <a:lnTo>
                    <a:pt x="2240812" y="1480327"/>
                  </a:lnTo>
                  <a:cubicBezTo>
                    <a:pt x="2305316" y="1532679"/>
                    <a:pt x="2382832" y="1558422"/>
                    <a:pt x="2459767" y="1558422"/>
                  </a:cubicBezTo>
                  <a:cubicBezTo>
                    <a:pt x="2560422" y="1558422"/>
                    <a:pt x="2660499" y="1514744"/>
                    <a:pt x="2729051" y="1430578"/>
                  </a:cubicBezTo>
                  <a:cubicBezTo>
                    <a:pt x="2850240" y="1281909"/>
                    <a:pt x="2827682" y="1063244"/>
                    <a:pt x="2679302" y="942342"/>
                  </a:cubicBezTo>
                  <a:lnTo>
                    <a:pt x="1618661" y="78095"/>
                  </a:lnTo>
                  <a:cubicBezTo>
                    <a:pt x="1491107" y="-26032"/>
                    <a:pt x="1307729" y="-26032"/>
                    <a:pt x="1180175" y="78095"/>
                  </a:cubicBezTo>
                  <a:lnTo>
                    <a:pt x="127922" y="935689"/>
                  </a:lnTo>
                  <a:cubicBezTo>
                    <a:pt x="-20747" y="1056591"/>
                    <a:pt x="-43019" y="1275253"/>
                    <a:pt x="77883" y="1423925"/>
                  </a:cubicBezTo>
                  <a:cubicBezTo>
                    <a:pt x="146722" y="1508094"/>
                    <a:pt x="246510" y="1551769"/>
                    <a:pt x="347165" y="1551769"/>
                  </a:cubicBezTo>
                  <a:close/>
                </a:path>
              </a:pathLst>
            </a:custGeom>
            <a:solidFill>
              <a:schemeClr val="accent1">
                <a:lumMod val="50000"/>
              </a:schemeClr>
            </a:solidFill>
            <a:ln w="2884" cap="flat">
              <a:noFill/>
              <a:prstDash val="solid"/>
              <a:miter/>
            </a:ln>
          </p:spPr>
          <p:txBody>
            <a:bodyPr rtlCol="0" anchor="ctr"/>
            <a:lstStyle/>
            <a:p>
              <a:endParaRPr lang="id-ID">
                <a:solidFill>
                  <a:schemeClr val="accent1"/>
                </a:solidFill>
                <a:latin typeface="Montserrat" panose="00000500000000000000" pitchFamily="2" charset="0"/>
              </a:endParaRPr>
            </a:p>
          </p:txBody>
        </p:sp>
        <p:sp>
          <p:nvSpPr>
            <p:cNvPr id="76" name="Freeform: Shape 3">
              <a:extLst>
                <a:ext uri="{FF2B5EF4-FFF2-40B4-BE49-F238E27FC236}">
                  <a16:creationId xmlns:a16="http://schemas.microsoft.com/office/drawing/2014/main" id="{2A3839B2-EB6F-46E2-AD10-EE6CA84F98EA}"/>
                </a:ext>
              </a:extLst>
            </p:cNvPr>
            <p:cNvSpPr/>
            <p:nvPr/>
          </p:nvSpPr>
          <p:spPr>
            <a:xfrm>
              <a:off x="2281151" y="2761528"/>
              <a:ext cx="1657802" cy="920374"/>
            </a:xfrm>
            <a:custGeom>
              <a:avLst/>
              <a:gdLst>
                <a:gd name="connsiteX0" fmla="*/ 347165 w 2807077"/>
                <a:gd name="connsiteY0" fmla="*/ 1551769 h 1558421"/>
                <a:gd name="connsiteX1" fmla="*/ 566119 w 2807077"/>
                <a:gd name="connsiteY1" fmla="*/ 1473674 h 1558421"/>
                <a:gd name="connsiteX2" fmla="*/ 1399418 w 2807077"/>
                <a:gd name="connsiteY2" fmla="*/ 794830 h 1558421"/>
                <a:gd name="connsiteX3" fmla="*/ 2240812 w 2807077"/>
                <a:gd name="connsiteY3" fmla="*/ 1480327 h 1558421"/>
                <a:gd name="connsiteX4" fmla="*/ 2459767 w 2807077"/>
                <a:gd name="connsiteY4" fmla="*/ 1558422 h 1558421"/>
                <a:gd name="connsiteX5" fmla="*/ 2729051 w 2807077"/>
                <a:gd name="connsiteY5" fmla="*/ 1430578 h 1558421"/>
                <a:gd name="connsiteX6" fmla="*/ 2679302 w 2807077"/>
                <a:gd name="connsiteY6" fmla="*/ 942342 h 1558421"/>
                <a:gd name="connsiteX7" fmla="*/ 1618661 w 2807077"/>
                <a:gd name="connsiteY7" fmla="*/ 78095 h 1558421"/>
                <a:gd name="connsiteX8" fmla="*/ 1180175 w 2807077"/>
                <a:gd name="connsiteY8" fmla="*/ 78095 h 1558421"/>
                <a:gd name="connsiteX9" fmla="*/ 127922 w 2807077"/>
                <a:gd name="connsiteY9" fmla="*/ 935400 h 1558421"/>
                <a:gd name="connsiteX10" fmla="*/ 77883 w 2807077"/>
                <a:gd name="connsiteY10" fmla="*/ 1423925 h 1558421"/>
                <a:gd name="connsiteX11" fmla="*/ 347165 w 2807077"/>
                <a:gd name="connsiteY11" fmla="*/ 1551769 h 1558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07077" h="1558421">
                  <a:moveTo>
                    <a:pt x="347165" y="1551769"/>
                  </a:moveTo>
                  <a:cubicBezTo>
                    <a:pt x="424103" y="1551769"/>
                    <a:pt x="501908" y="1526316"/>
                    <a:pt x="566119" y="1473674"/>
                  </a:cubicBezTo>
                  <a:lnTo>
                    <a:pt x="1399418" y="794830"/>
                  </a:lnTo>
                  <a:lnTo>
                    <a:pt x="2240812" y="1480327"/>
                  </a:lnTo>
                  <a:cubicBezTo>
                    <a:pt x="2305316" y="1532682"/>
                    <a:pt x="2382832" y="1558422"/>
                    <a:pt x="2459767" y="1558422"/>
                  </a:cubicBezTo>
                  <a:cubicBezTo>
                    <a:pt x="2560422" y="1558422"/>
                    <a:pt x="2660499" y="1514746"/>
                    <a:pt x="2729051" y="1430578"/>
                  </a:cubicBezTo>
                  <a:cubicBezTo>
                    <a:pt x="2850240" y="1281912"/>
                    <a:pt x="2827682" y="1063244"/>
                    <a:pt x="2679302" y="942342"/>
                  </a:cubicBezTo>
                  <a:lnTo>
                    <a:pt x="1618661" y="78095"/>
                  </a:lnTo>
                  <a:cubicBezTo>
                    <a:pt x="1491107" y="-26032"/>
                    <a:pt x="1307729" y="-26032"/>
                    <a:pt x="1180175" y="78095"/>
                  </a:cubicBezTo>
                  <a:lnTo>
                    <a:pt x="127922" y="935400"/>
                  </a:lnTo>
                  <a:cubicBezTo>
                    <a:pt x="-20747" y="1056591"/>
                    <a:pt x="-43019" y="1275256"/>
                    <a:pt x="77883" y="1423925"/>
                  </a:cubicBezTo>
                  <a:cubicBezTo>
                    <a:pt x="146722" y="1508094"/>
                    <a:pt x="246510" y="1551769"/>
                    <a:pt x="347165" y="1551769"/>
                  </a:cubicBezTo>
                  <a:close/>
                </a:path>
              </a:pathLst>
            </a:custGeom>
            <a:solidFill>
              <a:schemeClr val="accent1">
                <a:lumMod val="50000"/>
              </a:schemeClr>
            </a:solidFill>
            <a:ln w="2884" cap="flat">
              <a:noFill/>
              <a:prstDash val="solid"/>
              <a:miter/>
            </a:ln>
          </p:spPr>
          <p:txBody>
            <a:bodyPr rtlCol="0" anchor="ctr"/>
            <a:lstStyle/>
            <a:p>
              <a:endParaRPr lang="id-ID">
                <a:solidFill>
                  <a:schemeClr val="accent1"/>
                </a:solidFill>
                <a:latin typeface="Montserrat" panose="00000500000000000000" pitchFamily="2" charset="0"/>
              </a:endParaRPr>
            </a:p>
          </p:txBody>
        </p:sp>
      </p:grpSp>
      <p:sp>
        <p:nvSpPr>
          <p:cNvPr id="77" name="Oval 38">
            <a:extLst>
              <a:ext uri="{FF2B5EF4-FFF2-40B4-BE49-F238E27FC236}">
                <a16:creationId xmlns:a16="http://schemas.microsoft.com/office/drawing/2014/main" id="{85FD1E7A-8717-4157-B94A-66C65A28606D}"/>
              </a:ext>
            </a:extLst>
          </p:cNvPr>
          <p:cNvSpPr>
            <a:spLocks noChangeAspect="1"/>
          </p:cNvSpPr>
          <p:nvPr/>
        </p:nvSpPr>
        <p:spPr>
          <a:xfrm>
            <a:off x="6402531" y="5982841"/>
            <a:ext cx="756000" cy="756000"/>
          </a:xfrm>
          <a:prstGeom prst="ellipse">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598">
              <a:solidFill>
                <a:schemeClr val="accent1"/>
              </a:solidFill>
              <a:latin typeface="Montserrat" panose="00000500000000000000" pitchFamily="2" charset="0"/>
            </a:endParaRPr>
          </a:p>
        </p:txBody>
      </p:sp>
      <p:sp>
        <p:nvSpPr>
          <p:cNvPr id="78" name="Oval 40">
            <a:extLst>
              <a:ext uri="{FF2B5EF4-FFF2-40B4-BE49-F238E27FC236}">
                <a16:creationId xmlns:a16="http://schemas.microsoft.com/office/drawing/2014/main" id="{CE5CD8EE-960E-4B1B-96EF-C97021206B22}"/>
              </a:ext>
            </a:extLst>
          </p:cNvPr>
          <p:cNvSpPr>
            <a:spLocks noChangeAspect="1"/>
          </p:cNvSpPr>
          <p:nvPr/>
        </p:nvSpPr>
        <p:spPr>
          <a:xfrm>
            <a:off x="10656209" y="5969388"/>
            <a:ext cx="756000" cy="756000"/>
          </a:xfrm>
          <a:prstGeom prst="ellipse">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598">
              <a:solidFill>
                <a:schemeClr val="accent1"/>
              </a:solidFill>
              <a:latin typeface="Montserrat" panose="00000500000000000000" pitchFamily="2" charset="0"/>
            </a:endParaRPr>
          </a:p>
        </p:txBody>
      </p:sp>
      <p:sp>
        <p:nvSpPr>
          <p:cNvPr id="79" name="Oval 39">
            <a:extLst>
              <a:ext uri="{FF2B5EF4-FFF2-40B4-BE49-F238E27FC236}">
                <a16:creationId xmlns:a16="http://schemas.microsoft.com/office/drawing/2014/main" id="{E4BAF7E8-AC40-40D6-A9CA-096360493064}"/>
              </a:ext>
            </a:extLst>
          </p:cNvPr>
          <p:cNvSpPr>
            <a:spLocks noChangeAspect="1"/>
          </p:cNvSpPr>
          <p:nvPr/>
        </p:nvSpPr>
        <p:spPr>
          <a:xfrm>
            <a:off x="8507566" y="5982841"/>
            <a:ext cx="756000" cy="756000"/>
          </a:xfrm>
          <a:prstGeom prst="ellipse">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598">
              <a:solidFill>
                <a:schemeClr val="accent1"/>
              </a:solidFill>
              <a:latin typeface="Montserrat" panose="00000500000000000000" pitchFamily="2" charset="0"/>
            </a:endParaRPr>
          </a:p>
        </p:txBody>
      </p:sp>
      <p:sp>
        <p:nvSpPr>
          <p:cNvPr id="80" name="TextBox 81">
            <a:extLst>
              <a:ext uri="{FF2B5EF4-FFF2-40B4-BE49-F238E27FC236}">
                <a16:creationId xmlns:a16="http://schemas.microsoft.com/office/drawing/2014/main" id="{F1322DA7-C80C-448D-84DD-C1FEF447C971}"/>
              </a:ext>
            </a:extLst>
          </p:cNvPr>
          <p:cNvSpPr txBox="1"/>
          <p:nvPr/>
        </p:nvSpPr>
        <p:spPr>
          <a:xfrm>
            <a:off x="7908622" y="1936997"/>
            <a:ext cx="1929816" cy="2723823"/>
          </a:xfrm>
          <a:prstGeom prst="rect">
            <a:avLst/>
          </a:prstGeom>
          <a:noFill/>
        </p:spPr>
        <p:txBody>
          <a:bodyPr wrap="square" lIns="0" tIns="0" rIns="0" bIns="0" rtlCol="0" anchor="ctr">
            <a:spAutoFit/>
          </a:bodyPr>
          <a:lstStyle/>
          <a:p>
            <a:pPr marL="171450" indent="-171450">
              <a:buFont typeface="Arial" panose="020B0604020202020204" pitchFamily="34" charset="0"/>
              <a:buChar char="•"/>
            </a:pPr>
            <a:r>
              <a:rPr lang="de-DE" sz="1200" dirty="0">
                <a:latin typeface="Montserrat" panose="00000500000000000000" pitchFamily="2" charset="0"/>
              </a:rPr>
              <a:t>Anzeige aller </a:t>
            </a:r>
            <a:r>
              <a:rPr lang="de-DE" sz="1200" b="1" dirty="0">
                <a:latin typeface="Montserrat" panose="00000500000000000000" pitchFamily="2" charset="0"/>
              </a:rPr>
              <a:t>patienten-bezogenen</a:t>
            </a:r>
            <a:r>
              <a:rPr lang="de-DE" sz="1200" dirty="0">
                <a:latin typeface="Montserrat" panose="00000500000000000000" pitchFamily="2" charset="0"/>
              </a:rPr>
              <a:t> Inhalte</a:t>
            </a:r>
          </a:p>
          <a:p>
            <a:pPr marL="171450" indent="-171450">
              <a:buFont typeface="Arial" panose="020B0604020202020204" pitchFamily="34" charset="0"/>
              <a:buChar char="•"/>
            </a:pPr>
            <a:r>
              <a:rPr lang="de-DE" sz="1200" dirty="0">
                <a:latin typeface="Montserrat" panose="00000500000000000000" pitchFamily="2" charset="0"/>
              </a:rPr>
              <a:t>Zugriff auf </a:t>
            </a:r>
            <a:r>
              <a:rPr lang="de-DE" sz="1200" b="1" dirty="0">
                <a:latin typeface="Montserrat" panose="00000500000000000000" pitchFamily="2" charset="0"/>
              </a:rPr>
              <a:t>die gesamte Patientenakte</a:t>
            </a:r>
            <a:r>
              <a:rPr lang="de-DE" sz="1200" dirty="0">
                <a:latin typeface="Montserrat" panose="00000500000000000000" pitchFamily="2" charset="0"/>
              </a:rPr>
              <a:t> inkl. IHE, auch aus externen Quellen</a:t>
            </a:r>
          </a:p>
          <a:p>
            <a:pPr marL="171450" indent="-171450">
              <a:buFont typeface="Arial" panose="020B0604020202020204" pitchFamily="34" charset="0"/>
              <a:buChar char="•"/>
            </a:pPr>
            <a:r>
              <a:rPr lang="de-DE" sz="1200" dirty="0">
                <a:latin typeface="Montserrat" panose="00000500000000000000" pitchFamily="2" charset="0"/>
              </a:rPr>
              <a:t>Dokumentenbasierte Workflows, die mit verschiedenen Systemen interagieren</a:t>
            </a:r>
          </a:p>
          <a:p>
            <a:pPr marL="171450" indent="-171450">
              <a:buFont typeface="Arial" panose="020B0604020202020204" pitchFamily="34" charset="0"/>
              <a:buChar char="•"/>
            </a:pPr>
            <a:r>
              <a:rPr lang="de-DE" sz="1200" b="1" dirty="0">
                <a:latin typeface="Montserrat" panose="00000500000000000000" pitchFamily="2" charset="0"/>
              </a:rPr>
              <a:t>Mehrere</a:t>
            </a:r>
            <a:r>
              <a:rPr lang="de-DE" sz="1200" dirty="0">
                <a:latin typeface="Montserrat" panose="00000500000000000000" pitchFamily="2" charset="0"/>
              </a:rPr>
              <a:t> Exportoptionen</a:t>
            </a:r>
          </a:p>
          <a:p>
            <a:endParaRPr lang="de-DE" sz="900" dirty="0">
              <a:latin typeface="Montserrat" panose="00000500000000000000" pitchFamily="2" charset="0"/>
            </a:endParaRPr>
          </a:p>
        </p:txBody>
      </p:sp>
      <p:sp>
        <p:nvSpPr>
          <p:cNvPr id="81" name="TextBox 81">
            <a:extLst>
              <a:ext uri="{FF2B5EF4-FFF2-40B4-BE49-F238E27FC236}">
                <a16:creationId xmlns:a16="http://schemas.microsoft.com/office/drawing/2014/main" id="{CE04FA7B-E1B1-40DA-8193-1AF7F09397C0}"/>
              </a:ext>
            </a:extLst>
          </p:cNvPr>
          <p:cNvSpPr txBox="1"/>
          <p:nvPr/>
        </p:nvSpPr>
        <p:spPr>
          <a:xfrm>
            <a:off x="10078066" y="1931437"/>
            <a:ext cx="1920240" cy="2400657"/>
          </a:xfrm>
          <a:prstGeom prst="rect">
            <a:avLst/>
          </a:prstGeom>
          <a:noFill/>
        </p:spPr>
        <p:txBody>
          <a:bodyPr wrap="square" lIns="0" tIns="0" rIns="0" bIns="0" rtlCol="0" anchor="ctr">
            <a:spAutoFit/>
          </a:bodyPr>
          <a:lstStyle/>
          <a:p>
            <a:pPr marL="171450" indent="-171450">
              <a:buFont typeface="Arial" panose="020B0604020202020204" pitchFamily="34" charset="0"/>
              <a:buChar char="•"/>
            </a:pPr>
            <a:r>
              <a:rPr lang="en-US" sz="1200" dirty="0" err="1">
                <a:latin typeface="Montserrat" panose="00000500000000000000" pitchFamily="2" charset="0"/>
              </a:rPr>
              <a:t>Eigenständiger</a:t>
            </a:r>
            <a:r>
              <a:rPr lang="en-US" sz="1200" dirty="0">
                <a:latin typeface="Montserrat" panose="00000500000000000000" pitchFamily="2" charset="0"/>
              </a:rPr>
              <a:t> </a:t>
            </a:r>
            <a:r>
              <a:rPr lang="en-US" sz="1200" dirty="0" err="1">
                <a:latin typeface="Montserrat" panose="00000500000000000000" pitchFamily="2" charset="0"/>
              </a:rPr>
              <a:t>Einsatz</a:t>
            </a:r>
            <a:r>
              <a:rPr lang="en-US" sz="1200" dirty="0">
                <a:latin typeface="Montserrat" panose="00000500000000000000" pitchFamily="2" charset="0"/>
              </a:rPr>
              <a:t> </a:t>
            </a:r>
            <a:r>
              <a:rPr lang="en-US" sz="1200" dirty="0" err="1">
                <a:latin typeface="Montserrat" panose="00000500000000000000" pitchFamily="2" charset="0"/>
              </a:rPr>
              <a:t>möglich</a:t>
            </a:r>
            <a:r>
              <a:rPr lang="en-US" sz="1200" dirty="0">
                <a:latin typeface="Montserrat" panose="00000500000000000000" pitchFamily="2" charset="0"/>
              </a:rPr>
              <a:t> - </a:t>
            </a:r>
            <a:r>
              <a:rPr lang="en-US" sz="1200" b="1" dirty="0" err="1">
                <a:latin typeface="Montserrat" panose="00000500000000000000" pitchFamily="2" charset="0"/>
              </a:rPr>
              <a:t>einfache</a:t>
            </a:r>
            <a:r>
              <a:rPr lang="en-US" sz="1200" b="1" dirty="0">
                <a:latin typeface="Montserrat" panose="00000500000000000000" pitchFamily="2" charset="0"/>
              </a:rPr>
              <a:t> Integration </a:t>
            </a:r>
            <a:r>
              <a:rPr lang="en-US" sz="1200" dirty="0" err="1">
                <a:latin typeface="Montserrat" panose="00000500000000000000" pitchFamily="2" charset="0"/>
              </a:rPr>
              <a:t>mit</a:t>
            </a:r>
            <a:r>
              <a:rPr lang="en-US" sz="1200" dirty="0">
                <a:latin typeface="Montserrat" panose="00000500000000000000" pitchFamily="2" charset="0"/>
              </a:rPr>
              <a:t> EMR, ERP, HR, ...</a:t>
            </a:r>
          </a:p>
          <a:p>
            <a:pPr marL="171450" indent="-171450">
              <a:buFont typeface="Arial" panose="020B0604020202020204" pitchFamily="34" charset="0"/>
              <a:buChar char="•"/>
            </a:pPr>
            <a:r>
              <a:rPr lang="en-US" sz="1200" b="1" dirty="0" err="1">
                <a:latin typeface="Montserrat" panose="00000500000000000000" pitchFamily="2" charset="0"/>
              </a:rPr>
              <a:t>Authentifizierung</a:t>
            </a:r>
            <a:r>
              <a:rPr lang="en-US" sz="1200" dirty="0">
                <a:latin typeface="Montserrat" panose="00000500000000000000" pitchFamily="2" charset="0"/>
              </a:rPr>
              <a:t> </a:t>
            </a:r>
            <a:r>
              <a:rPr lang="en-US" sz="1200" dirty="0" err="1">
                <a:latin typeface="Montserrat" panose="00000500000000000000" pitchFamily="2" charset="0"/>
              </a:rPr>
              <a:t>über</a:t>
            </a:r>
            <a:r>
              <a:rPr lang="en-US" sz="1200" dirty="0">
                <a:latin typeface="Montserrat" panose="00000500000000000000" pitchFamily="2" charset="0"/>
              </a:rPr>
              <a:t> SSO/AD-Integration </a:t>
            </a:r>
            <a:r>
              <a:rPr lang="en-US" sz="1200" dirty="0" err="1">
                <a:latin typeface="Montserrat" panose="00000500000000000000" pitchFamily="2" charset="0"/>
              </a:rPr>
              <a:t>oder</a:t>
            </a:r>
            <a:r>
              <a:rPr lang="en-US" sz="1200" dirty="0">
                <a:latin typeface="Montserrat" panose="00000500000000000000" pitchFamily="2" charset="0"/>
              </a:rPr>
              <a:t> </a:t>
            </a:r>
            <a:r>
              <a:rPr lang="en-US" sz="1200" dirty="0" err="1">
                <a:latin typeface="Montserrat" panose="00000500000000000000" pitchFamily="2" charset="0"/>
              </a:rPr>
              <a:t>Keycloack</a:t>
            </a:r>
            <a:r>
              <a:rPr lang="en-US" sz="1200" dirty="0">
                <a:latin typeface="Montserrat" panose="00000500000000000000" pitchFamily="2" charset="0"/>
              </a:rPr>
              <a:t>/</a:t>
            </a:r>
            <a:r>
              <a:rPr lang="en-US" sz="1200" dirty="0" err="1">
                <a:latin typeface="Montserrat" panose="00000500000000000000" pitchFamily="2" charset="0"/>
              </a:rPr>
              <a:t>oAuth</a:t>
            </a:r>
            <a:endParaRPr lang="en-US" sz="1200" dirty="0">
              <a:latin typeface="Montserrat" panose="00000500000000000000" pitchFamily="2" charset="0"/>
            </a:endParaRPr>
          </a:p>
          <a:p>
            <a:pPr marL="171450" indent="-171450">
              <a:buFont typeface="Arial" panose="020B0604020202020204" pitchFamily="34" charset="0"/>
              <a:buChar char="•"/>
            </a:pPr>
            <a:r>
              <a:rPr lang="en-US" sz="1200" dirty="0">
                <a:latin typeface="Montserrat" panose="00000500000000000000" pitchFamily="2" charset="0"/>
              </a:rPr>
              <a:t>Audit und </a:t>
            </a:r>
            <a:r>
              <a:rPr lang="en-US" sz="1200" dirty="0" err="1">
                <a:latin typeface="Montserrat" panose="00000500000000000000" pitchFamily="2" charset="0"/>
              </a:rPr>
              <a:t>Nachvollziehbarkeit</a:t>
            </a:r>
            <a:r>
              <a:rPr lang="en-US" sz="1200" dirty="0">
                <a:latin typeface="Montserrat" panose="00000500000000000000" pitchFamily="2" charset="0"/>
              </a:rPr>
              <a:t> </a:t>
            </a:r>
            <a:r>
              <a:rPr lang="en-US" sz="1200" b="1" dirty="0" err="1">
                <a:latin typeface="Montserrat" panose="00000500000000000000" pitchFamily="2" charset="0"/>
              </a:rPr>
              <a:t>aller</a:t>
            </a:r>
            <a:r>
              <a:rPr lang="en-US" sz="1200" b="1" dirty="0">
                <a:latin typeface="Montserrat" panose="00000500000000000000" pitchFamily="2" charset="0"/>
              </a:rPr>
              <a:t> </a:t>
            </a:r>
            <a:r>
              <a:rPr lang="en-US" sz="1200" b="1" dirty="0" err="1">
                <a:latin typeface="Montserrat" panose="00000500000000000000" pitchFamily="2" charset="0"/>
              </a:rPr>
              <a:t>Daten</a:t>
            </a:r>
            <a:endParaRPr lang="en-US" sz="1200" b="1" dirty="0">
              <a:latin typeface="Montserrat" panose="00000500000000000000" pitchFamily="2" charset="0"/>
            </a:endParaRPr>
          </a:p>
          <a:p>
            <a:pPr marL="171450" indent="-171450">
              <a:buFont typeface="Arial" panose="020B0604020202020204" pitchFamily="34" charset="0"/>
              <a:buChar char="•"/>
            </a:pPr>
            <a:r>
              <a:rPr lang="en-US" sz="1200" dirty="0" err="1">
                <a:latin typeface="Montserrat" panose="00000500000000000000" pitchFamily="2" charset="0"/>
              </a:rPr>
              <a:t>Nachweis</a:t>
            </a:r>
            <a:r>
              <a:rPr lang="en-US" sz="1200" dirty="0">
                <a:latin typeface="Montserrat" panose="00000500000000000000" pitchFamily="2" charset="0"/>
              </a:rPr>
              <a:t> der </a:t>
            </a:r>
            <a:r>
              <a:rPr lang="en-US" sz="1200" dirty="0" err="1">
                <a:latin typeface="Montserrat" panose="00000500000000000000" pitchFamily="2" charset="0"/>
              </a:rPr>
              <a:t>Authentizität</a:t>
            </a:r>
            <a:endParaRPr lang="en-US" sz="1200" dirty="0">
              <a:latin typeface="Montserrat" panose="00000500000000000000" pitchFamily="2" charset="0"/>
            </a:endParaRPr>
          </a:p>
        </p:txBody>
      </p:sp>
      <p:pic>
        <p:nvPicPr>
          <p:cNvPr id="85" name="Graphic 50" descr="Search Inventory outline">
            <a:extLst>
              <a:ext uri="{FF2B5EF4-FFF2-40B4-BE49-F238E27FC236}">
                <a16:creationId xmlns:a16="http://schemas.microsoft.com/office/drawing/2014/main" id="{200919B2-FA9C-45BA-B125-B93E9DA8B46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549524" y="6125192"/>
            <a:ext cx="462009" cy="462009"/>
          </a:xfrm>
          <a:prstGeom prst="rect">
            <a:avLst/>
          </a:prstGeom>
        </p:spPr>
      </p:pic>
      <p:pic>
        <p:nvPicPr>
          <p:cNvPr id="86" name="Graphic 52" descr="Computer outline">
            <a:extLst>
              <a:ext uri="{FF2B5EF4-FFF2-40B4-BE49-F238E27FC236}">
                <a16:creationId xmlns:a16="http://schemas.microsoft.com/office/drawing/2014/main" id="{839DA610-594E-4441-BF02-61F20CBE398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790513" y="6115606"/>
            <a:ext cx="466843" cy="466843"/>
          </a:xfrm>
          <a:prstGeom prst="rect">
            <a:avLst/>
          </a:prstGeom>
        </p:spPr>
      </p:pic>
      <p:pic>
        <p:nvPicPr>
          <p:cNvPr id="87" name="Graphic 54" descr="Ui Ux outline">
            <a:extLst>
              <a:ext uri="{FF2B5EF4-FFF2-40B4-BE49-F238E27FC236}">
                <a16:creationId xmlns:a16="http://schemas.microsoft.com/office/drawing/2014/main" id="{F4393D47-5BBA-4836-93CC-0123E7A87C0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611959" y="6094369"/>
            <a:ext cx="527251" cy="527251"/>
          </a:xfrm>
          <a:prstGeom prst="rect">
            <a:avLst/>
          </a:prstGeom>
        </p:spPr>
      </p:pic>
      <p:pic>
        <p:nvPicPr>
          <p:cNvPr id="89" name="Picture 13">
            <a:extLst>
              <a:ext uri="{FF2B5EF4-FFF2-40B4-BE49-F238E27FC236}">
                <a16:creationId xmlns:a16="http://schemas.microsoft.com/office/drawing/2014/main" id="{182C71FB-C567-47D3-9E2B-C432D16E1CD4}"/>
              </a:ext>
            </a:extLst>
          </p:cNvPr>
          <p:cNvPicPr>
            <a:picLocks noChangeAspect="1"/>
          </p:cNvPicPr>
          <p:nvPr/>
        </p:nvPicPr>
        <p:blipFill rotWithShape="1">
          <a:blip r:embed="rId9"/>
          <a:srcRect l="28533" t="13278" r="7558" b="12222"/>
          <a:stretch/>
        </p:blipFill>
        <p:spPr>
          <a:xfrm>
            <a:off x="35853" y="2071338"/>
            <a:ext cx="5646821" cy="3338239"/>
          </a:xfrm>
          <a:prstGeom prst="rect">
            <a:avLst/>
          </a:prstGeom>
        </p:spPr>
      </p:pic>
      <p:pic>
        <p:nvPicPr>
          <p:cNvPr id="2" name="Picture 4">
            <a:extLst>
              <a:ext uri="{FF2B5EF4-FFF2-40B4-BE49-F238E27FC236}">
                <a16:creationId xmlns:a16="http://schemas.microsoft.com/office/drawing/2014/main" id="{A4E5124D-08B9-4FF6-7508-9F60AA6DF68C}"/>
              </a:ext>
            </a:extLst>
          </p:cNvPr>
          <p:cNvPicPr>
            <a:picLocks noChangeAspect="1"/>
          </p:cNvPicPr>
          <p:nvPr/>
        </p:nvPicPr>
        <p:blipFill>
          <a:blip r:embed="rId10"/>
          <a:stretch>
            <a:fillRect/>
          </a:stretch>
        </p:blipFill>
        <p:spPr>
          <a:xfrm>
            <a:off x="634169" y="2379017"/>
            <a:ext cx="4450187" cy="2395526"/>
          </a:xfrm>
          <a:prstGeom prst="rect">
            <a:avLst/>
          </a:prstGeom>
        </p:spPr>
      </p:pic>
    </p:spTree>
    <p:extLst>
      <p:ext uri="{BB962C8B-B14F-4D97-AF65-F5344CB8AC3E}">
        <p14:creationId xmlns:p14="http://schemas.microsoft.com/office/powerpoint/2010/main" val="136213513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EB3B0279-2302-40A4-AA57-FFB971E5DA87}"/>
              </a:ext>
            </a:extLst>
          </p:cNvPr>
          <p:cNvSpPr>
            <a:spLocks noGrp="1"/>
          </p:cNvSpPr>
          <p:nvPr>
            <p:ph type="ctrTitle"/>
          </p:nvPr>
        </p:nvSpPr>
        <p:spPr>
          <a:xfrm>
            <a:off x="520377" y="1117526"/>
            <a:ext cx="4604073" cy="456632"/>
          </a:xfrm>
        </p:spPr>
        <p:txBody>
          <a:bodyPr/>
          <a:lstStyle/>
          <a:p>
            <a:r>
              <a:rPr lang="fr-FR" dirty="0"/>
              <a:t>eVNA – Use Cases</a:t>
            </a:r>
          </a:p>
        </p:txBody>
      </p:sp>
      <p:sp>
        <p:nvSpPr>
          <p:cNvPr id="107" name="Abgerundetes Rechteck 1">
            <a:extLst>
              <a:ext uri="{FF2B5EF4-FFF2-40B4-BE49-F238E27FC236}">
                <a16:creationId xmlns:a16="http://schemas.microsoft.com/office/drawing/2014/main" id="{4C97816E-B2DE-42CA-91F9-6958436C68C9}"/>
              </a:ext>
            </a:extLst>
          </p:cNvPr>
          <p:cNvSpPr/>
          <p:nvPr/>
        </p:nvSpPr>
        <p:spPr>
          <a:xfrm>
            <a:off x="7093577" y="4387858"/>
            <a:ext cx="1969942" cy="2052582"/>
          </a:xfrm>
          <a:prstGeom prst="rect">
            <a:avLst/>
          </a:prstGeom>
          <a:solidFill>
            <a:schemeClr val="accent1">
              <a:lumMod val="60000"/>
              <a:lumOff val="40000"/>
              <a:alpha val="80467"/>
            </a:schemeClr>
          </a:solidFill>
          <a:ln>
            <a:noFill/>
          </a:ln>
          <a:effectLst>
            <a:outerShdw blurRad="50800" dist="103503" dir="2700000" algn="tl" rotWithShape="0">
              <a:schemeClr val="accent1">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8" name="Abgerundetes Rechteck 1">
            <a:extLst>
              <a:ext uri="{FF2B5EF4-FFF2-40B4-BE49-F238E27FC236}">
                <a16:creationId xmlns:a16="http://schemas.microsoft.com/office/drawing/2014/main" id="{DD8EDF73-944F-4689-8F11-8CE93675AD12}"/>
              </a:ext>
            </a:extLst>
          </p:cNvPr>
          <p:cNvSpPr/>
          <p:nvPr/>
        </p:nvSpPr>
        <p:spPr>
          <a:xfrm>
            <a:off x="395115" y="4387858"/>
            <a:ext cx="1969942" cy="2052582"/>
          </a:xfrm>
          <a:prstGeom prst="rect">
            <a:avLst/>
          </a:prstGeom>
          <a:solidFill>
            <a:schemeClr val="accent1">
              <a:lumMod val="60000"/>
              <a:lumOff val="40000"/>
              <a:alpha val="80467"/>
            </a:schemeClr>
          </a:solidFill>
          <a:ln>
            <a:noFill/>
          </a:ln>
          <a:effectLst>
            <a:outerShdw blurRad="50800" dist="103503" dir="2700000" algn="tl" rotWithShape="0">
              <a:schemeClr val="accent1">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9" name="Textfeld 108">
            <a:extLst>
              <a:ext uri="{FF2B5EF4-FFF2-40B4-BE49-F238E27FC236}">
                <a16:creationId xmlns:a16="http://schemas.microsoft.com/office/drawing/2014/main" id="{1FD37028-D265-4DD2-B795-A899FF234A2A}"/>
              </a:ext>
            </a:extLst>
          </p:cNvPr>
          <p:cNvSpPr txBox="1"/>
          <p:nvPr/>
        </p:nvSpPr>
        <p:spPr>
          <a:xfrm>
            <a:off x="561829" y="5836823"/>
            <a:ext cx="1583340" cy="523220"/>
          </a:xfrm>
          <a:prstGeom prst="rect">
            <a:avLst/>
          </a:prstGeom>
          <a:noFill/>
        </p:spPr>
        <p:txBody>
          <a:bodyPr wrap="square" rtlCol="0">
            <a:spAutoFit/>
          </a:bodyPr>
          <a:lstStyle/>
          <a:p>
            <a:pPr algn="ctr"/>
            <a:r>
              <a:rPr lang="de-DE" sz="1400" dirty="0">
                <a:solidFill>
                  <a:schemeClr val="bg1"/>
                </a:solidFill>
                <a:latin typeface="Montserrat Medium" panose="00000600000000000000" pitchFamily="2" charset="0"/>
              </a:rPr>
              <a:t>Langzeit Archivierung</a:t>
            </a:r>
            <a:endParaRPr lang="en-DE" sz="1400" dirty="0">
              <a:solidFill>
                <a:schemeClr val="bg1"/>
              </a:solidFill>
              <a:latin typeface="Montserrat Medium" panose="00000600000000000000" pitchFamily="2" charset="0"/>
            </a:endParaRPr>
          </a:p>
        </p:txBody>
      </p:sp>
      <p:sp>
        <p:nvSpPr>
          <p:cNvPr id="110" name="Abgerundetes Rechteck 1">
            <a:extLst>
              <a:ext uri="{FF2B5EF4-FFF2-40B4-BE49-F238E27FC236}">
                <a16:creationId xmlns:a16="http://schemas.microsoft.com/office/drawing/2014/main" id="{13A04EA3-5311-4B78-9F1B-DCD725EB9EE4}"/>
              </a:ext>
            </a:extLst>
          </p:cNvPr>
          <p:cNvSpPr/>
          <p:nvPr/>
        </p:nvSpPr>
        <p:spPr>
          <a:xfrm>
            <a:off x="2636165" y="4387858"/>
            <a:ext cx="1969942" cy="2052582"/>
          </a:xfrm>
          <a:prstGeom prst="rect">
            <a:avLst/>
          </a:prstGeom>
          <a:solidFill>
            <a:schemeClr val="accent1">
              <a:lumMod val="60000"/>
              <a:lumOff val="40000"/>
              <a:alpha val="80467"/>
            </a:schemeClr>
          </a:solidFill>
          <a:ln>
            <a:noFill/>
          </a:ln>
          <a:effectLst>
            <a:outerShdw blurRad="50800" dist="103503" dir="2700000" algn="tl" rotWithShape="0">
              <a:schemeClr val="accent1">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1" name="Abgerundetes Rechteck 1">
            <a:extLst>
              <a:ext uri="{FF2B5EF4-FFF2-40B4-BE49-F238E27FC236}">
                <a16:creationId xmlns:a16="http://schemas.microsoft.com/office/drawing/2014/main" id="{6F447863-38E8-4A5A-AAB8-1A293FE8180C}"/>
              </a:ext>
            </a:extLst>
          </p:cNvPr>
          <p:cNvSpPr/>
          <p:nvPr/>
        </p:nvSpPr>
        <p:spPr>
          <a:xfrm>
            <a:off x="4864871" y="4387858"/>
            <a:ext cx="1969942" cy="2052582"/>
          </a:xfrm>
          <a:prstGeom prst="rect">
            <a:avLst/>
          </a:prstGeom>
          <a:solidFill>
            <a:schemeClr val="accent1">
              <a:lumMod val="60000"/>
              <a:lumOff val="40000"/>
              <a:alpha val="80467"/>
            </a:schemeClr>
          </a:solidFill>
          <a:ln>
            <a:noFill/>
          </a:ln>
          <a:effectLst>
            <a:outerShdw blurRad="50800" dist="103503" dir="2700000" algn="tl" rotWithShape="0">
              <a:schemeClr val="accent1">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2" name="Textfeld 111">
            <a:extLst>
              <a:ext uri="{FF2B5EF4-FFF2-40B4-BE49-F238E27FC236}">
                <a16:creationId xmlns:a16="http://schemas.microsoft.com/office/drawing/2014/main" id="{A2849EA0-DB28-4934-943B-2EC8B206117A}"/>
              </a:ext>
            </a:extLst>
          </p:cNvPr>
          <p:cNvSpPr txBox="1"/>
          <p:nvPr/>
        </p:nvSpPr>
        <p:spPr>
          <a:xfrm>
            <a:off x="6966494" y="5836823"/>
            <a:ext cx="2260683" cy="523220"/>
          </a:xfrm>
          <a:prstGeom prst="rect">
            <a:avLst/>
          </a:prstGeom>
          <a:noFill/>
        </p:spPr>
        <p:txBody>
          <a:bodyPr wrap="square" lIns="91440" tIns="45720" rIns="91440" bIns="45720" rtlCol="0" anchor="t">
            <a:spAutoFit/>
          </a:bodyPr>
          <a:lstStyle/>
          <a:p>
            <a:pPr algn="ctr"/>
            <a:r>
              <a:rPr lang="de-DE" sz="1400" dirty="0">
                <a:solidFill>
                  <a:schemeClr val="bg1"/>
                </a:solidFill>
                <a:latin typeface="Montserrat Medium"/>
              </a:rPr>
              <a:t>Foto </a:t>
            </a:r>
          </a:p>
          <a:p>
            <a:pPr algn="ctr"/>
            <a:r>
              <a:rPr lang="de-DE" sz="1400" dirty="0">
                <a:solidFill>
                  <a:schemeClr val="bg1"/>
                </a:solidFill>
                <a:latin typeface="Montserrat Medium"/>
              </a:rPr>
              <a:t>Dokumentation</a:t>
            </a:r>
            <a:endParaRPr lang="en-DE" sz="1400" dirty="0">
              <a:solidFill>
                <a:schemeClr val="bg1"/>
              </a:solidFill>
              <a:latin typeface="Montserrat Medium"/>
            </a:endParaRPr>
          </a:p>
        </p:txBody>
      </p:sp>
      <p:sp>
        <p:nvSpPr>
          <p:cNvPr id="113" name="Textfeld 112">
            <a:extLst>
              <a:ext uri="{FF2B5EF4-FFF2-40B4-BE49-F238E27FC236}">
                <a16:creationId xmlns:a16="http://schemas.microsoft.com/office/drawing/2014/main" id="{6B0E8D02-7AF4-47D3-98CF-2B486806D75D}"/>
              </a:ext>
            </a:extLst>
          </p:cNvPr>
          <p:cNvSpPr txBox="1"/>
          <p:nvPr/>
        </p:nvSpPr>
        <p:spPr>
          <a:xfrm>
            <a:off x="4983284" y="5836823"/>
            <a:ext cx="1695351" cy="523220"/>
          </a:xfrm>
          <a:prstGeom prst="rect">
            <a:avLst/>
          </a:prstGeom>
          <a:noFill/>
        </p:spPr>
        <p:txBody>
          <a:bodyPr wrap="square" rtlCol="0">
            <a:spAutoFit/>
          </a:bodyPr>
          <a:lstStyle/>
          <a:p>
            <a:pPr algn="ctr"/>
            <a:r>
              <a:rPr lang="de-DE" sz="1400" dirty="0">
                <a:solidFill>
                  <a:schemeClr val="bg1"/>
                </a:solidFill>
                <a:latin typeface="Montserrat Medium" panose="00000600000000000000" pitchFamily="2" charset="0"/>
              </a:rPr>
              <a:t>Einheitlicher Zugriff</a:t>
            </a:r>
            <a:endParaRPr lang="en-DE" sz="1400" dirty="0">
              <a:solidFill>
                <a:schemeClr val="bg1"/>
              </a:solidFill>
              <a:latin typeface="Montserrat Medium" panose="00000600000000000000" pitchFamily="2" charset="0"/>
            </a:endParaRPr>
          </a:p>
        </p:txBody>
      </p:sp>
      <p:sp>
        <p:nvSpPr>
          <p:cNvPr id="114" name="Textfeld 113">
            <a:extLst>
              <a:ext uri="{FF2B5EF4-FFF2-40B4-BE49-F238E27FC236}">
                <a16:creationId xmlns:a16="http://schemas.microsoft.com/office/drawing/2014/main" id="{7B8120ED-FA77-4707-B6DF-BEAA3DB23DE2}"/>
              </a:ext>
            </a:extLst>
          </p:cNvPr>
          <p:cNvSpPr txBox="1"/>
          <p:nvPr/>
        </p:nvSpPr>
        <p:spPr>
          <a:xfrm>
            <a:off x="2717305" y="5660361"/>
            <a:ext cx="1929176" cy="738664"/>
          </a:xfrm>
          <a:prstGeom prst="rect">
            <a:avLst/>
          </a:prstGeom>
          <a:noFill/>
        </p:spPr>
        <p:txBody>
          <a:bodyPr wrap="square" rtlCol="0">
            <a:spAutoFit/>
          </a:bodyPr>
          <a:lstStyle/>
          <a:p>
            <a:pPr algn="ctr"/>
            <a:r>
              <a:rPr lang="de-DE" sz="1400" dirty="0">
                <a:solidFill>
                  <a:schemeClr val="bg1"/>
                </a:solidFill>
                <a:latin typeface="Montserrat Medium" panose="00000600000000000000" pitchFamily="2" charset="0"/>
              </a:rPr>
              <a:t>Bildgebende und Administrative Verfahren</a:t>
            </a:r>
            <a:endParaRPr lang="en-DE" sz="1400" dirty="0">
              <a:solidFill>
                <a:schemeClr val="bg1"/>
              </a:solidFill>
              <a:latin typeface="Montserrat Medium" panose="00000600000000000000" pitchFamily="2" charset="0"/>
            </a:endParaRPr>
          </a:p>
        </p:txBody>
      </p:sp>
      <p:grpSp>
        <p:nvGrpSpPr>
          <p:cNvPr id="115" name="Gruppieren 114">
            <a:extLst>
              <a:ext uri="{FF2B5EF4-FFF2-40B4-BE49-F238E27FC236}">
                <a16:creationId xmlns:a16="http://schemas.microsoft.com/office/drawing/2014/main" id="{015591A1-176F-4EF0-97A9-D6A52A383A5A}"/>
              </a:ext>
            </a:extLst>
          </p:cNvPr>
          <p:cNvGrpSpPr/>
          <p:nvPr/>
        </p:nvGrpSpPr>
        <p:grpSpPr>
          <a:xfrm>
            <a:off x="698217" y="4537481"/>
            <a:ext cx="1267072" cy="1181530"/>
            <a:chOff x="4310094" y="2218245"/>
            <a:chExt cx="3374061" cy="3533000"/>
          </a:xfrm>
        </p:grpSpPr>
        <p:sp>
          <p:nvSpPr>
            <p:cNvPr id="116" name="Shape 2117">
              <a:extLst>
                <a:ext uri="{FF2B5EF4-FFF2-40B4-BE49-F238E27FC236}">
                  <a16:creationId xmlns:a16="http://schemas.microsoft.com/office/drawing/2014/main" id="{4E0BD4E1-ABF1-4A17-AC87-F4B18E16BADC}"/>
                </a:ext>
              </a:extLst>
            </p:cNvPr>
            <p:cNvSpPr/>
            <p:nvPr/>
          </p:nvSpPr>
          <p:spPr>
            <a:xfrm>
              <a:off x="4310094" y="2218245"/>
              <a:ext cx="1794316" cy="3532456"/>
            </a:xfrm>
            <a:custGeom>
              <a:avLst/>
              <a:gdLst/>
              <a:ahLst/>
              <a:cxnLst>
                <a:cxn ang="0">
                  <a:pos x="wd2" y="hd2"/>
                </a:cxn>
                <a:cxn ang="5400000">
                  <a:pos x="wd2" y="hd2"/>
                </a:cxn>
                <a:cxn ang="10800000">
                  <a:pos x="wd2" y="hd2"/>
                </a:cxn>
                <a:cxn ang="16200000">
                  <a:pos x="wd2" y="hd2"/>
                </a:cxn>
              </a:cxnLst>
              <a:rect l="0" t="0" r="r" b="b"/>
              <a:pathLst>
                <a:path w="21600" h="21600" extrusionOk="0">
                  <a:moveTo>
                    <a:pt x="20308" y="0"/>
                  </a:moveTo>
                  <a:cubicBezTo>
                    <a:pt x="14701" y="0"/>
                    <a:pt x="9624" y="1210"/>
                    <a:pt x="5949" y="3164"/>
                  </a:cubicBezTo>
                  <a:cubicBezTo>
                    <a:pt x="2319" y="5095"/>
                    <a:pt x="61" y="7754"/>
                    <a:pt x="6" y="10694"/>
                  </a:cubicBezTo>
                  <a:lnTo>
                    <a:pt x="1750" y="11487"/>
                  </a:lnTo>
                  <a:lnTo>
                    <a:pt x="2605" y="11097"/>
                  </a:lnTo>
                  <a:lnTo>
                    <a:pt x="1750" y="11489"/>
                  </a:lnTo>
                  <a:lnTo>
                    <a:pt x="6" y="10694"/>
                  </a:lnTo>
                  <a:cubicBezTo>
                    <a:pt x="6" y="10730"/>
                    <a:pt x="0" y="10765"/>
                    <a:pt x="0" y="10802"/>
                  </a:cubicBezTo>
                  <a:cubicBezTo>
                    <a:pt x="0" y="13784"/>
                    <a:pt x="2278" y="16485"/>
                    <a:pt x="5952" y="18439"/>
                  </a:cubicBezTo>
                  <a:cubicBezTo>
                    <a:pt x="9582" y="20370"/>
                    <a:pt x="14579" y="21571"/>
                    <a:pt x="20106" y="21600"/>
                  </a:cubicBezTo>
                  <a:lnTo>
                    <a:pt x="21600" y="20672"/>
                  </a:lnTo>
                  <a:lnTo>
                    <a:pt x="20237" y="19826"/>
                  </a:lnTo>
                  <a:cubicBezTo>
                    <a:pt x="15579" y="19816"/>
                    <a:pt x="11363" y="18810"/>
                    <a:pt x="8307" y="17185"/>
                  </a:cubicBezTo>
                  <a:cubicBezTo>
                    <a:pt x="5236" y="15551"/>
                    <a:pt x="3338" y="13294"/>
                    <a:pt x="3338" y="10802"/>
                  </a:cubicBezTo>
                  <a:cubicBezTo>
                    <a:pt x="3338" y="10789"/>
                    <a:pt x="3338" y="10778"/>
                    <a:pt x="3338" y="10765"/>
                  </a:cubicBezTo>
                  <a:cubicBezTo>
                    <a:pt x="3338" y="10765"/>
                    <a:pt x="3338" y="10764"/>
                    <a:pt x="3338" y="10763"/>
                  </a:cubicBezTo>
                  <a:lnTo>
                    <a:pt x="3341" y="10763"/>
                  </a:lnTo>
                  <a:cubicBezTo>
                    <a:pt x="3360" y="8286"/>
                    <a:pt x="5252" y="6044"/>
                    <a:pt x="8307" y="4419"/>
                  </a:cubicBezTo>
                  <a:cubicBezTo>
                    <a:pt x="11379" y="2785"/>
                    <a:pt x="15622" y="1774"/>
                    <a:pt x="20308" y="1774"/>
                  </a:cubicBezTo>
                  <a:cubicBezTo>
                    <a:pt x="20333" y="1774"/>
                    <a:pt x="20356" y="1775"/>
                    <a:pt x="20380" y="1775"/>
                  </a:cubicBezTo>
                  <a:lnTo>
                    <a:pt x="19017" y="931"/>
                  </a:lnTo>
                  <a:lnTo>
                    <a:pt x="20511" y="3"/>
                  </a:lnTo>
                  <a:cubicBezTo>
                    <a:pt x="20443" y="3"/>
                    <a:pt x="20377" y="0"/>
                    <a:pt x="20308" y="0"/>
                  </a:cubicBezTo>
                  <a:close/>
                </a:path>
              </a:pathLst>
            </a:custGeom>
            <a:solidFill>
              <a:schemeClr val="bg2">
                <a:lumMod val="60000"/>
                <a:lumOff val="40000"/>
              </a:schemeClr>
            </a:solidFill>
            <a:ln w="12700" cap="flat">
              <a:noFill/>
              <a:miter lim="400000"/>
            </a:ln>
            <a:effectLst/>
          </p:spPr>
          <p:txBody>
            <a:bodyPr wrap="square" lIns="0" tIns="0" rIns="0" bIns="0" numCol="1" anchor="ctr">
              <a:noAutofit/>
            </a:bodyPr>
            <a:lstStyle/>
            <a:p>
              <a:pPr marL="0" marR="0" lvl="0" indent="0" algn="l" defTabSz="438267" rtl="0" eaLnBrk="1" fontAlgn="auto" latinLnBrk="0" hangingPunct="1">
                <a:lnSpc>
                  <a:spcPct val="110000"/>
                </a:lnSpc>
                <a:spcBef>
                  <a:spcPts val="2251"/>
                </a:spcBef>
                <a:spcAft>
                  <a:spcPts val="0"/>
                </a:spcAft>
                <a:buClrTx/>
                <a:buSzTx/>
                <a:buFontTx/>
                <a:buNone/>
                <a:tabLst/>
                <a:defRPr sz="2000">
                  <a:solidFill>
                    <a:srgbClr val="4C4C4C"/>
                  </a:solidFill>
                  <a:latin typeface="Helvetica Neue Light"/>
                  <a:ea typeface="Helvetica Neue Light"/>
                  <a:cs typeface="Helvetica Neue Light"/>
                  <a:sym typeface="Helvetica Neue Light"/>
                </a:defRPr>
              </a:pPr>
              <a:endParaRPr kumimoji="0" lang="de-DE" sz="900" b="0" i="0" u="none" strike="noStrike" kern="1200" cap="none" spc="0" normalizeH="0" baseline="0" noProof="0">
                <a:ln>
                  <a:noFill/>
                </a:ln>
                <a:solidFill>
                  <a:srgbClr val="4C4C4C"/>
                </a:solidFill>
                <a:effectLst/>
                <a:uLnTx/>
                <a:uFillTx/>
                <a:latin typeface="Montserrat" panose="00000500000000000000" pitchFamily="2" charset="0"/>
                <a:ea typeface="Arial Regular" charset="0"/>
                <a:cs typeface="Arial Regular" charset="0"/>
                <a:sym typeface="Helvetica Neue Light"/>
              </a:endParaRPr>
            </a:p>
          </p:txBody>
        </p:sp>
        <p:sp>
          <p:nvSpPr>
            <p:cNvPr id="117" name="Shape 2118">
              <a:extLst>
                <a:ext uri="{FF2B5EF4-FFF2-40B4-BE49-F238E27FC236}">
                  <a16:creationId xmlns:a16="http://schemas.microsoft.com/office/drawing/2014/main" id="{529A5B69-3E17-4B8B-99E6-3F2D2043DC7D}"/>
                </a:ext>
              </a:extLst>
            </p:cNvPr>
            <p:cNvSpPr/>
            <p:nvPr/>
          </p:nvSpPr>
          <p:spPr>
            <a:xfrm>
              <a:off x="5889839" y="2218788"/>
              <a:ext cx="1794316" cy="3532457"/>
            </a:xfrm>
            <a:custGeom>
              <a:avLst/>
              <a:gdLst/>
              <a:ahLst/>
              <a:cxnLst>
                <a:cxn ang="0">
                  <a:pos x="wd2" y="hd2"/>
                </a:cxn>
                <a:cxn ang="5400000">
                  <a:pos x="wd2" y="hd2"/>
                </a:cxn>
                <a:cxn ang="10800000">
                  <a:pos x="wd2" y="hd2"/>
                </a:cxn>
                <a:cxn ang="16200000">
                  <a:pos x="wd2" y="hd2"/>
                </a:cxn>
              </a:cxnLst>
              <a:rect l="0" t="0" r="r" b="b"/>
              <a:pathLst>
                <a:path w="21600" h="21600" extrusionOk="0">
                  <a:moveTo>
                    <a:pt x="1494" y="0"/>
                  </a:moveTo>
                  <a:lnTo>
                    <a:pt x="0" y="928"/>
                  </a:lnTo>
                  <a:lnTo>
                    <a:pt x="1363" y="1774"/>
                  </a:lnTo>
                  <a:cubicBezTo>
                    <a:pt x="6021" y="1784"/>
                    <a:pt x="10237" y="2790"/>
                    <a:pt x="13293" y="4415"/>
                  </a:cubicBezTo>
                  <a:cubicBezTo>
                    <a:pt x="16364" y="6049"/>
                    <a:pt x="18265" y="8306"/>
                    <a:pt x="18265" y="10798"/>
                  </a:cubicBezTo>
                  <a:cubicBezTo>
                    <a:pt x="18265" y="10811"/>
                    <a:pt x="18262" y="10822"/>
                    <a:pt x="18262" y="10835"/>
                  </a:cubicBezTo>
                  <a:lnTo>
                    <a:pt x="18262" y="10837"/>
                  </a:lnTo>
                  <a:lnTo>
                    <a:pt x="18259" y="10837"/>
                  </a:lnTo>
                  <a:cubicBezTo>
                    <a:pt x="18240" y="13314"/>
                    <a:pt x="16348" y="15556"/>
                    <a:pt x="13293" y="17181"/>
                  </a:cubicBezTo>
                  <a:cubicBezTo>
                    <a:pt x="10221" y="18815"/>
                    <a:pt x="5978" y="19826"/>
                    <a:pt x="1292" y="19826"/>
                  </a:cubicBezTo>
                  <a:cubicBezTo>
                    <a:pt x="1267" y="19826"/>
                    <a:pt x="1244" y="19825"/>
                    <a:pt x="1220" y="19825"/>
                  </a:cubicBezTo>
                  <a:lnTo>
                    <a:pt x="2583" y="20669"/>
                  </a:lnTo>
                  <a:lnTo>
                    <a:pt x="1089" y="21597"/>
                  </a:lnTo>
                  <a:cubicBezTo>
                    <a:pt x="1157" y="21597"/>
                    <a:pt x="1223" y="21600"/>
                    <a:pt x="1292" y="21600"/>
                  </a:cubicBezTo>
                  <a:cubicBezTo>
                    <a:pt x="6899" y="21600"/>
                    <a:pt x="11976" y="20390"/>
                    <a:pt x="15651" y="18436"/>
                  </a:cubicBezTo>
                  <a:cubicBezTo>
                    <a:pt x="19281" y="16505"/>
                    <a:pt x="21539" y="13846"/>
                    <a:pt x="21594" y="10906"/>
                  </a:cubicBezTo>
                  <a:cubicBezTo>
                    <a:pt x="21594" y="10870"/>
                    <a:pt x="21600" y="10835"/>
                    <a:pt x="21600" y="10798"/>
                  </a:cubicBezTo>
                  <a:cubicBezTo>
                    <a:pt x="21600" y="7816"/>
                    <a:pt x="19326" y="5115"/>
                    <a:pt x="15651" y="3161"/>
                  </a:cubicBezTo>
                  <a:cubicBezTo>
                    <a:pt x="12021" y="1230"/>
                    <a:pt x="7021" y="29"/>
                    <a:pt x="1494" y="0"/>
                  </a:cubicBezTo>
                  <a:close/>
                </a:path>
              </a:pathLst>
            </a:custGeom>
            <a:solidFill>
              <a:schemeClr val="bg2">
                <a:lumMod val="75000"/>
              </a:schemeClr>
            </a:solidFill>
            <a:ln w="12700" cap="flat">
              <a:noFill/>
              <a:miter lim="400000"/>
            </a:ln>
            <a:effectLst/>
          </p:spPr>
          <p:txBody>
            <a:bodyPr wrap="square" lIns="0" tIns="0" rIns="0" bIns="0" numCol="1" anchor="ctr">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rgbClr val="000000"/>
                </a:solidFill>
                <a:effectLst/>
                <a:uLnTx/>
                <a:uFillTx/>
                <a:latin typeface="Montserrat" panose="00000500000000000000" pitchFamily="2" charset="0"/>
              </a:endParaRPr>
            </a:p>
          </p:txBody>
        </p:sp>
        <p:sp>
          <p:nvSpPr>
            <p:cNvPr id="118" name="Shape 2119">
              <a:extLst>
                <a:ext uri="{FF2B5EF4-FFF2-40B4-BE49-F238E27FC236}">
                  <a16:creationId xmlns:a16="http://schemas.microsoft.com/office/drawing/2014/main" id="{A192AFC7-3B91-4BAB-AF7D-7A2C120AE2CE}"/>
                </a:ext>
              </a:extLst>
            </p:cNvPr>
            <p:cNvSpPr/>
            <p:nvPr/>
          </p:nvSpPr>
          <p:spPr>
            <a:xfrm>
              <a:off x="4733882" y="2645607"/>
              <a:ext cx="2526483" cy="2639743"/>
            </a:xfrm>
            <a:custGeom>
              <a:avLst/>
              <a:gdLst/>
              <a:ahLst/>
              <a:cxnLst>
                <a:cxn ang="0">
                  <a:pos x="wd2" y="hd2"/>
                </a:cxn>
                <a:cxn ang="5400000">
                  <a:pos x="wd2" y="hd2"/>
                </a:cxn>
                <a:cxn ang="10800000">
                  <a:pos x="wd2" y="hd2"/>
                </a:cxn>
                <a:cxn ang="16200000">
                  <a:pos x="wd2" y="hd2"/>
                </a:cxn>
              </a:cxnLst>
              <a:rect l="0" t="0" r="r" b="b"/>
              <a:pathLst>
                <a:path w="21600" h="21600" extrusionOk="0">
                  <a:moveTo>
                    <a:pt x="21600" y="10800"/>
                  </a:moveTo>
                  <a:cubicBezTo>
                    <a:pt x="21600" y="16765"/>
                    <a:pt x="16765" y="21600"/>
                    <a:pt x="10800" y="21600"/>
                  </a:cubicBezTo>
                  <a:cubicBezTo>
                    <a:pt x="4835" y="21600"/>
                    <a:pt x="0" y="16765"/>
                    <a:pt x="0" y="10800"/>
                  </a:cubicBezTo>
                  <a:cubicBezTo>
                    <a:pt x="0" y="4835"/>
                    <a:pt x="4835" y="0"/>
                    <a:pt x="10800" y="0"/>
                  </a:cubicBezTo>
                  <a:cubicBezTo>
                    <a:pt x="16765" y="0"/>
                    <a:pt x="21600" y="4835"/>
                    <a:pt x="21600" y="10800"/>
                  </a:cubicBezTo>
                  <a:close/>
                </a:path>
              </a:pathLst>
            </a:custGeom>
            <a:solidFill>
              <a:schemeClr val="accent1">
                <a:lumMod val="50000"/>
              </a:schemeClr>
            </a:solidFill>
            <a:ln w="12700" cap="flat">
              <a:noFill/>
              <a:miter lim="400000"/>
            </a:ln>
            <a:effectLst/>
          </p:spPr>
          <p:txBody>
            <a:bodyPr wrap="square" lIns="0" tIns="0" rIns="0" bIns="0" numCol="1" anchor="ctr">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rgbClr val="26508D"/>
                </a:solidFill>
                <a:effectLst/>
                <a:uLnTx/>
                <a:uFillTx/>
                <a:latin typeface="Montserrat" panose="00000500000000000000" pitchFamily="2" charset="0"/>
              </a:endParaRPr>
            </a:p>
          </p:txBody>
        </p:sp>
        <p:sp>
          <p:nvSpPr>
            <p:cNvPr id="119" name="Freeform 66">
              <a:extLst>
                <a:ext uri="{FF2B5EF4-FFF2-40B4-BE49-F238E27FC236}">
                  <a16:creationId xmlns:a16="http://schemas.microsoft.com/office/drawing/2014/main" id="{59B78614-AD58-4576-8F95-CAE898192837}"/>
                </a:ext>
              </a:extLst>
            </p:cNvPr>
            <p:cNvSpPr>
              <a:spLocks noEditPoints="1"/>
            </p:cNvSpPr>
            <p:nvPr/>
          </p:nvSpPr>
          <p:spPr bwMode="auto">
            <a:xfrm>
              <a:off x="5235655" y="3126805"/>
              <a:ext cx="1551341" cy="1618643"/>
            </a:xfrm>
            <a:custGeom>
              <a:avLst/>
              <a:gdLst>
                <a:gd name="T0" fmla="*/ 2147483646 w 55"/>
                <a:gd name="T1" fmla="*/ 2147483646 h 64"/>
                <a:gd name="T2" fmla="*/ 2147483646 w 55"/>
                <a:gd name="T3" fmla="*/ 2147483646 h 64"/>
                <a:gd name="T4" fmla="*/ 2147483646 w 55"/>
                <a:gd name="T5" fmla="*/ 2147483646 h 64"/>
                <a:gd name="T6" fmla="*/ 0 w 55"/>
                <a:gd name="T7" fmla="*/ 2147483646 h 64"/>
                <a:gd name="T8" fmla="*/ 0 w 55"/>
                <a:gd name="T9" fmla="*/ 2147483646 h 64"/>
                <a:gd name="T10" fmla="*/ 2147483646 w 55"/>
                <a:gd name="T11" fmla="*/ 0 h 64"/>
                <a:gd name="T12" fmla="*/ 2147483646 w 55"/>
                <a:gd name="T13" fmla="*/ 2147483646 h 64"/>
                <a:gd name="T14" fmla="*/ 2147483646 w 55"/>
                <a:gd name="T15" fmla="*/ 2147483646 h 64"/>
                <a:gd name="T16" fmla="*/ 2147483646 w 55"/>
                <a:gd name="T17" fmla="*/ 2147483646 h 64"/>
                <a:gd name="T18" fmla="*/ 2147483646 w 55"/>
                <a:gd name="T19" fmla="*/ 2147483646 h 64"/>
                <a:gd name="T20" fmla="*/ 0 w 55"/>
                <a:gd name="T21" fmla="*/ 2147483646 h 64"/>
                <a:gd name="T22" fmla="*/ 0 w 55"/>
                <a:gd name="T23" fmla="*/ 2147483646 h 64"/>
                <a:gd name="T24" fmla="*/ 2147483646 w 55"/>
                <a:gd name="T25" fmla="*/ 2147483646 h 64"/>
                <a:gd name="T26" fmla="*/ 2147483646 w 55"/>
                <a:gd name="T27" fmla="*/ 2147483646 h 64"/>
                <a:gd name="T28" fmla="*/ 2147483646 w 55"/>
                <a:gd name="T29" fmla="*/ 2147483646 h 64"/>
                <a:gd name="T30" fmla="*/ 2147483646 w 55"/>
                <a:gd name="T31" fmla="*/ 2147483646 h 64"/>
                <a:gd name="T32" fmla="*/ 2147483646 w 55"/>
                <a:gd name="T33" fmla="*/ 2147483646 h 64"/>
                <a:gd name="T34" fmla="*/ 0 w 55"/>
                <a:gd name="T35" fmla="*/ 2147483646 h 64"/>
                <a:gd name="T36" fmla="*/ 0 w 55"/>
                <a:gd name="T37" fmla="*/ 2147483646 h 64"/>
                <a:gd name="T38" fmla="*/ 2147483646 w 55"/>
                <a:gd name="T39" fmla="*/ 2147483646 h 64"/>
                <a:gd name="T40" fmla="*/ 2147483646 w 55"/>
                <a:gd name="T41" fmla="*/ 2147483646 h 64"/>
                <a:gd name="T42" fmla="*/ 2147483646 w 55"/>
                <a:gd name="T43" fmla="*/ 2147483646 h 64"/>
                <a:gd name="T44" fmla="*/ 2147483646 w 55"/>
                <a:gd name="T45" fmla="*/ 2147483646 h 64"/>
                <a:gd name="T46" fmla="*/ 2147483646 w 55"/>
                <a:gd name="T47" fmla="*/ 2147483646 h 64"/>
                <a:gd name="T48" fmla="*/ 0 w 55"/>
                <a:gd name="T49" fmla="*/ 2147483646 h 64"/>
                <a:gd name="T50" fmla="*/ 0 w 55"/>
                <a:gd name="T51" fmla="*/ 2147483646 h 64"/>
                <a:gd name="T52" fmla="*/ 2147483646 w 55"/>
                <a:gd name="T53" fmla="*/ 2147483646 h 64"/>
                <a:gd name="T54" fmla="*/ 2147483646 w 55"/>
                <a:gd name="T55" fmla="*/ 2147483646 h 6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55" h="64">
                  <a:moveTo>
                    <a:pt x="55" y="9"/>
                  </a:moveTo>
                  <a:cubicBezTo>
                    <a:pt x="55" y="14"/>
                    <a:pt x="55" y="14"/>
                    <a:pt x="55" y="14"/>
                  </a:cubicBezTo>
                  <a:cubicBezTo>
                    <a:pt x="55" y="19"/>
                    <a:pt x="42" y="23"/>
                    <a:pt x="27" y="23"/>
                  </a:cubicBezTo>
                  <a:cubicBezTo>
                    <a:pt x="12" y="23"/>
                    <a:pt x="0" y="19"/>
                    <a:pt x="0" y="14"/>
                  </a:cubicBezTo>
                  <a:cubicBezTo>
                    <a:pt x="0" y="9"/>
                    <a:pt x="0" y="9"/>
                    <a:pt x="0" y="9"/>
                  </a:cubicBezTo>
                  <a:cubicBezTo>
                    <a:pt x="0" y="4"/>
                    <a:pt x="12" y="0"/>
                    <a:pt x="27" y="0"/>
                  </a:cubicBezTo>
                  <a:cubicBezTo>
                    <a:pt x="42" y="0"/>
                    <a:pt x="55" y="4"/>
                    <a:pt x="55" y="9"/>
                  </a:cubicBezTo>
                  <a:close/>
                  <a:moveTo>
                    <a:pt x="55" y="21"/>
                  </a:moveTo>
                  <a:cubicBezTo>
                    <a:pt x="55" y="27"/>
                    <a:pt x="55" y="27"/>
                    <a:pt x="55" y="27"/>
                  </a:cubicBezTo>
                  <a:cubicBezTo>
                    <a:pt x="55" y="32"/>
                    <a:pt x="42" y="37"/>
                    <a:pt x="27" y="37"/>
                  </a:cubicBezTo>
                  <a:cubicBezTo>
                    <a:pt x="12" y="37"/>
                    <a:pt x="0" y="32"/>
                    <a:pt x="0" y="27"/>
                  </a:cubicBezTo>
                  <a:cubicBezTo>
                    <a:pt x="0" y="21"/>
                    <a:pt x="0" y="21"/>
                    <a:pt x="0" y="21"/>
                  </a:cubicBezTo>
                  <a:cubicBezTo>
                    <a:pt x="6" y="25"/>
                    <a:pt x="16" y="27"/>
                    <a:pt x="27" y="27"/>
                  </a:cubicBezTo>
                  <a:cubicBezTo>
                    <a:pt x="38" y="27"/>
                    <a:pt x="49" y="25"/>
                    <a:pt x="55" y="21"/>
                  </a:cubicBezTo>
                  <a:close/>
                  <a:moveTo>
                    <a:pt x="55" y="35"/>
                  </a:moveTo>
                  <a:cubicBezTo>
                    <a:pt x="55" y="41"/>
                    <a:pt x="55" y="41"/>
                    <a:pt x="55" y="41"/>
                  </a:cubicBezTo>
                  <a:cubicBezTo>
                    <a:pt x="55" y="46"/>
                    <a:pt x="42" y="50"/>
                    <a:pt x="27" y="50"/>
                  </a:cubicBezTo>
                  <a:cubicBezTo>
                    <a:pt x="12" y="50"/>
                    <a:pt x="0" y="46"/>
                    <a:pt x="0" y="41"/>
                  </a:cubicBezTo>
                  <a:cubicBezTo>
                    <a:pt x="0" y="35"/>
                    <a:pt x="0" y="35"/>
                    <a:pt x="0" y="35"/>
                  </a:cubicBezTo>
                  <a:cubicBezTo>
                    <a:pt x="6" y="39"/>
                    <a:pt x="16" y="41"/>
                    <a:pt x="27" y="41"/>
                  </a:cubicBezTo>
                  <a:cubicBezTo>
                    <a:pt x="38" y="41"/>
                    <a:pt x="49" y="39"/>
                    <a:pt x="55" y="35"/>
                  </a:cubicBezTo>
                  <a:close/>
                  <a:moveTo>
                    <a:pt x="55" y="49"/>
                  </a:moveTo>
                  <a:cubicBezTo>
                    <a:pt x="55" y="55"/>
                    <a:pt x="55" y="55"/>
                    <a:pt x="55" y="55"/>
                  </a:cubicBezTo>
                  <a:cubicBezTo>
                    <a:pt x="55" y="60"/>
                    <a:pt x="42" y="64"/>
                    <a:pt x="27" y="64"/>
                  </a:cubicBezTo>
                  <a:cubicBezTo>
                    <a:pt x="12" y="64"/>
                    <a:pt x="0" y="60"/>
                    <a:pt x="0" y="55"/>
                  </a:cubicBezTo>
                  <a:cubicBezTo>
                    <a:pt x="0" y="49"/>
                    <a:pt x="0" y="49"/>
                    <a:pt x="0" y="49"/>
                  </a:cubicBezTo>
                  <a:cubicBezTo>
                    <a:pt x="6" y="53"/>
                    <a:pt x="16" y="55"/>
                    <a:pt x="27" y="55"/>
                  </a:cubicBezTo>
                  <a:cubicBezTo>
                    <a:pt x="38" y="55"/>
                    <a:pt x="49" y="53"/>
                    <a:pt x="55" y="49"/>
                  </a:cubicBezTo>
                  <a:close/>
                </a:path>
              </a:pathLst>
            </a:custGeom>
            <a:solidFill>
              <a:schemeClr val="bg1"/>
            </a:solidFill>
            <a:ln>
              <a:noFill/>
            </a:ln>
          </p:spPr>
          <p:txBody>
            <a:bodyPr lIns="243797" tIns="121899" rIns="243797" bIns="121899"/>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a:ln>
                  <a:noFill/>
                </a:ln>
                <a:solidFill>
                  <a:srgbClr val="000000"/>
                </a:solidFill>
                <a:effectLst/>
                <a:uLnTx/>
                <a:uFillTx/>
                <a:latin typeface="Montserrat" panose="00000500000000000000" pitchFamily="2" charset="0"/>
              </a:endParaRPr>
            </a:p>
          </p:txBody>
        </p:sp>
      </p:grpSp>
      <p:sp>
        <p:nvSpPr>
          <p:cNvPr id="120" name="Titre 7">
            <a:extLst>
              <a:ext uri="{FF2B5EF4-FFF2-40B4-BE49-F238E27FC236}">
                <a16:creationId xmlns:a16="http://schemas.microsoft.com/office/drawing/2014/main" id="{6C3D4BC5-A914-40B3-B68E-AA4162F9B886}"/>
              </a:ext>
            </a:extLst>
          </p:cNvPr>
          <p:cNvSpPr txBox="1">
            <a:spLocks/>
          </p:cNvSpPr>
          <p:nvPr/>
        </p:nvSpPr>
        <p:spPr>
          <a:xfrm>
            <a:off x="395115" y="3923151"/>
            <a:ext cx="8701238" cy="456632"/>
          </a:xfrm>
          <a:prstGeom prst="rect">
            <a:avLst/>
          </a:prstGeom>
          <a:solidFill>
            <a:schemeClr val="bg1"/>
          </a:solidFill>
        </p:spPr>
        <p:txBody>
          <a:bodyPr anchor="t" anchorCtr="0">
            <a:noAutofit/>
          </a:bodyPr>
          <a:lstStyle>
            <a:lvl1pPr algn="l" rtl="0" eaLnBrk="0" fontAlgn="base" hangingPunct="0">
              <a:lnSpc>
                <a:spcPct val="90000"/>
              </a:lnSpc>
              <a:spcBef>
                <a:spcPct val="0"/>
              </a:spcBef>
              <a:spcAft>
                <a:spcPct val="0"/>
              </a:spcAft>
              <a:defRPr sz="2400" b="1" i="0" kern="1200">
                <a:solidFill>
                  <a:schemeClr val="bg1"/>
                </a:solidFill>
                <a:latin typeface="Montserrat" pitchFamily="2" charset="77"/>
                <a:ea typeface="+mj-ea"/>
                <a:cs typeface="+mj-cs"/>
              </a:defRPr>
            </a:lvl1pPr>
            <a:lvl2pPr algn="l" rtl="0" eaLnBrk="0" fontAlgn="base" hangingPunct="0">
              <a:lnSpc>
                <a:spcPct val="90000"/>
              </a:lnSpc>
              <a:spcBef>
                <a:spcPct val="0"/>
              </a:spcBef>
              <a:spcAft>
                <a:spcPct val="0"/>
              </a:spcAft>
              <a:defRPr sz="4400">
                <a:solidFill>
                  <a:schemeClr val="tx1"/>
                </a:solidFill>
                <a:latin typeface="Montserrat" panose="00000500000000000000" pitchFamily="2" charset="0"/>
              </a:defRPr>
            </a:lvl2pPr>
            <a:lvl3pPr algn="l" rtl="0" eaLnBrk="0" fontAlgn="base" hangingPunct="0">
              <a:lnSpc>
                <a:spcPct val="90000"/>
              </a:lnSpc>
              <a:spcBef>
                <a:spcPct val="0"/>
              </a:spcBef>
              <a:spcAft>
                <a:spcPct val="0"/>
              </a:spcAft>
              <a:defRPr sz="4400">
                <a:solidFill>
                  <a:schemeClr val="tx1"/>
                </a:solidFill>
                <a:latin typeface="Montserrat" panose="00000500000000000000" pitchFamily="2" charset="0"/>
              </a:defRPr>
            </a:lvl3pPr>
            <a:lvl4pPr algn="l" rtl="0" eaLnBrk="0" fontAlgn="base" hangingPunct="0">
              <a:lnSpc>
                <a:spcPct val="90000"/>
              </a:lnSpc>
              <a:spcBef>
                <a:spcPct val="0"/>
              </a:spcBef>
              <a:spcAft>
                <a:spcPct val="0"/>
              </a:spcAft>
              <a:defRPr sz="4400">
                <a:solidFill>
                  <a:schemeClr val="tx1"/>
                </a:solidFill>
                <a:latin typeface="Montserrat" panose="00000500000000000000" pitchFamily="2" charset="0"/>
              </a:defRPr>
            </a:lvl4pPr>
            <a:lvl5pPr algn="l" rtl="0" eaLnBrk="0" fontAlgn="base" hangingPunct="0">
              <a:lnSpc>
                <a:spcPct val="90000"/>
              </a:lnSpc>
              <a:spcBef>
                <a:spcPct val="0"/>
              </a:spcBef>
              <a:spcAft>
                <a:spcPct val="0"/>
              </a:spcAft>
              <a:defRPr sz="4400">
                <a:solidFill>
                  <a:schemeClr val="tx1"/>
                </a:solidFill>
                <a:latin typeface="Montserrat" panose="00000500000000000000" pitchFamily="2" charset="0"/>
              </a:defRPr>
            </a:lvl5pPr>
            <a:lvl6pPr marL="457200" algn="l" rtl="0" fontAlgn="base">
              <a:lnSpc>
                <a:spcPct val="90000"/>
              </a:lnSpc>
              <a:spcBef>
                <a:spcPct val="0"/>
              </a:spcBef>
              <a:spcAft>
                <a:spcPct val="0"/>
              </a:spcAft>
              <a:defRPr sz="4400">
                <a:solidFill>
                  <a:schemeClr val="tx1"/>
                </a:solidFill>
                <a:latin typeface="Montserrat" panose="00000500000000000000" pitchFamily="2" charset="0"/>
              </a:defRPr>
            </a:lvl6pPr>
            <a:lvl7pPr marL="914400" algn="l" rtl="0" fontAlgn="base">
              <a:lnSpc>
                <a:spcPct val="90000"/>
              </a:lnSpc>
              <a:spcBef>
                <a:spcPct val="0"/>
              </a:spcBef>
              <a:spcAft>
                <a:spcPct val="0"/>
              </a:spcAft>
              <a:defRPr sz="4400">
                <a:solidFill>
                  <a:schemeClr val="tx1"/>
                </a:solidFill>
                <a:latin typeface="Montserrat" panose="00000500000000000000" pitchFamily="2" charset="0"/>
              </a:defRPr>
            </a:lvl7pPr>
            <a:lvl8pPr marL="1371600" algn="l" rtl="0" fontAlgn="base">
              <a:lnSpc>
                <a:spcPct val="90000"/>
              </a:lnSpc>
              <a:spcBef>
                <a:spcPct val="0"/>
              </a:spcBef>
              <a:spcAft>
                <a:spcPct val="0"/>
              </a:spcAft>
              <a:defRPr sz="4400">
                <a:solidFill>
                  <a:schemeClr val="tx1"/>
                </a:solidFill>
                <a:latin typeface="Montserrat" panose="00000500000000000000" pitchFamily="2" charset="0"/>
              </a:defRPr>
            </a:lvl8pPr>
            <a:lvl9pPr marL="1828800" algn="l" rtl="0" fontAlgn="base">
              <a:lnSpc>
                <a:spcPct val="90000"/>
              </a:lnSpc>
              <a:spcBef>
                <a:spcPct val="0"/>
              </a:spcBef>
              <a:spcAft>
                <a:spcPct val="0"/>
              </a:spcAft>
              <a:defRPr sz="4400">
                <a:solidFill>
                  <a:schemeClr val="tx1"/>
                </a:solidFill>
                <a:latin typeface="Montserrat" panose="00000500000000000000" pitchFamily="2" charset="0"/>
              </a:defRPr>
            </a:lvl9pPr>
          </a:lstStyle>
          <a:p>
            <a:endParaRPr lang="fr-FR">
              <a:solidFill>
                <a:schemeClr val="accent1">
                  <a:lumMod val="50000"/>
                </a:schemeClr>
              </a:solidFill>
            </a:endParaRPr>
          </a:p>
          <a:p>
            <a:endParaRPr lang="fr-FR"/>
          </a:p>
        </p:txBody>
      </p:sp>
      <p:pic>
        <p:nvPicPr>
          <p:cNvPr id="121" name="Grafik 120">
            <a:extLst>
              <a:ext uri="{FF2B5EF4-FFF2-40B4-BE49-F238E27FC236}">
                <a16:creationId xmlns:a16="http://schemas.microsoft.com/office/drawing/2014/main" id="{28A3CCAA-538C-4FDE-B572-F9F4DA52D1F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092821" y="4639769"/>
            <a:ext cx="1441342" cy="988747"/>
          </a:xfrm>
          <a:prstGeom prst="rect">
            <a:avLst/>
          </a:prstGeom>
        </p:spPr>
      </p:pic>
      <p:grpSp>
        <p:nvGrpSpPr>
          <p:cNvPr id="122" name="Gruppieren 121">
            <a:extLst>
              <a:ext uri="{FF2B5EF4-FFF2-40B4-BE49-F238E27FC236}">
                <a16:creationId xmlns:a16="http://schemas.microsoft.com/office/drawing/2014/main" id="{8F3E1EE6-75F0-4999-BD44-7CBEE2B8E168}"/>
              </a:ext>
            </a:extLst>
          </p:cNvPr>
          <p:cNvGrpSpPr/>
          <p:nvPr/>
        </p:nvGrpSpPr>
        <p:grpSpPr>
          <a:xfrm>
            <a:off x="3397014" y="4489447"/>
            <a:ext cx="575890" cy="1010179"/>
            <a:chOff x="3361604" y="4339138"/>
            <a:chExt cx="513533" cy="759478"/>
          </a:xfrm>
        </p:grpSpPr>
        <p:sp>
          <p:nvSpPr>
            <p:cNvPr id="123" name="Freeform 66">
              <a:extLst>
                <a:ext uri="{FF2B5EF4-FFF2-40B4-BE49-F238E27FC236}">
                  <a16:creationId xmlns:a16="http://schemas.microsoft.com/office/drawing/2014/main" id="{E3F1C636-83B7-480E-89E7-8CF4AB5D22CD}"/>
                </a:ext>
              </a:extLst>
            </p:cNvPr>
            <p:cNvSpPr>
              <a:spLocks noEditPoints="1"/>
            </p:cNvSpPr>
            <p:nvPr/>
          </p:nvSpPr>
          <p:spPr bwMode="auto">
            <a:xfrm>
              <a:off x="3361604" y="4620936"/>
              <a:ext cx="449501" cy="477680"/>
            </a:xfrm>
            <a:custGeom>
              <a:avLst/>
              <a:gdLst>
                <a:gd name="T0" fmla="*/ 2147483646 w 55"/>
                <a:gd name="T1" fmla="*/ 2147483646 h 64"/>
                <a:gd name="T2" fmla="*/ 2147483646 w 55"/>
                <a:gd name="T3" fmla="*/ 2147483646 h 64"/>
                <a:gd name="T4" fmla="*/ 2147483646 w 55"/>
                <a:gd name="T5" fmla="*/ 2147483646 h 64"/>
                <a:gd name="T6" fmla="*/ 0 w 55"/>
                <a:gd name="T7" fmla="*/ 2147483646 h 64"/>
                <a:gd name="T8" fmla="*/ 0 w 55"/>
                <a:gd name="T9" fmla="*/ 2147483646 h 64"/>
                <a:gd name="T10" fmla="*/ 2147483646 w 55"/>
                <a:gd name="T11" fmla="*/ 0 h 64"/>
                <a:gd name="T12" fmla="*/ 2147483646 w 55"/>
                <a:gd name="T13" fmla="*/ 2147483646 h 64"/>
                <a:gd name="T14" fmla="*/ 2147483646 w 55"/>
                <a:gd name="T15" fmla="*/ 2147483646 h 64"/>
                <a:gd name="T16" fmla="*/ 2147483646 w 55"/>
                <a:gd name="T17" fmla="*/ 2147483646 h 64"/>
                <a:gd name="T18" fmla="*/ 2147483646 w 55"/>
                <a:gd name="T19" fmla="*/ 2147483646 h 64"/>
                <a:gd name="T20" fmla="*/ 0 w 55"/>
                <a:gd name="T21" fmla="*/ 2147483646 h 64"/>
                <a:gd name="T22" fmla="*/ 0 w 55"/>
                <a:gd name="T23" fmla="*/ 2147483646 h 64"/>
                <a:gd name="T24" fmla="*/ 2147483646 w 55"/>
                <a:gd name="T25" fmla="*/ 2147483646 h 64"/>
                <a:gd name="T26" fmla="*/ 2147483646 w 55"/>
                <a:gd name="T27" fmla="*/ 2147483646 h 64"/>
                <a:gd name="T28" fmla="*/ 2147483646 w 55"/>
                <a:gd name="T29" fmla="*/ 2147483646 h 64"/>
                <a:gd name="T30" fmla="*/ 2147483646 w 55"/>
                <a:gd name="T31" fmla="*/ 2147483646 h 64"/>
                <a:gd name="T32" fmla="*/ 2147483646 w 55"/>
                <a:gd name="T33" fmla="*/ 2147483646 h 64"/>
                <a:gd name="T34" fmla="*/ 0 w 55"/>
                <a:gd name="T35" fmla="*/ 2147483646 h 64"/>
                <a:gd name="T36" fmla="*/ 0 w 55"/>
                <a:gd name="T37" fmla="*/ 2147483646 h 64"/>
                <a:gd name="T38" fmla="*/ 2147483646 w 55"/>
                <a:gd name="T39" fmla="*/ 2147483646 h 64"/>
                <a:gd name="T40" fmla="*/ 2147483646 w 55"/>
                <a:gd name="T41" fmla="*/ 2147483646 h 64"/>
                <a:gd name="T42" fmla="*/ 2147483646 w 55"/>
                <a:gd name="T43" fmla="*/ 2147483646 h 64"/>
                <a:gd name="T44" fmla="*/ 2147483646 w 55"/>
                <a:gd name="T45" fmla="*/ 2147483646 h 64"/>
                <a:gd name="T46" fmla="*/ 2147483646 w 55"/>
                <a:gd name="T47" fmla="*/ 2147483646 h 64"/>
                <a:gd name="T48" fmla="*/ 0 w 55"/>
                <a:gd name="T49" fmla="*/ 2147483646 h 64"/>
                <a:gd name="T50" fmla="*/ 0 w 55"/>
                <a:gd name="T51" fmla="*/ 2147483646 h 64"/>
                <a:gd name="T52" fmla="*/ 2147483646 w 55"/>
                <a:gd name="T53" fmla="*/ 2147483646 h 64"/>
                <a:gd name="T54" fmla="*/ 2147483646 w 55"/>
                <a:gd name="T55" fmla="*/ 2147483646 h 6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55" h="64">
                  <a:moveTo>
                    <a:pt x="55" y="9"/>
                  </a:moveTo>
                  <a:cubicBezTo>
                    <a:pt x="55" y="14"/>
                    <a:pt x="55" y="14"/>
                    <a:pt x="55" y="14"/>
                  </a:cubicBezTo>
                  <a:cubicBezTo>
                    <a:pt x="55" y="19"/>
                    <a:pt x="42" y="23"/>
                    <a:pt x="27" y="23"/>
                  </a:cubicBezTo>
                  <a:cubicBezTo>
                    <a:pt x="12" y="23"/>
                    <a:pt x="0" y="19"/>
                    <a:pt x="0" y="14"/>
                  </a:cubicBezTo>
                  <a:cubicBezTo>
                    <a:pt x="0" y="9"/>
                    <a:pt x="0" y="9"/>
                    <a:pt x="0" y="9"/>
                  </a:cubicBezTo>
                  <a:cubicBezTo>
                    <a:pt x="0" y="4"/>
                    <a:pt x="12" y="0"/>
                    <a:pt x="27" y="0"/>
                  </a:cubicBezTo>
                  <a:cubicBezTo>
                    <a:pt x="42" y="0"/>
                    <a:pt x="55" y="4"/>
                    <a:pt x="55" y="9"/>
                  </a:cubicBezTo>
                  <a:close/>
                  <a:moveTo>
                    <a:pt x="55" y="21"/>
                  </a:moveTo>
                  <a:cubicBezTo>
                    <a:pt x="55" y="27"/>
                    <a:pt x="55" y="27"/>
                    <a:pt x="55" y="27"/>
                  </a:cubicBezTo>
                  <a:cubicBezTo>
                    <a:pt x="55" y="32"/>
                    <a:pt x="42" y="37"/>
                    <a:pt x="27" y="37"/>
                  </a:cubicBezTo>
                  <a:cubicBezTo>
                    <a:pt x="12" y="37"/>
                    <a:pt x="0" y="32"/>
                    <a:pt x="0" y="27"/>
                  </a:cubicBezTo>
                  <a:cubicBezTo>
                    <a:pt x="0" y="21"/>
                    <a:pt x="0" y="21"/>
                    <a:pt x="0" y="21"/>
                  </a:cubicBezTo>
                  <a:cubicBezTo>
                    <a:pt x="6" y="25"/>
                    <a:pt x="16" y="27"/>
                    <a:pt x="27" y="27"/>
                  </a:cubicBezTo>
                  <a:cubicBezTo>
                    <a:pt x="38" y="27"/>
                    <a:pt x="49" y="25"/>
                    <a:pt x="55" y="21"/>
                  </a:cubicBezTo>
                  <a:close/>
                  <a:moveTo>
                    <a:pt x="55" y="35"/>
                  </a:moveTo>
                  <a:cubicBezTo>
                    <a:pt x="55" y="41"/>
                    <a:pt x="55" y="41"/>
                    <a:pt x="55" y="41"/>
                  </a:cubicBezTo>
                  <a:cubicBezTo>
                    <a:pt x="55" y="46"/>
                    <a:pt x="42" y="50"/>
                    <a:pt x="27" y="50"/>
                  </a:cubicBezTo>
                  <a:cubicBezTo>
                    <a:pt x="12" y="50"/>
                    <a:pt x="0" y="46"/>
                    <a:pt x="0" y="41"/>
                  </a:cubicBezTo>
                  <a:cubicBezTo>
                    <a:pt x="0" y="35"/>
                    <a:pt x="0" y="35"/>
                    <a:pt x="0" y="35"/>
                  </a:cubicBezTo>
                  <a:cubicBezTo>
                    <a:pt x="6" y="39"/>
                    <a:pt x="16" y="41"/>
                    <a:pt x="27" y="41"/>
                  </a:cubicBezTo>
                  <a:cubicBezTo>
                    <a:pt x="38" y="41"/>
                    <a:pt x="49" y="39"/>
                    <a:pt x="55" y="35"/>
                  </a:cubicBezTo>
                  <a:close/>
                  <a:moveTo>
                    <a:pt x="55" y="49"/>
                  </a:moveTo>
                  <a:cubicBezTo>
                    <a:pt x="55" y="55"/>
                    <a:pt x="55" y="55"/>
                    <a:pt x="55" y="55"/>
                  </a:cubicBezTo>
                  <a:cubicBezTo>
                    <a:pt x="55" y="60"/>
                    <a:pt x="42" y="64"/>
                    <a:pt x="27" y="64"/>
                  </a:cubicBezTo>
                  <a:cubicBezTo>
                    <a:pt x="12" y="64"/>
                    <a:pt x="0" y="60"/>
                    <a:pt x="0" y="55"/>
                  </a:cubicBezTo>
                  <a:cubicBezTo>
                    <a:pt x="0" y="49"/>
                    <a:pt x="0" y="49"/>
                    <a:pt x="0" y="49"/>
                  </a:cubicBezTo>
                  <a:cubicBezTo>
                    <a:pt x="6" y="53"/>
                    <a:pt x="16" y="55"/>
                    <a:pt x="27" y="55"/>
                  </a:cubicBezTo>
                  <a:cubicBezTo>
                    <a:pt x="38" y="55"/>
                    <a:pt x="49" y="53"/>
                    <a:pt x="55" y="49"/>
                  </a:cubicBezTo>
                  <a:close/>
                </a:path>
              </a:pathLst>
            </a:custGeom>
            <a:solidFill>
              <a:schemeClr val="accent1">
                <a:lumMod val="50000"/>
              </a:schemeClr>
            </a:solidFill>
            <a:ln>
              <a:noFill/>
            </a:ln>
          </p:spPr>
          <p:txBody>
            <a:bodyPr lIns="243797" tIns="121899" rIns="243797" bIns="121899"/>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a:ln>
                  <a:noFill/>
                </a:ln>
                <a:solidFill>
                  <a:srgbClr val="000000"/>
                </a:solidFill>
                <a:effectLst/>
                <a:uLnTx/>
                <a:uFillTx/>
                <a:latin typeface="Montserrat" panose="00000500000000000000" pitchFamily="2" charset="0"/>
              </a:endParaRPr>
            </a:p>
          </p:txBody>
        </p:sp>
        <p:sp>
          <p:nvSpPr>
            <p:cNvPr id="124" name="Textfeld 123">
              <a:extLst>
                <a:ext uri="{FF2B5EF4-FFF2-40B4-BE49-F238E27FC236}">
                  <a16:creationId xmlns:a16="http://schemas.microsoft.com/office/drawing/2014/main" id="{C1850C17-CF19-48BB-B56E-9AF6213C2251}"/>
                </a:ext>
              </a:extLst>
            </p:cNvPr>
            <p:cNvSpPr txBox="1"/>
            <p:nvPr/>
          </p:nvSpPr>
          <p:spPr>
            <a:xfrm>
              <a:off x="3597082" y="4339138"/>
              <a:ext cx="278055" cy="523220"/>
            </a:xfrm>
            <a:prstGeom prst="rect">
              <a:avLst/>
            </a:prstGeom>
            <a:noFill/>
          </p:spPr>
          <p:txBody>
            <a:bodyPr wrap="square" rtlCol="0">
              <a:spAutoFit/>
            </a:bodyPr>
            <a:lstStyle/>
            <a:p>
              <a:r>
                <a:rPr lang="de-DE" sz="2800" b="1">
                  <a:solidFill>
                    <a:schemeClr val="tx1">
                      <a:lumMod val="65000"/>
                      <a:lumOff val="35000"/>
                    </a:schemeClr>
                  </a:solidFill>
                </a:rPr>
                <a:t>+</a:t>
              </a:r>
              <a:endParaRPr lang="en-DE" sz="2800" b="1">
                <a:solidFill>
                  <a:schemeClr val="tx1">
                    <a:lumMod val="65000"/>
                    <a:lumOff val="35000"/>
                  </a:schemeClr>
                </a:solidFill>
              </a:endParaRPr>
            </a:p>
          </p:txBody>
        </p:sp>
      </p:grpSp>
      <p:sp>
        <p:nvSpPr>
          <p:cNvPr id="125" name="Abgerundetes Rechteck 1">
            <a:extLst>
              <a:ext uri="{FF2B5EF4-FFF2-40B4-BE49-F238E27FC236}">
                <a16:creationId xmlns:a16="http://schemas.microsoft.com/office/drawing/2014/main" id="{065EF0EB-5F47-4D53-84DC-9EE38267D9A5}"/>
              </a:ext>
            </a:extLst>
          </p:cNvPr>
          <p:cNvSpPr/>
          <p:nvPr/>
        </p:nvSpPr>
        <p:spPr>
          <a:xfrm>
            <a:off x="9337741" y="4388644"/>
            <a:ext cx="1969942" cy="2052582"/>
          </a:xfrm>
          <a:prstGeom prst="rect">
            <a:avLst/>
          </a:prstGeom>
          <a:solidFill>
            <a:schemeClr val="accent1">
              <a:lumMod val="60000"/>
              <a:lumOff val="40000"/>
              <a:alpha val="80467"/>
            </a:schemeClr>
          </a:solidFill>
          <a:ln>
            <a:noFill/>
          </a:ln>
          <a:effectLst>
            <a:outerShdw blurRad="50800" dist="103503" dir="2700000" algn="tl" rotWithShape="0">
              <a:schemeClr val="accent1">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26" name="Grafik 125" descr="Smartphone mit einfarbiger Füllung">
            <a:extLst>
              <a:ext uri="{FF2B5EF4-FFF2-40B4-BE49-F238E27FC236}">
                <a16:creationId xmlns:a16="http://schemas.microsoft.com/office/drawing/2014/main" id="{688A7934-A925-4D5A-8CA7-017E11271F6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621347" y="4713034"/>
            <a:ext cx="914400" cy="914400"/>
          </a:xfrm>
          <a:prstGeom prst="rect">
            <a:avLst/>
          </a:prstGeom>
        </p:spPr>
      </p:pic>
      <p:sp>
        <p:nvSpPr>
          <p:cNvPr id="127" name="Textfeld 126">
            <a:extLst>
              <a:ext uri="{FF2B5EF4-FFF2-40B4-BE49-F238E27FC236}">
                <a16:creationId xmlns:a16="http://schemas.microsoft.com/office/drawing/2014/main" id="{56813064-1827-436D-8235-47EF84C33A5A}"/>
              </a:ext>
            </a:extLst>
          </p:cNvPr>
          <p:cNvSpPr txBox="1"/>
          <p:nvPr/>
        </p:nvSpPr>
        <p:spPr>
          <a:xfrm>
            <a:off x="9354259" y="5875805"/>
            <a:ext cx="1936775" cy="523220"/>
          </a:xfrm>
          <a:prstGeom prst="rect">
            <a:avLst/>
          </a:prstGeom>
          <a:noFill/>
        </p:spPr>
        <p:txBody>
          <a:bodyPr wrap="square" rtlCol="0">
            <a:spAutoFit/>
          </a:bodyPr>
          <a:lstStyle/>
          <a:p>
            <a:pPr algn="ctr"/>
            <a:r>
              <a:rPr lang="de-DE" sz="1400" dirty="0">
                <a:solidFill>
                  <a:schemeClr val="bg1"/>
                </a:solidFill>
                <a:latin typeface="Montserrat Medium" panose="00000600000000000000" pitchFamily="2" charset="0"/>
              </a:rPr>
              <a:t>Content</a:t>
            </a:r>
            <a:br>
              <a:rPr lang="de-DE" sz="1400" dirty="0">
                <a:solidFill>
                  <a:schemeClr val="bg1"/>
                </a:solidFill>
                <a:latin typeface="Montserrat Medium" panose="00000600000000000000" pitchFamily="2" charset="0"/>
              </a:rPr>
            </a:br>
            <a:r>
              <a:rPr lang="de-DE" sz="1400" dirty="0">
                <a:solidFill>
                  <a:schemeClr val="bg1"/>
                </a:solidFill>
                <a:latin typeface="Montserrat Medium" panose="00000600000000000000" pitchFamily="2" charset="0"/>
              </a:rPr>
              <a:t>Exchange</a:t>
            </a:r>
            <a:endParaRPr lang="en-DE" sz="1400" dirty="0">
              <a:solidFill>
                <a:schemeClr val="bg1"/>
              </a:solidFill>
              <a:latin typeface="Montserrat Medium" panose="00000600000000000000" pitchFamily="2" charset="0"/>
            </a:endParaRPr>
          </a:p>
        </p:txBody>
      </p:sp>
      <p:grpSp>
        <p:nvGrpSpPr>
          <p:cNvPr id="128" name="Gruppieren 127">
            <a:extLst>
              <a:ext uri="{FF2B5EF4-FFF2-40B4-BE49-F238E27FC236}">
                <a16:creationId xmlns:a16="http://schemas.microsoft.com/office/drawing/2014/main" id="{D0C85DCE-100B-4127-9ADC-C41DE7BED0F1}"/>
              </a:ext>
            </a:extLst>
          </p:cNvPr>
          <p:cNvGrpSpPr/>
          <p:nvPr/>
        </p:nvGrpSpPr>
        <p:grpSpPr>
          <a:xfrm>
            <a:off x="9680899" y="4586622"/>
            <a:ext cx="1391271" cy="1185006"/>
            <a:chOff x="9788373" y="4467340"/>
            <a:chExt cx="1391271" cy="1185006"/>
          </a:xfrm>
        </p:grpSpPr>
        <p:pic>
          <p:nvPicPr>
            <p:cNvPr id="129" name="Grafik 28">
              <a:extLst>
                <a:ext uri="{FF2B5EF4-FFF2-40B4-BE49-F238E27FC236}">
                  <a16:creationId xmlns:a16="http://schemas.microsoft.com/office/drawing/2014/main" id="{88989B88-6B2C-48D0-BCC9-250110BC4F6F}"/>
                </a:ext>
              </a:extLst>
            </p:cNvPr>
            <p:cNvPicPr>
              <a:picLocks noChangeAspect="1"/>
            </p:cNvPicPr>
            <p:nvPr/>
          </p:nvPicPr>
          <p:blipFill>
            <a:blip r:embed="rId8">
              <a:duotone>
                <a:prstClr val="black"/>
                <a:schemeClr val="tx2">
                  <a:tint val="45000"/>
                  <a:satMod val="400000"/>
                </a:schemeClr>
              </a:duotone>
            </a:blip>
            <a:stretch>
              <a:fillRect/>
            </a:stretch>
          </p:blipFill>
          <p:spPr>
            <a:xfrm>
              <a:off x="9788373" y="4729275"/>
              <a:ext cx="645258" cy="645258"/>
            </a:xfrm>
            <a:prstGeom prst="rect">
              <a:avLst/>
            </a:prstGeom>
          </p:spPr>
        </p:pic>
        <p:grpSp>
          <p:nvGrpSpPr>
            <p:cNvPr id="130" name="Gruppieren 129">
              <a:extLst>
                <a:ext uri="{FF2B5EF4-FFF2-40B4-BE49-F238E27FC236}">
                  <a16:creationId xmlns:a16="http://schemas.microsoft.com/office/drawing/2014/main" id="{12B00179-BE02-44AD-AAE4-8BFC137CEA3C}"/>
                </a:ext>
              </a:extLst>
            </p:cNvPr>
            <p:cNvGrpSpPr/>
            <p:nvPr/>
          </p:nvGrpSpPr>
          <p:grpSpPr>
            <a:xfrm rot="21378699">
              <a:off x="10758092" y="5242782"/>
              <a:ext cx="321750" cy="409564"/>
              <a:chOff x="6189302" y="2213369"/>
              <a:chExt cx="885499" cy="1076449"/>
            </a:xfrm>
          </p:grpSpPr>
          <p:sp>
            <p:nvSpPr>
              <p:cNvPr id="148" name="Ellipse 147">
                <a:extLst>
                  <a:ext uri="{FF2B5EF4-FFF2-40B4-BE49-F238E27FC236}">
                    <a16:creationId xmlns:a16="http://schemas.microsoft.com/office/drawing/2014/main" id="{0D1C6EBD-9E3F-4661-AC00-E2F3C9BE8521}"/>
                  </a:ext>
                </a:extLst>
              </p:cNvPr>
              <p:cNvSpPr/>
              <p:nvPr/>
            </p:nvSpPr>
            <p:spPr>
              <a:xfrm>
                <a:off x="6189302" y="2213369"/>
                <a:ext cx="885499" cy="889257"/>
              </a:xfrm>
              <a:prstGeom prst="ellipse">
                <a:avLst/>
              </a:prstGeom>
              <a:noFill/>
              <a:ln w="3175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149" name="Ellipse 148">
                <a:extLst>
                  <a:ext uri="{FF2B5EF4-FFF2-40B4-BE49-F238E27FC236}">
                    <a16:creationId xmlns:a16="http://schemas.microsoft.com/office/drawing/2014/main" id="{09FBEFE7-B214-4427-9120-46E5967F687E}"/>
                  </a:ext>
                </a:extLst>
              </p:cNvPr>
              <p:cNvSpPr/>
              <p:nvPr/>
            </p:nvSpPr>
            <p:spPr>
              <a:xfrm>
                <a:off x="6497844" y="2381689"/>
                <a:ext cx="285936" cy="301058"/>
              </a:xfrm>
              <a:prstGeom prst="ellipse">
                <a:avLst/>
              </a:prstGeom>
              <a:noFill/>
              <a:ln w="3175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150" name="Bogen 149">
                <a:extLst>
                  <a:ext uri="{FF2B5EF4-FFF2-40B4-BE49-F238E27FC236}">
                    <a16:creationId xmlns:a16="http://schemas.microsoft.com/office/drawing/2014/main" id="{88D5DEA9-F17A-4F17-AAE6-52010CC37062}"/>
                  </a:ext>
                </a:extLst>
              </p:cNvPr>
              <p:cNvSpPr/>
              <p:nvPr/>
            </p:nvSpPr>
            <p:spPr>
              <a:xfrm>
                <a:off x="6321965" y="2700960"/>
                <a:ext cx="596870" cy="588858"/>
              </a:xfrm>
              <a:prstGeom prst="arc">
                <a:avLst>
                  <a:gd name="adj1" fmla="val 11045583"/>
                  <a:gd name="adj2" fmla="val 0"/>
                </a:avLst>
              </a:prstGeom>
              <a:ln w="31750">
                <a:solidFill>
                  <a:schemeClr val="accent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DE"/>
              </a:p>
            </p:txBody>
          </p:sp>
        </p:grpSp>
        <p:grpSp>
          <p:nvGrpSpPr>
            <p:cNvPr id="131" name="Gruppieren 130">
              <a:extLst>
                <a:ext uri="{FF2B5EF4-FFF2-40B4-BE49-F238E27FC236}">
                  <a16:creationId xmlns:a16="http://schemas.microsoft.com/office/drawing/2014/main" id="{B7408D46-8C35-4425-A8EA-260CF2AF7973}"/>
                </a:ext>
              </a:extLst>
            </p:cNvPr>
            <p:cNvGrpSpPr/>
            <p:nvPr/>
          </p:nvGrpSpPr>
          <p:grpSpPr>
            <a:xfrm>
              <a:off x="10684345" y="4467340"/>
              <a:ext cx="495299" cy="444652"/>
              <a:chOff x="6772275" y="835386"/>
              <a:chExt cx="1300162" cy="1347352"/>
            </a:xfrm>
          </p:grpSpPr>
          <p:cxnSp>
            <p:nvCxnSpPr>
              <p:cNvPr id="135" name="Gerader Verbinder 134">
                <a:extLst>
                  <a:ext uri="{FF2B5EF4-FFF2-40B4-BE49-F238E27FC236}">
                    <a16:creationId xmlns:a16="http://schemas.microsoft.com/office/drawing/2014/main" id="{ECA28B92-1A68-45E8-BF35-DEA303CAF781}"/>
                  </a:ext>
                </a:extLst>
              </p:cNvPr>
              <p:cNvCxnSpPr>
                <a:cxnSpLocks/>
              </p:cNvCxnSpPr>
              <p:nvPr/>
            </p:nvCxnSpPr>
            <p:spPr>
              <a:xfrm flipV="1">
                <a:off x="6772275" y="835386"/>
                <a:ext cx="676275" cy="660039"/>
              </a:xfrm>
              <a:prstGeom prst="line">
                <a:avLst/>
              </a:prstGeom>
              <a:ln w="22225" cap="rnd">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36" name="Gerader Verbinder 135">
                <a:extLst>
                  <a:ext uri="{FF2B5EF4-FFF2-40B4-BE49-F238E27FC236}">
                    <a16:creationId xmlns:a16="http://schemas.microsoft.com/office/drawing/2014/main" id="{B24B174D-7D37-45A1-8845-36FB827BF8D1}"/>
                  </a:ext>
                </a:extLst>
              </p:cNvPr>
              <p:cNvCxnSpPr>
                <a:cxnSpLocks/>
              </p:cNvCxnSpPr>
              <p:nvPr/>
            </p:nvCxnSpPr>
            <p:spPr>
              <a:xfrm>
                <a:off x="7448550" y="836582"/>
                <a:ext cx="623887" cy="642407"/>
              </a:xfrm>
              <a:prstGeom prst="line">
                <a:avLst/>
              </a:prstGeom>
              <a:ln w="22225" cap="rnd">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37" name="Gerader Verbinder 136">
                <a:extLst>
                  <a:ext uri="{FF2B5EF4-FFF2-40B4-BE49-F238E27FC236}">
                    <a16:creationId xmlns:a16="http://schemas.microsoft.com/office/drawing/2014/main" id="{A0959570-F58A-4C00-AB3B-9C156F1C548A}"/>
                  </a:ext>
                </a:extLst>
              </p:cNvPr>
              <p:cNvCxnSpPr>
                <a:cxnSpLocks/>
              </p:cNvCxnSpPr>
              <p:nvPr/>
            </p:nvCxnSpPr>
            <p:spPr>
              <a:xfrm flipV="1">
                <a:off x="6772275" y="1594286"/>
                <a:ext cx="197324" cy="171784"/>
              </a:xfrm>
              <a:prstGeom prst="line">
                <a:avLst/>
              </a:prstGeom>
              <a:ln w="22225" cap="rnd">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38" name="Gerader Verbinder 137">
                <a:extLst>
                  <a:ext uri="{FF2B5EF4-FFF2-40B4-BE49-F238E27FC236}">
                    <a16:creationId xmlns:a16="http://schemas.microsoft.com/office/drawing/2014/main" id="{3F4E7418-80BF-4E28-B5ED-B75A4D476B34}"/>
                  </a:ext>
                </a:extLst>
              </p:cNvPr>
              <p:cNvCxnSpPr>
                <a:cxnSpLocks/>
              </p:cNvCxnSpPr>
              <p:nvPr/>
            </p:nvCxnSpPr>
            <p:spPr>
              <a:xfrm flipV="1">
                <a:off x="6981537" y="1419235"/>
                <a:ext cx="0" cy="761990"/>
              </a:xfrm>
              <a:prstGeom prst="line">
                <a:avLst/>
              </a:prstGeom>
              <a:ln w="22225" cap="rnd">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39" name="Gerader Verbinder 138">
                <a:extLst>
                  <a:ext uri="{FF2B5EF4-FFF2-40B4-BE49-F238E27FC236}">
                    <a16:creationId xmlns:a16="http://schemas.microsoft.com/office/drawing/2014/main" id="{458F029D-5601-4B14-A722-26E9AE5B6345}"/>
                  </a:ext>
                </a:extLst>
              </p:cNvPr>
              <p:cNvCxnSpPr>
                <a:cxnSpLocks/>
              </p:cNvCxnSpPr>
              <p:nvPr/>
            </p:nvCxnSpPr>
            <p:spPr>
              <a:xfrm>
                <a:off x="6868144" y="2182738"/>
                <a:ext cx="1113806" cy="0"/>
              </a:xfrm>
              <a:prstGeom prst="line">
                <a:avLst/>
              </a:prstGeom>
              <a:ln w="22225" cap="rnd">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40" name="Gerader Verbinder 139">
                <a:extLst>
                  <a:ext uri="{FF2B5EF4-FFF2-40B4-BE49-F238E27FC236}">
                    <a16:creationId xmlns:a16="http://schemas.microsoft.com/office/drawing/2014/main" id="{A625A3B0-68A3-4A9F-8652-9307518C8E79}"/>
                  </a:ext>
                </a:extLst>
              </p:cNvPr>
              <p:cNvCxnSpPr>
                <a:cxnSpLocks/>
              </p:cNvCxnSpPr>
              <p:nvPr/>
            </p:nvCxnSpPr>
            <p:spPr>
              <a:xfrm flipV="1">
                <a:off x="6868144" y="1800230"/>
                <a:ext cx="0" cy="380995"/>
              </a:xfrm>
              <a:prstGeom prst="line">
                <a:avLst/>
              </a:prstGeom>
              <a:ln w="22225" cap="rnd">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41" name="Gerader Verbinder 140">
                <a:extLst>
                  <a:ext uri="{FF2B5EF4-FFF2-40B4-BE49-F238E27FC236}">
                    <a16:creationId xmlns:a16="http://schemas.microsoft.com/office/drawing/2014/main" id="{8BCB60D7-9D3B-427A-B925-C6BF65FD79D3}"/>
                  </a:ext>
                </a:extLst>
              </p:cNvPr>
              <p:cNvCxnSpPr>
                <a:cxnSpLocks/>
              </p:cNvCxnSpPr>
              <p:nvPr/>
            </p:nvCxnSpPr>
            <p:spPr>
              <a:xfrm flipV="1">
                <a:off x="7867362" y="1419235"/>
                <a:ext cx="0" cy="761990"/>
              </a:xfrm>
              <a:prstGeom prst="line">
                <a:avLst/>
              </a:prstGeom>
              <a:ln w="22225" cap="rnd">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42" name="Gerader Verbinder 141">
                <a:extLst>
                  <a:ext uri="{FF2B5EF4-FFF2-40B4-BE49-F238E27FC236}">
                    <a16:creationId xmlns:a16="http://schemas.microsoft.com/office/drawing/2014/main" id="{516D4114-389C-4294-A6CA-BDA83518FA06}"/>
                  </a:ext>
                </a:extLst>
              </p:cNvPr>
              <p:cNvCxnSpPr>
                <a:cxnSpLocks/>
              </p:cNvCxnSpPr>
              <p:nvPr/>
            </p:nvCxnSpPr>
            <p:spPr>
              <a:xfrm flipV="1">
                <a:off x="7981950" y="1800229"/>
                <a:ext cx="0" cy="380995"/>
              </a:xfrm>
              <a:prstGeom prst="line">
                <a:avLst/>
              </a:prstGeom>
              <a:ln w="22225" cap="rnd">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43" name="Gerader Verbinder 142">
                <a:extLst>
                  <a:ext uri="{FF2B5EF4-FFF2-40B4-BE49-F238E27FC236}">
                    <a16:creationId xmlns:a16="http://schemas.microsoft.com/office/drawing/2014/main" id="{9770FEB8-30D5-43E5-801D-25047FF43628}"/>
                  </a:ext>
                </a:extLst>
              </p:cNvPr>
              <p:cNvCxnSpPr>
                <a:cxnSpLocks/>
              </p:cNvCxnSpPr>
              <p:nvPr/>
            </p:nvCxnSpPr>
            <p:spPr>
              <a:xfrm>
                <a:off x="7879525" y="1594286"/>
                <a:ext cx="192912" cy="171784"/>
              </a:xfrm>
              <a:prstGeom prst="line">
                <a:avLst/>
              </a:prstGeom>
              <a:ln w="22225" cap="rnd">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44" name="Gerader Verbinder 143">
                <a:extLst>
                  <a:ext uri="{FF2B5EF4-FFF2-40B4-BE49-F238E27FC236}">
                    <a16:creationId xmlns:a16="http://schemas.microsoft.com/office/drawing/2014/main" id="{EED69EF6-1528-4B28-9462-AB783BE1EC6B}"/>
                  </a:ext>
                </a:extLst>
              </p:cNvPr>
              <p:cNvCxnSpPr>
                <a:cxnSpLocks/>
              </p:cNvCxnSpPr>
              <p:nvPr/>
            </p:nvCxnSpPr>
            <p:spPr>
              <a:xfrm flipV="1">
                <a:off x="7315100" y="1813062"/>
                <a:ext cx="0" cy="355328"/>
              </a:xfrm>
              <a:prstGeom prst="line">
                <a:avLst/>
              </a:prstGeom>
              <a:ln w="22225" cap="rnd">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45" name="Gerader Verbinder 144">
                <a:extLst>
                  <a:ext uri="{FF2B5EF4-FFF2-40B4-BE49-F238E27FC236}">
                    <a16:creationId xmlns:a16="http://schemas.microsoft.com/office/drawing/2014/main" id="{3091FAB8-57D6-4E4D-968C-7E7B7B6C6EC8}"/>
                  </a:ext>
                </a:extLst>
              </p:cNvPr>
              <p:cNvCxnSpPr>
                <a:cxnSpLocks/>
              </p:cNvCxnSpPr>
              <p:nvPr/>
            </p:nvCxnSpPr>
            <p:spPr>
              <a:xfrm>
                <a:off x="7315100" y="1796217"/>
                <a:ext cx="200125" cy="0"/>
              </a:xfrm>
              <a:prstGeom prst="line">
                <a:avLst/>
              </a:prstGeom>
              <a:ln w="22225" cap="rnd">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46" name="Gerader Verbinder 145">
                <a:extLst>
                  <a:ext uri="{FF2B5EF4-FFF2-40B4-BE49-F238E27FC236}">
                    <a16:creationId xmlns:a16="http://schemas.microsoft.com/office/drawing/2014/main" id="{ECA53A2D-47EE-4065-A061-0C822B9EAC2C}"/>
                  </a:ext>
                </a:extLst>
              </p:cNvPr>
              <p:cNvCxnSpPr>
                <a:cxnSpLocks/>
              </p:cNvCxnSpPr>
              <p:nvPr/>
            </p:nvCxnSpPr>
            <p:spPr>
              <a:xfrm flipV="1">
                <a:off x="7515225" y="1803537"/>
                <a:ext cx="0" cy="377687"/>
              </a:xfrm>
              <a:prstGeom prst="line">
                <a:avLst/>
              </a:prstGeom>
              <a:ln w="22225" cap="rnd">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147" name="Textfeld 146">
                <a:extLst>
                  <a:ext uri="{FF2B5EF4-FFF2-40B4-BE49-F238E27FC236}">
                    <a16:creationId xmlns:a16="http://schemas.microsoft.com/office/drawing/2014/main" id="{15B1384E-3440-4679-84C9-AC48698C2E6F}"/>
                  </a:ext>
                </a:extLst>
              </p:cNvPr>
              <p:cNvSpPr txBox="1"/>
              <p:nvPr/>
            </p:nvSpPr>
            <p:spPr>
              <a:xfrm>
                <a:off x="7139681" y="982284"/>
                <a:ext cx="278056" cy="783788"/>
              </a:xfrm>
              <a:prstGeom prst="rect">
                <a:avLst/>
              </a:prstGeom>
              <a:noFill/>
            </p:spPr>
            <p:txBody>
              <a:bodyPr wrap="square" rtlCol="0">
                <a:spAutoFit/>
              </a:bodyPr>
              <a:lstStyle/>
              <a:p>
                <a:r>
                  <a:rPr lang="de-DE" sz="1400" b="1">
                    <a:solidFill>
                      <a:schemeClr val="tx1">
                        <a:lumMod val="65000"/>
                        <a:lumOff val="35000"/>
                      </a:schemeClr>
                    </a:solidFill>
                  </a:rPr>
                  <a:t>+</a:t>
                </a:r>
                <a:endParaRPr lang="en-DE" sz="1400" b="1">
                  <a:solidFill>
                    <a:schemeClr val="tx1">
                      <a:lumMod val="65000"/>
                      <a:lumOff val="35000"/>
                    </a:schemeClr>
                  </a:solidFill>
                </a:endParaRPr>
              </a:p>
            </p:txBody>
          </p:sp>
        </p:grpSp>
        <p:sp>
          <p:nvSpPr>
            <p:cNvPr id="132" name="Bogen 131">
              <a:extLst>
                <a:ext uri="{FF2B5EF4-FFF2-40B4-BE49-F238E27FC236}">
                  <a16:creationId xmlns:a16="http://schemas.microsoft.com/office/drawing/2014/main" id="{4A091122-3808-4101-A4AD-3450D636051E}"/>
                </a:ext>
              </a:extLst>
            </p:cNvPr>
            <p:cNvSpPr/>
            <p:nvPr/>
          </p:nvSpPr>
          <p:spPr>
            <a:xfrm rot="17564071">
              <a:off x="10246445" y="4642453"/>
              <a:ext cx="583496" cy="438191"/>
            </a:xfrm>
            <a:prstGeom prst="arc">
              <a:avLst>
                <a:gd name="adj1" fmla="val 17750698"/>
                <a:gd name="adj2" fmla="val 21413481"/>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DE"/>
            </a:p>
          </p:txBody>
        </p:sp>
        <p:sp>
          <p:nvSpPr>
            <p:cNvPr id="133" name="Bogen 132">
              <a:extLst>
                <a:ext uri="{FF2B5EF4-FFF2-40B4-BE49-F238E27FC236}">
                  <a16:creationId xmlns:a16="http://schemas.microsoft.com/office/drawing/2014/main" id="{D44CB2C2-FBE5-4BD4-9B20-BE7247FDF119}"/>
                </a:ext>
              </a:extLst>
            </p:cNvPr>
            <p:cNvSpPr/>
            <p:nvPr/>
          </p:nvSpPr>
          <p:spPr>
            <a:xfrm rot="8870992">
              <a:off x="10352006" y="5048907"/>
              <a:ext cx="583496" cy="438191"/>
            </a:xfrm>
            <a:prstGeom prst="arc">
              <a:avLst>
                <a:gd name="adj1" fmla="val 17750698"/>
                <a:gd name="adj2" fmla="val 21413481"/>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DE"/>
            </a:p>
          </p:txBody>
        </p:sp>
        <p:sp>
          <p:nvSpPr>
            <p:cNvPr id="134" name="Bogen 133">
              <a:extLst>
                <a:ext uri="{FF2B5EF4-FFF2-40B4-BE49-F238E27FC236}">
                  <a16:creationId xmlns:a16="http://schemas.microsoft.com/office/drawing/2014/main" id="{D6C76444-C10D-4AB4-AAE3-837ABC8B96DF}"/>
                </a:ext>
              </a:extLst>
            </p:cNvPr>
            <p:cNvSpPr/>
            <p:nvPr/>
          </p:nvSpPr>
          <p:spPr>
            <a:xfrm rot="3070263">
              <a:off x="10656088" y="4867666"/>
              <a:ext cx="583496" cy="438191"/>
            </a:xfrm>
            <a:prstGeom prst="arc">
              <a:avLst>
                <a:gd name="adj1" fmla="val 17750698"/>
                <a:gd name="adj2" fmla="val 21413481"/>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DE"/>
            </a:p>
          </p:txBody>
        </p:sp>
      </p:grpSp>
      <p:sp>
        <p:nvSpPr>
          <p:cNvPr id="151" name="Abgerundetes Rechteck 1">
            <a:extLst>
              <a:ext uri="{FF2B5EF4-FFF2-40B4-BE49-F238E27FC236}">
                <a16:creationId xmlns:a16="http://schemas.microsoft.com/office/drawing/2014/main" id="{37425649-E3A8-4059-84C7-3B511977BD25}"/>
              </a:ext>
            </a:extLst>
          </p:cNvPr>
          <p:cNvSpPr/>
          <p:nvPr/>
        </p:nvSpPr>
        <p:spPr>
          <a:xfrm>
            <a:off x="7093577" y="1753227"/>
            <a:ext cx="1969942" cy="2052582"/>
          </a:xfrm>
          <a:prstGeom prst="rect">
            <a:avLst/>
          </a:prstGeom>
          <a:solidFill>
            <a:schemeClr val="accent1">
              <a:lumMod val="60000"/>
              <a:lumOff val="40000"/>
              <a:alpha val="80467"/>
            </a:schemeClr>
          </a:solidFill>
          <a:ln>
            <a:noFill/>
          </a:ln>
          <a:effectLst>
            <a:outerShdw blurRad="50800" dist="103503" dir="2700000" algn="tl" rotWithShape="0">
              <a:schemeClr val="accent1">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2" name="Abgerundetes Rechteck 1">
            <a:extLst>
              <a:ext uri="{FF2B5EF4-FFF2-40B4-BE49-F238E27FC236}">
                <a16:creationId xmlns:a16="http://schemas.microsoft.com/office/drawing/2014/main" id="{CF729295-8374-4CA5-B960-27858E4E3DE7}"/>
              </a:ext>
            </a:extLst>
          </p:cNvPr>
          <p:cNvSpPr/>
          <p:nvPr/>
        </p:nvSpPr>
        <p:spPr>
          <a:xfrm>
            <a:off x="395115" y="1753227"/>
            <a:ext cx="1969942" cy="2052582"/>
          </a:xfrm>
          <a:prstGeom prst="rect">
            <a:avLst/>
          </a:prstGeom>
          <a:solidFill>
            <a:schemeClr val="accent1">
              <a:lumMod val="60000"/>
              <a:lumOff val="40000"/>
              <a:alpha val="80467"/>
            </a:schemeClr>
          </a:solidFill>
          <a:ln>
            <a:noFill/>
          </a:ln>
          <a:effectLst>
            <a:outerShdw blurRad="50800" dist="103503" dir="2700000" algn="tl" rotWithShape="0">
              <a:schemeClr val="accent1">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3" name="Textfeld 152">
            <a:extLst>
              <a:ext uri="{FF2B5EF4-FFF2-40B4-BE49-F238E27FC236}">
                <a16:creationId xmlns:a16="http://schemas.microsoft.com/office/drawing/2014/main" id="{7488CB00-E622-4A1C-BC59-604E5F3921C8}"/>
              </a:ext>
            </a:extLst>
          </p:cNvPr>
          <p:cNvSpPr txBox="1"/>
          <p:nvPr/>
        </p:nvSpPr>
        <p:spPr>
          <a:xfrm>
            <a:off x="561829" y="3202192"/>
            <a:ext cx="1583340" cy="523220"/>
          </a:xfrm>
          <a:prstGeom prst="rect">
            <a:avLst/>
          </a:prstGeom>
          <a:noFill/>
        </p:spPr>
        <p:txBody>
          <a:bodyPr wrap="square" rtlCol="0">
            <a:spAutoFit/>
          </a:bodyPr>
          <a:lstStyle/>
          <a:p>
            <a:pPr algn="ctr"/>
            <a:r>
              <a:rPr lang="de-DE" sz="1400" dirty="0">
                <a:solidFill>
                  <a:schemeClr val="bg1"/>
                </a:solidFill>
                <a:latin typeface="Montserrat Medium" panose="00000600000000000000" pitchFamily="2" charset="0"/>
              </a:rPr>
              <a:t>Papierloses Krankenhaus</a:t>
            </a:r>
            <a:endParaRPr lang="en-DE" sz="1400" dirty="0">
              <a:solidFill>
                <a:schemeClr val="bg1"/>
              </a:solidFill>
              <a:latin typeface="Montserrat Medium" panose="00000600000000000000" pitchFamily="2" charset="0"/>
            </a:endParaRPr>
          </a:p>
        </p:txBody>
      </p:sp>
      <p:sp>
        <p:nvSpPr>
          <p:cNvPr id="154" name="Abgerundetes Rechteck 1">
            <a:extLst>
              <a:ext uri="{FF2B5EF4-FFF2-40B4-BE49-F238E27FC236}">
                <a16:creationId xmlns:a16="http://schemas.microsoft.com/office/drawing/2014/main" id="{02E3EE9B-F810-4961-8520-BA0D0D02E7AF}"/>
              </a:ext>
            </a:extLst>
          </p:cNvPr>
          <p:cNvSpPr/>
          <p:nvPr/>
        </p:nvSpPr>
        <p:spPr>
          <a:xfrm>
            <a:off x="2636165" y="1753227"/>
            <a:ext cx="1969942" cy="2052582"/>
          </a:xfrm>
          <a:prstGeom prst="rect">
            <a:avLst/>
          </a:prstGeom>
          <a:solidFill>
            <a:schemeClr val="accent1">
              <a:lumMod val="60000"/>
              <a:lumOff val="40000"/>
              <a:alpha val="80467"/>
            </a:schemeClr>
          </a:solidFill>
          <a:ln>
            <a:noFill/>
          </a:ln>
          <a:effectLst>
            <a:outerShdw blurRad="50800" dist="103503" dir="2700000" algn="tl" rotWithShape="0">
              <a:schemeClr val="accent1">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5" name="Abgerundetes Rechteck 1">
            <a:extLst>
              <a:ext uri="{FF2B5EF4-FFF2-40B4-BE49-F238E27FC236}">
                <a16:creationId xmlns:a16="http://schemas.microsoft.com/office/drawing/2014/main" id="{89EE1BC3-DED5-4957-B75B-600CF2BDC067}"/>
              </a:ext>
            </a:extLst>
          </p:cNvPr>
          <p:cNvSpPr/>
          <p:nvPr/>
        </p:nvSpPr>
        <p:spPr>
          <a:xfrm>
            <a:off x="4864871" y="1753227"/>
            <a:ext cx="1969942" cy="2052582"/>
          </a:xfrm>
          <a:prstGeom prst="rect">
            <a:avLst/>
          </a:prstGeom>
          <a:solidFill>
            <a:schemeClr val="accent1">
              <a:lumMod val="60000"/>
              <a:lumOff val="40000"/>
              <a:alpha val="80467"/>
            </a:schemeClr>
          </a:solidFill>
          <a:ln>
            <a:noFill/>
          </a:ln>
          <a:effectLst>
            <a:outerShdw blurRad="50800" dist="103503" dir="2700000" algn="tl" rotWithShape="0">
              <a:schemeClr val="accent1">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6" name="Textfeld 155">
            <a:extLst>
              <a:ext uri="{FF2B5EF4-FFF2-40B4-BE49-F238E27FC236}">
                <a16:creationId xmlns:a16="http://schemas.microsoft.com/office/drawing/2014/main" id="{13A24334-5635-4799-9BCD-DC929230E31E}"/>
              </a:ext>
            </a:extLst>
          </p:cNvPr>
          <p:cNvSpPr txBox="1"/>
          <p:nvPr/>
        </p:nvSpPr>
        <p:spPr>
          <a:xfrm>
            <a:off x="6948206" y="3202192"/>
            <a:ext cx="2260683" cy="307777"/>
          </a:xfrm>
          <a:prstGeom prst="rect">
            <a:avLst/>
          </a:prstGeom>
          <a:noFill/>
        </p:spPr>
        <p:txBody>
          <a:bodyPr wrap="square" rtlCol="0">
            <a:spAutoFit/>
          </a:bodyPr>
          <a:lstStyle/>
          <a:p>
            <a:pPr algn="ctr"/>
            <a:r>
              <a:rPr lang="de-DE" sz="1400" dirty="0">
                <a:solidFill>
                  <a:schemeClr val="bg1"/>
                </a:solidFill>
                <a:latin typeface="Montserrat Medium" panose="00000600000000000000" pitchFamily="2" charset="0"/>
              </a:rPr>
              <a:t>Migration</a:t>
            </a:r>
          </a:p>
        </p:txBody>
      </p:sp>
      <p:sp>
        <p:nvSpPr>
          <p:cNvPr id="157" name="Textfeld 156">
            <a:extLst>
              <a:ext uri="{FF2B5EF4-FFF2-40B4-BE49-F238E27FC236}">
                <a16:creationId xmlns:a16="http://schemas.microsoft.com/office/drawing/2014/main" id="{E4402597-863E-47DF-A427-745F13B67B9B}"/>
              </a:ext>
            </a:extLst>
          </p:cNvPr>
          <p:cNvSpPr txBox="1"/>
          <p:nvPr/>
        </p:nvSpPr>
        <p:spPr>
          <a:xfrm>
            <a:off x="4983284" y="3202192"/>
            <a:ext cx="1695351" cy="523220"/>
          </a:xfrm>
          <a:prstGeom prst="rect">
            <a:avLst/>
          </a:prstGeom>
          <a:noFill/>
        </p:spPr>
        <p:txBody>
          <a:bodyPr wrap="square" rtlCol="0">
            <a:spAutoFit/>
          </a:bodyPr>
          <a:lstStyle/>
          <a:p>
            <a:pPr algn="ctr"/>
            <a:r>
              <a:rPr lang="de-DE" sz="1400" dirty="0">
                <a:solidFill>
                  <a:schemeClr val="bg1"/>
                </a:solidFill>
                <a:latin typeface="Montserrat Medium" panose="00000600000000000000" pitchFamily="2" charset="0"/>
              </a:rPr>
              <a:t>Rechtssichere Archivierung</a:t>
            </a:r>
            <a:endParaRPr lang="en-DE" sz="1400" dirty="0">
              <a:solidFill>
                <a:schemeClr val="bg1"/>
              </a:solidFill>
              <a:latin typeface="Montserrat Medium" panose="00000600000000000000" pitchFamily="2" charset="0"/>
            </a:endParaRPr>
          </a:p>
        </p:txBody>
      </p:sp>
      <p:sp>
        <p:nvSpPr>
          <p:cNvPr id="158" name="Textfeld 157">
            <a:extLst>
              <a:ext uri="{FF2B5EF4-FFF2-40B4-BE49-F238E27FC236}">
                <a16:creationId xmlns:a16="http://schemas.microsoft.com/office/drawing/2014/main" id="{98781171-21AF-4CCF-8751-CE1FE2828E97}"/>
              </a:ext>
            </a:extLst>
          </p:cNvPr>
          <p:cNvSpPr txBox="1"/>
          <p:nvPr/>
        </p:nvSpPr>
        <p:spPr>
          <a:xfrm>
            <a:off x="2757727" y="3121982"/>
            <a:ext cx="1729011" cy="738664"/>
          </a:xfrm>
          <a:prstGeom prst="rect">
            <a:avLst/>
          </a:prstGeom>
          <a:noFill/>
        </p:spPr>
        <p:txBody>
          <a:bodyPr wrap="square" rtlCol="0">
            <a:spAutoFit/>
          </a:bodyPr>
          <a:lstStyle/>
          <a:p>
            <a:pPr algn="ctr"/>
            <a:r>
              <a:rPr lang="en-US" sz="1400" dirty="0">
                <a:solidFill>
                  <a:schemeClr val="bg1"/>
                </a:solidFill>
                <a:latin typeface="Montserrat Medium" panose="00000600000000000000" pitchFamily="2" charset="0"/>
              </a:rPr>
              <a:t>Zentralisation und Datenaustausch</a:t>
            </a:r>
            <a:endParaRPr lang="en-DE" sz="1400" dirty="0">
              <a:solidFill>
                <a:schemeClr val="bg1"/>
              </a:solidFill>
              <a:latin typeface="Montserrat Medium" panose="00000600000000000000" pitchFamily="2" charset="0"/>
            </a:endParaRPr>
          </a:p>
        </p:txBody>
      </p:sp>
      <p:sp>
        <p:nvSpPr>
          <p:cNvPr id="159" name="Abgerundetes Rechteck 1">
            <a:extLst>
              <a:ext uri="{FF2B5EF4-FFF2-40B4-BE49-F238E27FC236}">
                <a16:creationId xmlns:a16="http://schemas.microsoft.com/office/drawing/2014/main" id="{E850E4C1-1D24-4E7C-A1A1-0FA11AD5C389}"/>
              </a:ext>
            </a:extLst>
          </p:cNvPr>
          <p:cNvSpPr/>
          <p:nvPr/>
        </p:nvSpPr>
        <p:spPr>
          <a:xfrm>
            <a:off x="9337741" y="1753227"/>
            <a:ext cx="1969942" cy="2052582"/>
          </a:xfrm>
          <a:prstGeom prst="rect">
            <a:avLst/>
          </a:prstGeom>
          <a:solidFill>
            <a:schemeClr val="accent1">
              <a:lumMod val="60000"/>
              <a:lumOff val="40000"/>
              <a:alpha val="80467"/>
            </a:schemeClr>
          </a:solidFill>
          <a:ln>
            <a:noFill/>
          </a:ln>
          <a:effectLst>
            <a:outerShdw blurRad="50800" dist="103503" dir="2700000" algn="tl" rotWithShape="0">
              <a:schemeClr val="accent1">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0" name="Textfeld 159">
            <a:extLst>
              <a:ext uri="{FF2B5EF4-FFF2-40B4-BE49-F238E27FC236}">
                <a16:creationId xmlns:a16="http://schemas.microsoft.com/office/drawing/2014/main" id="{FCCF9061-51DD-49BC-BAE5-914D2854B2D8}"/>
              </a:ext>
            </a:extLst>
          </p:cNvPr>
          <p:cNvSpPr txBox="1"/>
          <p:nvPr/>
        </p:nvSpPr>
        <p:spPr>
          <a:xfrm>
            <a:off x="9227107" y="3202978"/>
            <a:ext cx="2260683" cy="307777"/>
          </a:xfrm>
          <a:prstGeom prst="rect">
            <a:avLst/>
          </a:prstGeom>
          <a:noFill/>
        </p:spPr>
        <p:txBody>
          <a:bodyPr wrap="square" rtlCol="0">
            <a:spAutoFit/>
          </a:bodyPr>
          <a:lstStyle/>
          <a:p>
            <a:pPr algn="ctr"/>
            <a:r>
              <a:rPr lang="de-DE" sz="1400">
                <a:solidFill>
                  <a:schemeClr val="bg1"/>
                </a:solidFill>
                <a:latin typeface="Montserrat Medium" panose="00000600000000000000" pitchFamily="2" charset="0"/>
              </a:rPr>
              <a:t>Workflows</a:t>
            </a:r>
            <a:endParaRPr lang="en-DE" sz="1400">
              <a:solidFill>
                <a:schemeClr val="bg1"/>
              </a:solidFill>
              <a:latin typeface="Montserrat Medium" panose="00000600000000000000" pitchFamily="2" charset="0"/>
            </a:endParaRPr>
          </a:p>
        </p:txBody>
      </p:sp>
      <p:pic>
        <p:nvPicPr>
          <p:cNvPr id="161" name="Grafik 160" descr="Senden mit einfarbiger Füllung">
            <a:extLst>
              <a:ext uri="{FF2B5EF4-FFF2-40B4-BE49-F238E27FC236}">
                <a16:creationId xmlns:a16="http://schemas.microsoft.com/office/drawing/2014/main" id="{5E7594B8-22BF-484C-9451-11618323288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74552" y="2113773"/>
            <a:ext cx="914400" cy="914400"/>
          </a:xfrm>
          <a:prstGeom prst="rect">
            <a:avLst/>
          </a:prstGeom>
        </p:spPr>
      </p:pic>
      <p:pic>
        <p:nvPicPr>
          <p:cNvPr id="162" name="Grafik 161" descr="Schild Häkchen mit einfarbiger Füllung">
            <a:extLst>
              <a:ext uri="{FF2B5EF4-FFF2-40B4-BE49-F238E27FC236}">
                <a16:creationId xmlns:a16="http://schemas.microsoft.com/office/drawing/2014/main" id="{41939966-E0AF-4D45-B8AA-EED7DFA123AB}"/>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417803" y="2165421"/>
            <a:ext cx="914400" cy="914400"/>
          </a:xfrm>
          <a:prstGeom prst="rect">
            <a:avLst/>
          </a:prstGeom>
        </p:spPr>
      </p:pic>
      <p:grpSp>
        <p:nvGrpSpPr>
          <p:cNvPr id="163" name="Gruppieren 162">
            <a:extLst>
              <a:ext uri="{FF2B5EF4-FFF2-40B4-BE49-F238E27FC236}">
                <a16:creationId xmlns:a16="http://schemas.microsoft.com/office/drawing/2014/main" id="{4F3546DE-DBB0-4657-92A1-F6869DA9C9A4}"/>
              </a:ext>
            </a:extLst>
          </p:cNvPr>
          <p:cNvGrpSpPr/>
          <p:nvPr/>
        </p:nvGrpSpPr>
        <p:grpSpPr>
          <a:xfrm>
            <a:off x="9701102" y="2120032"/>
            <a:ext cx="1227553" cy="1000221"/>
            <a:chOff x="9855918" y="1717701"/>
            <a:chExt cx="1227553" cy="1000221"/>
          </a:xfrm>
        </p:grpSpPr>
        <p:pic>
          <p:nvPicPr>
            <p:cNvPr id="164" name="Grafik 163" descr="Puzzleteile mit einfarbiger Füllung">
              <a:extLst>
                <a:ext uri="{FF2B5EF4-FFF2-40B4-BE49-F238E27FC236}">
                  <a16:creationId xmlns:a16="http://schemas.microsoft.com/office/drawing/2014/main" id="{6B993CB9-70EA-4218-8DBA-AB9D3703B088}"/>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052973" y="1764669"/>
              <a:ext cx="914400" cy="914400"/>
            </a:xfrm>
            <a:prstGeom prst="rect">
              <a:avLst/>
            </a:prstGeom>
          </p:spPr>
        </p:pic>
        <p:sp>
          <p:nvSpPr>
            <p:cNvPr id="165" name="Kreis: nicht ausgefüllt 164">
              <a:extLst>
                <a:ext uri="{FF2B5EF4-FFF2-40B4-BE49-F238E27FC236}">
                  <a16:creationId xmlns:a16="http://schemas.microsoft.com/office/drawing/2014/main" id="{021EAACC-AAF4-4489-8F2A-2CE7733BCEBC}"/>
                </a:ext>
              </a:extLst>
            </p:cNvPr>
            <p:cNvSpPr/>
            <p:nvPr/>
          </p:nvSpPr>
          <p:spPr>
            <a:xfrm>
              <a:off x="9925887" y="1717701"/>
              <a:ext cx="1078072" cy="1000221"/>
            </a:xfrm>
            <a:prstGeom prst="donut">
              <a:avLst>
                <a:gd name="adj" fmla="val 3565"/>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solidFill>
                  <a:schemeClr val="tx1"/>
                </a:solidFill>
              </a:endParaRPr>
            </a:p>
          </p:txBody>
        </p:sp>
        <p:sp>
          <p:nvSpPr>
            <p:cNvPr id="166" name="Pfeil: nach unten 165">
              <a:extLst>
                <a:ext uri="{FF2B5EF4-FFF2-40B4-BE49-F238E27FC236}">
                  <a16:creationId xmlns:a16="http://schemas.microsoft.com/office/drawing/2014/main" id="{0EB171A0-E7E6-4A40-A4A1-4603A4DDD4F1}"/>
                </a:ext>
              </a:extLst>
            </p:cNvPr>
            <p:cNvSpPr/>
            <p:nvPr/>
          </p:nvSpPr>
          <p:spPr>
            <a:xfrm>
              <a:off x="9855918" y="2148201"/>
              <a:ext cx="206199" cy="259966"/>
            </a:xfrm>
            <a:prstGeom prst="downArrow">
              <a:avLst>
                <a:gd name="adj1" fmla="val 0"/>
                <a:gd name="adj2" fmla="val 64070"/>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167" name="Pfeil: nach unten 166">
              <a:extLst>
                <a:ext uri="{FF2B5EF4-FFF2-40B4-BE49-F238E27FC236}">
                  <a16:creationId xmlns:a16="http://schemas.microsoft.com/office/drawing/2014/main" id="{D602231F-990B-4B14-B62A-E6735837BFAD}"/>
                </a:ext>
              </a:extLst>
            </p:cNvPr>
            <p:cNvSpPr/>
            <p:nvPr/>
          </p:nvSpPr>
          <p:spPr>
            <a:xfrm rot="10800000">
              <a:off x="10877272" y="2079007"/>
              <a:ext cx="206199" cy="259966"/>
            </a:xfrm>
            <a:prstGeom prst="downArrow">
              <a:avLst>
                <a:gd name="adj1" fmla="val 0"/>
                <a:gd name="adj2" fmla="val 64070"/>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grpSp>
      <p:grpSp>
        <p:nvGrpSpPr>
          <p:cNvPr id="168" name="Gruppieren 167">
            <a:extLst>
              <a:ext uri="{FF2B5EF4-FFF2-40B4-BE49-F238E27FC236}">
                <a16:creationId xmlns:a16="http://schemas.microsoft.com/office/drawing/2014/main" id="{0E396D68-A251-4B9C-A69D-57F6CD697D96}"/>
              </a:ext>
            </a:extLst>
          </p:cNvPr>
          <p:cNvGrpSpPr/>
          <p:nvPr/>
        </p:nvGrpSpPr>
        <p:grpSpPr>
          <a:xfrm>
            <a:off x="3087359" y="2083811"/>
            <a:ext cx="1015235" cy="979811"/>
            <a:chOff x="3120690" y="1609391"/>
            <a:chExt cx="1015235" cy="979811"/>
          </a:xfrm>
        </p:grpSpPr>
        <p:sp>
          <p:nvSpPr>
            <p:cNvPr id="169" name="Freeform 66">
              <a:extLst>
                <a:ext uri="{FF2B5EF4-FFF2-40B4-BE49-F238E27FC236}">
                  <a16:creationId xmlns:a16="http://schemas.microsoft.com/office/drawing/2014/main" id="{305F9B3F-546C-42C4-8D29-B8890EF3B82B}"/>
                </a:ext>
              </a:extLst>
            </p:cNvPr>
            <p:cNvSpPr>
              <a:spLocks noEditPoints="1"/>
            </p:cNvSpPr>
            <p:nvPr/>
          </p:nvSpPr>
          <p:spPr bwMode="auto">
            <a:xfrm>
              <a:off x="3530385" y="2047875"/>
              <a:ext cx="201338" cy="287108"/>
            </a:xfrm>
            <a:custGeom>
              <a:avLst/>
              <a:gdLst>
                <a:gd name="T0" fmla="*/ 2147483646 w 55"/>
                <a:gd name="T1" fmla="*/ 2147483646 h 64"/>
                <a:gd name="T2" fmla="*/ 2147483646 w 55"/>
                <a:gd name="T3" fmla="*/ 2147483646 h 64"/>
                <a:gd name="T4" fmla="*/ 2147483646 w 55"/>
                <a:gd name="T5" fmla="*/ 2147483646 h 64"/>
                <a:gd name="T6" fmla="*/ 0 w 55"/>
                <a:gd name="T7" fmla="*/ 2147483646 h 64"/>
                <a:gd name="T8" fmla="*/ 0 w 55"/>
                <a:gd name="T9" fmla="*/ 2147483646 h 64"/>
                <a:gd name="T10" fmla="*/ 2147483646 w 55"/>
                <a:gd name="T11" fmla="*/ 0 h 64"/>
                <a:gd name="T12" fmla="*/ 2147483646 w 55"/>
                <a:gd name="T13" fmla="*/ 2147483646 h 64"/>
                <a:gd name="T14" fmla="*/ 2147483646 w 55"/>
                <a:gd name="T15" fmla="*/ 2147483646 h 64"/>
                <a:gd name="T16" fmla="*/ 2147483646 w 55"/>
                <a:gd name="T17" fmla="*/ 2147483646 h 64"/>
                <a:gd name="T18" fmla="*/ 2147483646 w 55"/>
                <a:gd name="T19" fmla="*/ 2147483646 h 64"/>
                <a:gd name="T20" fmla="*/ 0 w 55"/>
                <a:gd name="T21" fmla="*/ 2147483646 h 64"/>
                <a:gd name="T22" fmla="*/ 0 w 55"/>
                <a:gd name="T23" fmla="*/ 2147483646 h 64"/>
                <a:gd name="T24" fmla="*/ 2147483646 w 55"/>
                <a:gd name="T25" fmla="*/ 2147483646 h 64"/>
                <a:gd name="T26" fmla="*/ 2147483646 w 55"/>
                <a:gd name="T27" fmla="*/ 2147483646 h 64"/>
                <a:gd name="T28" fmla="*/ 2147483646 w 55"/>
                <a:gd name="T29" fmla="*/ 2147483646 h 64"/>
                <a:gd name="T30" fmla="*/ 2147483646 w 55"/>
                <a:gd name="T31" fmla="*/ 2147483646 h 64"/>
                <a:gd name="T32" fmla="*/ 2147483646 w 55"/>
                <a:gd name="T33" fmla="*/ 2147483646 h 64"/>
                <a:gd name="T34" fmla="*/ 0 w 55"/>
                <a:gd name="T35" fmla="*/ 2147483646 h 64"/>
                <a:gd name="T36" fmla="*/ 0 w 55"/>
                <a:gd name="T37" fmla="*/ 2147483646 h 64"/>
                <a:gd name="T38" fmla="*/ 2147483646 w 55"/>
                <a:gd name="T39" fmla="*/ 2147483646 h 64"/>
                <a:gd name="T40" fmla="*/ 2147483646 w 55"/>
                <a:gd name="T41" fmla="*/ 2147483646 h 64"/>
                <a:gd name="T42" fmla="*/ 2147483646 w 55"/>
                <a:gd name="T43" fmla="*/ 2147483646 h 64"/>
                <a:gd name="T44" fmla="*/ 2147483646 w 55"/>
                <a:gd name="T45" fmla="*/ 2147483646 h 64"/>
                <a:gd name="T46" fmla="*/ 2147483646 w 55"/>
                <a:gd name="T47" fmla="*/ 2147483646 h 64"/>
                <a:gd name="T48" fmla="*/ 0 w 55"/>
                <a:gd name="T49" fmla="*/ 2147483646 h 64"/>
                <a:gd name="T50" fmla="*/ 0 w 55"/>
                <a:gd name="T51" fmla="*/ 2147483646 h 64"/>
                <a:gd name="T52" fmla="*/ 2147483646 w 55"/>
                <a:gd name="T53" fmla="*/ 2147483646 h 64"/>
                <a:gd name="T54" fmla="*/ 2147483646 w 55"/>
                <a:gd name="T55" fmla="*/ 2147483646 h 6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55" h="64">
                  <a:moveTo>
                    <a:pt x="55" y="9"/>
                  </a:moveTo>
                  <a:cubicBezTo>
                    <a:pt x="55" y="14"/>
                    <a:pt x="55" y="14"/>
                    <a:pt x="55" y="14"/>
                  </a:cubicBezTo>
                  <a:cubicBezTo>
                    <a:pt x="55" y="19"/>
                    <a:pt x="42" y="23"/>
                    <a:pt x="27" y="23"/>
                  </a:cubicBezTo>
                  <a:cubicBezTo>
                    <a:pt x="12" y="23"/>
                    <a:pt x="0" y="19"/>
                    <a:pt x="0" y="14"/>
                  </a:cubicBezTo>
                  <a:cubicBezTo>
                    <a:pt x="0" y="9"/>
                    <a:pt x="0" y="9"/>
                    <a:pt x="0" y="9"/>
                  </a:cubicBezTo>
                  <a:cubicBezTo>
                    <a:pt x="0" y="4"/>
                    <a:pt x="12" y="0"/>
                    <a:pt x="27" y="0"/>
                  </a:cubicBezTo>
                  <a:cubicBezTo>
                    <a:pt x="42" y="0"/>
                    <a:pt x="55" y="4"/>
                    <a:pt x="55" y="9"/>
                  </a:cubicBezTo>
                  <a:close/>
                  <a:moveTo>
                    <a:pt x="55" y="21"/>
                  </a:moveTo>
                  <a:cubicBezTo>
                    <a:pt x="55" y="27"/>
                    <a:pt x="55" y="27"/>
                    <a:pt x="55" y="27"/>
                  </a:cubicBezTo>
                  <a:cubicBezTo>
                    <a:pt x="55" y="32"/>
                    <a:pt x="42" y="37"/>
                    <a:pt x="27" y="37"/>
                  </a:cubicBezTo>
                  <a:cubicBezTo>
                    <a:pt x="12" y="37"/>
                    <a:pt x="0" y="32"/>
                    <a:pt x="0" y="27"/>
                  </a:cubicBezTo>
                  <a:cubicBezTo>
                    <a:pt x="0" y="21"/>
                    <a:pt x="0" y="21"/>
                    <a:pt x="0" y="21"/>
                  </a:cubicBezTo>
                  <a:cubicBezTo>
                    <a:pt x="6" y="25"/>
                    <a:pt x="16" y="27"/>
                    <a:pt x="27" y="27"/>
                  </a:cubicBezTo>
                  <a:cubicBezTo>
                    <a:pt x="38" y="27"/>
                    <a:pt x="49" y="25"/>
                    <a:pt x="55" y="21"/>
                  </a:cubicBezTo>
                  <a:close/>
                  <a:moveTo>
                    <a:pt x="55" y="35"/>
                  </a:moveTo>
                  <a:cubicBezTo>
                    <a:pt x="55" y="41"/>
                    <a:pt x="55" y="41"/>
                    <a:pt x="55" y="41"/>
                  </a:cubicBezTo>
                  <a:cubicBezTo>
                    <a:pt x="55" y="46"/>
                    <a:pt x="42" y="50"/>
                    <a:pt x="27" y="50"/>
                  </a:cubicBezTo>
                  <a:cubicBezTo>
                    <a:pt x="12" y="50"/>
                    <a:pt x="0" y="46"/>
                    <a:pt x="0" y="41"/>
                  </a:cubicBezTo>
                  <a:cubicBezTo>
                    <a:pt x="0" y="35"/>
                    <a:pt x="0" y="35"/>
                    <a:pt x="0" y="35"/>
                  </a:cubicBezTo>
                  <a:cubicBezTo>
                    <a:pt x="6" y="39"/>
                    <a:pt x="16" y="41"/>
                    <a:pt x="27" y="41"/>
                  </a:cubicBezTo>
                  <a:cubicBezTo>
                    <a:pt x="38" y="41"/>
                    <a:pt x="49" y="39"/>
                    <a:pt x="55" y="35"/>
                  </a:cubicBezTo>
                  <a:close/>
                  <a:moveTo>
                    <a:pt x="55" y="49"/>
                  </a:moveTo>
                  <a:cubicBezTo>
                    <a:pt x="55" y="55"/>
                    <a:pt x="55" y="55"/>
                    <a:pt x="55" y="55"/>
                  </a:cubicBezTo>
                  <a:cubicBezTo>
                    <a:pt x="55" y="60"/>
                    <a:pt x="42" y="64"/>
                    <a:pt x="27" y="64"/>
                  </a:cubicBezTo>
                  <a:cubicBezTo>
                    <a:pt x="12" y="64"/>
                    <a:pt x="0" y="60"/>
                    <a:pt x="0" y="55"/>
                  </a:cubicBezTo>
                  <a:cubicBezTo>
                    <a:pt x="0" y="49"/>
                    <a:pt x="0" y="49"/>
                    <a:pt x="0" y="49"/>
                  </a:cubicBezTo>
                  <a:cubicBezTo>
                    <a:pt x="6" y="53"/>
                    <a:pt x="16" y="55"/>
                    <a:pt x="27" y="55"/>
                  </a:cubicBezTo>
                  <a:cubicBezTo>
                    <a:pt x="38" y="55"/>
                    <a:pt x="49" y="53"/>
                    <a:pt x="55" y="49"/>
                  </a:cubicBezTo>
                  <a:close/>
                </a:path>
              </a:pathLst>
            </a:custGeom>
            <a:solidFill>
              <a:schemeClr val="accent1">
                <a:lumMod val="50000"/>
              </a:schemeClr>
            </a:solidFill>
            <a:ln>
              <a:noFill/>
            </a:ln>
          </p:spPr>
          <p:txBody>
            <a:bodyPr lIns="243797" tIns="121899" rIns="243797" bIns="121899"/>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a:ln>
                  <a:noFill/>
                </a:ln>
                <a:solidFill>
                  <a:srgbClr val="000000"/>
                </a:solidFill>
                <a:effectLst/>
                <a:uLnTx/>
                <a:uFillTx/>
                <a:latin typeface="Montserrat" panose="00000500000000000000" pitchFamily="2" charset="0"/>
              </a:endParaRPr>
            </a:p>
          </p:txBody>
        </p:sp>
        <p:cxnSp>
          <p:nvCxnSpPr>
            <p:cNvPr id="170" name="Gerader Verbinder 169">
              <a:extLst>
                <a:ext uri="{FF2B5EF4-FFF2-40B4-BE49-F238E27FC236}">
                  <a16:creationId xmlns:a16="http://schemas.microsoft.com/office/drawing/2014/main" id="{B536B6E8-BF53-4167-AC5D-9A1A60F36F88}"/>
                </a:ext>
              </a:extLst>
            </p:cNvPr>
            <p:cNvCxnSpPr>
              <a:cxnSpLocks/>
            </p:cNvCxnSpPr>
            <p:nvPr/>
          </p:nvCxnSpPr>
          <p:spPr>
            <a:xfrm>
              <a:off x="3281941" y="1793911"/>
              <a:ext cx="220885" cy="215456"/>
            </a:xfrm>
            <a:prstGeom prst="line">
              <a:avLst/>
            </a:prstGeom>
            <a:ln>
              <a:solidFill>
                <a:schemeClr val="tx2">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71" name="Gerader Verbinder 170">
              <a:extLst>
                <a:ext uri="{FF2B5EF4-FFF2-40B4-BE49-F238E27FC236}">
                  <a16:creationId xmlns:a16="http://schemas.microsoft.com/office/drawing/2014/main" id="{FAC14A8C-57BE-4F04-B38A-30C0C15ED1DD}"/>
                </a:ext>
              </a:extLst>
            </p:cNvPr>
            <p:cNvCxnSpPr>
              <a:cxnSpLocks/>
            </p:cNvCxnSpPr>
            <p:nvPr/>
          </p:nvCxnSpPr>
          <p:spPr>
            <a:xfrm flipH="1">
              <a:off x="3272868" y="2381801"/>
              <a:ext cx="177471" cy="82882"/>
            </a:xfrm>
            <a:prstGeom prst="line">
              <a:avLst/>
            </a:prstGeom>
            <a:ln>
              <a:solidFill>
                <a:schemeClr val="tx2">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72" name="Gerader Verbinder 171">
              <a:extLst>
                <a:ext uri="{FF2B5EF4-FFF2-40B4-BE49-F238E27FC236}">
                  <a16:creationId xmlns:a16="http://schemas.microsoft.com/office/drawing/2014/main" id="{3C924DE5-03F7-4D13-91D4-61A5376A048E}"/>
                </a:ext>
              </a:extLst>
            </p:cNvPr>
            <p:cNvCxnSpPr>
              <a:cxnSpLocks/>
            </p:cNvCxnSpPr>
            <p:nvPr/>
          </p:nvCxnSpPr>
          <p:spPr>
            <a:xfrm flipH="1">
              <a:off x="3784551" y="1908605"/>
              <a:ext cx="194442" cy="115504"/>
            </a:xfrm>
            <a:prstGeom prst="line">
              <a:avLst/>
            </a:prstGeom>
            <a:ln>
              <a:solidFill>
                <a:schemeClr val="tx2">
                  <a:lumMod val="50000"/>
                </a:schemeClr>
              </a:solidFill>
              <a:prstDash val="dash"/>
            </a:ln>
          </p:spPr>
          <p:style>
            <a:lnRef idx="1">
              <a:schemeClr val="accent1"/>
            </a:lnRef>
            <a:fillRef idx="0">
              <a:schemeClr val="accent1"/>
            </a:fillRef>
            <a:effectRef idx="0">
              <a:schemeClr val="accent1"/>
            </a:effectRef>
            <a:fontRef idx="minor">
              <a:schemeClr val="tx1"/>
            </a:fontRef>
          </p:style>
        </p:cxnSp>
        <p:pic>
          <p:nvPicPr>
            <p:cNvPr id="173" name="Grafik 172" descr="Vlog mit einfarbiger Füllung">
              <a:extLst>
                <a:ext uri="{FF2B5EF4-FFF2-40B4-BE49-F238E27FC236}">
                  <a16:creationId xmlns:a16="http://schemas.microsoft.com/office/drawing/2014/main" id="{ED6E3F68-462C-43B2-9A44-4B3D82FB9876}"/>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3126336" y="1609391"/>
              <a:ext cx="181035" cy="181035"/>
            </a:xfrm>
            <a:prstGeom prst="rect">
              <a:avLst/>
            </a:prstGeom>
          </p:spPr>
        </p:pic>
        <p:pic>
          <p:nvPicPr>
            <p:cNvPr id="174" name="Grafik 173" descr="Vertrag Silhouette">
              <a:extLst>
                <a:ext uri="{FF2B5EF4-FFF2-40B4-BE49-F238E27FC236}">
                  <a16:creationId xmlns:a16="http://schemas.microsoft.com/office/drawing/2014/main" id="{586AD8AF-186C-45A1-BDB9-C2707F4C7D3D}"/>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3120690" y="2421159"/>
              <a:ext cx="160334" cy="160334"/>
            </a:xfrm>
            <a:prstGeom prst="rect">
              <a:avLst/>
            </a:prstGeom>
          </p:spPr>
        </p:pic>
        <p:pic>
          <p:nvPicPr>
            <p:cNvPr id="175" name="Grafik 174" descr="Vertrag Silhouette">
              <a:extLst>
                <a:ext uri="{FF2B5EF4-FFF2-40B4-BE49-F238E27FC236}">
                  <a16:creationId xmlns:a16="http://schemas.microsoft.com/office/drawing/2014/main" id="{52A6C4C5-149E-4E16-8BD3-38430541CB00}"/>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3975591" y="1797741"/>
              <a:ext cx="160334" cy="160334"/>
            </a:xfrm>
            <a:prstGeom prst="rect">
              <a:avLst/>
            </a:prstGeom>
          </p:spPr>
        </p:pic>
        <p:pic>
          <p:nvPicPr>
            <p:cNvPr id="176" name="Grafik 175" descr="Vlog mit einfarbiger Füllung">
              <a:extLst>
                <a:ext uri="{FF2B5EF4-FFF2-40B4-BE49-F238E27FC236}">
                  <a16:creationId xmlns:a16="http://schemas.microsoft.com/office/drawing/2014/main" id="{2CBCCAD5-3E8E-43D8-8B48-5BF0FF2DD482}"/>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3671178" y="2408167"/>
              <a:ext cx="181035" cy="181035"/>
            </a:xfrm>
            <a:prstGeom prst="rect">
              <a:avLst/>
            </a:prstGeom>
          </p:spPr>
        </p:pic>
        <p:cxnSp>
          <p:nvCxnSpPr>
            <p:cNvPr id="177" name="Gerader Verbinder 176">
              <a:extLst>
                <a:ext uri="{FF2B5EF4-FFF2-40B4-BE49-F238E27FC236}">
                  <a16:creationId xmlns:a16="http://schemas.microsoft.com/office/drawing/2014/main" id="{8A44DD37-E4BC-4AA8-B83E-E245CCCEED91}"/>
                </a:ext>
              </a:extLst>
            </p:cNvPr>
            <p:cNvCxnSpPr>
              <a:cxnSpLocks/>
            </p:cNvCxnSpPr>
            <p:nvPr/>
          </p:nvCxnSpPr>
          <p:spPr>
            <a:xfrm>
              <a:off x="3691727" y="2352835"/>
              <a:ext cx="53126" cy="184521"/>
            </a:xfrm>
            <a:prstGeom prst="line">
              <a:avLst/>
            </a:prstGeom>
            <a:ln>
              <a:solidFill>
                <a:schemeClr val="tx2">
                  <a:lumMod val="50000"/>
                </a:schemeClr>
              </a:solidFill>
              <a:prstDash val="dash"/>
            </a:ln>
          </p:spPr>
          <p:style>
            <a:lnRef idx="1">
              <a:schemeClr val="accent1"/>
            </a:lnRef>
            <a:fillRef idx="0">
              <a:schemeClr val="accent1"/>
            </a:fillRef>
            <a:effectRef idx="0">
              <a:schemeClr val="accent1"/>
            </a:effectRef>
            <a:fontRef idx="minor">
              <a:schemeClr val="tx1"/>
            </a:fontRef>
          </p:style>
        </p:cxnSp>
      </p:grpSp>
      <p:pic>
        <p:nvPicPr>
          <p:cNvPr id="178" name="Grafik 177" descr="Akquisition mit einfarbiger Füllung">
            <a:extLst>
              <a:ext uri="{FF2B5EF4-FFF2-40B4-BE49-F238E27FC236}">
                <a16:creationId xmlns:a16="http://schemas.microsoft.com/office/drawing/2014/main" id="{AA14019E-3FA1-4900-B931-C4A07A84B8C7}"/>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7531247" y="2146243"/>
            <a:ext cx="1104961" cy="1104961"/>
          </a:xfrm>
          <a:prstGeom prst="rect">
            <a:avLst/>
          </a:prstGeom>
        </p:spPr>
      </p:pic>
    </p:spTree>
    <p:extLst>
      <p:ext uri="{BB962C8B-B14F-4D97-AF65-F5344CB8AC3E}">
        <p14:creationId xmlns:p14="http://schemas.microsoft.com/office/powerpoint/2010/main" val="607784722"/>
      </p:ext>
    </p:extLst>
  </p:cSld>
  <p:clrMapOvr>
    <a:masterClrMapping/>
  </p:clrMapOvr>
  <p:extLst>
    <p:ext uri="{6950BFC3-D8DA-4A85-94F7-54DA5524770B}">
      <p188:commentRel xmlns:p188="http://schemas.microsoft.com/office/powerpoint/2018/8/main" r:id="rId3"/>
    </p:ext>
  </p:extLs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Freihandform: Form 45">
            <a:extLst>
              <a:ext uri="{FF2B5EF4-FFF2-40B4-BE49-F238E27FC236}">
                <a16:creationId xmlns:a16="http://schemas.microsoft.com/office/drawing/2014/main" id="{19FE25B7-CD1F-41E7-805D-E18F16918286}"/>
              </a:ext>
            </a:extLst>
          </p:cNvPr>
          <p:cNvSpPr/>
          <p:nvPr/>
        </p:nvSpPr>
        <p:spPr>
          <a:xfrm>
            <a:off x="1" y="2287333"/>
            <a:ext cx="7680056" cy="2298155"/>
          </a:xfrm>
          <a:custGeom>
            <a:avLst/>
            <a:gdLst>
              <a:gd name="connsiteX0" fmla="*/ 0 w 7680056"/>
              <a:gd name="connsiteY0" fmla="*/ 0 h 2298155"/>
              <a:gd name="connsiteX1" fmla="*/ 7680056 w 7680056"/>
              <a:gd name="connsiteY1" fmla="*/ 0 h 2298155"/>
              <a:gd name="connsiteX2" fmla="*/ 7680056 w 7680056"/>
              <a:gd name="connsiteY2" fmla="*/ 2298155 h 2298155"/>
              <a:gd name="connsiteX3" fmla="*/ 849637 w 7680056"/>
              <a:gd name="connsiteY3" fmla="*/ 2298155 h 2298155"/>
              <a:gd name="connsiteX4" fmla="*/ 833554 w 7680056"/>
              <a:gd name="connsiteY4" fmla="*/ 2164067 h 2298155"/>
              <a:gd name="connsiteX5" fmla="*/ 82893 w 7680056"/>
              <a:gd name="connsiteY5" fmla="*/ 1593636 h 2298155"/>
              <a:gd name="connsiteX6" fmla="*/ 0 w 7680056"/>
              <a:gd name="connsiteY6" fmla="*/ 1590117 h 2298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80056" h="2298155">
                <a:moveTo>
                  <a:pt x="0" y="0"/>
                </a:moveTo>
                <a:lnTo>
                  <a:pt x="7680056" y="0"/>
                </a:lnTo>
                <a:lnTo>
                  <a:pt x="7680056" y="2298155"/>
                </a:lnTo>
                <a:lnTo>
                  <a:pt x="849637" y="2298155"/>
                </a:lnTo>
                <a:lnTo>
                  <a:pt x="833554" y="2164067"/>
                </a:lnTo>
                <a:cubicBezTo>
                  <a:pt x="759479" y="1859808"/>
                  <a:pt x="456771" y="1625549"/>
                  <a:pt x="82893" y="1593636"/>
                </a:cubicBezTo>
                <a:lnTo>
                  <a:pt x="0" y="1590117"/>
                </a:lnTo>
                <a:close/>
              </a:path>
            </a:pathLst>
          </a:cu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endParaRPr lang="en-DE"/>
          </a:p>
        </p:txBody>
      </p:sp>
      <p:sp>
        <p:nvSpPr>
          <p:cNvPr id="47" name="Titre 7">
            <a:extLst>
              <a:ext uri="{FF2B5EF4-FFF2-40B4-BE49-F238E27FC236}">
                <a16:creationId xmlns:a16="http://schemas.microsoft.com/office/drawing/2014/main" id="{C915EDF7-2EBB-468A-BE7F-FD25A9A0CFAD}"/>
              </a:ext>
            </a:extLst>
          </p:cNvPr>
          <p:cNvSpPr txBox="1">
            <a:spLocks/>
          </p:cNvSpPr>
          <p:nvPr/>
        </p:nvSpPr>
        <p:spPr>
          <a:xfrm>
            <a:off x="-1" y="169365"/>
            <a:ext cx="10110356" cy="331739"/>
          </a:xfrm>
          <a:prstGeom prst="rect">
            <a:avLst/>
          </a:prstGeom>
        </p:spPr>
        <p:txBody>
          <a:bodyPr anchor="t" anchorCtr="0">
            <a:noAutofit/>
          </a:bodyPr>
          <a:lstStyle>
            <a:lvl1pPr algn="l" rtl="0" eaLnBrk="0" fontAlgn="base" hangingPunct="0">
              <a:lnSpc>
                <a:spcPct val="90000"/>
              </a:lnSpc>
              <a:spcBef>
                <a:spcPct val="0"/>
              </a:spcBef>
              <a:spcAft>
                <a:spcPct val="0"/>
              </a:spcAft>
              <a:defRPr sz="2400" b="1" i="0" kern="1200">
                <a:solidFill>
                  <a:schemeClr val="bg1"/>
                </a:solidFill>
                <a:latin typeface="Montserrat" pitchFamily="2" charset="77"/>
                <a:ea typeface="+mj-ea"/>
                <a:cs typeface="+mj-cs"/>
              </a:defRPr>
            </a:lvl1pPr>
            <a:lvl2pPr algn="l" rtl="0" eaLnBrk="0" fontAlgn="base" hangingPunct="0">
              <a:lnSpc>
                <a:spcPct val="90000"/>
              </a:lnSpc>
              <a:spcBef>
                <a:spcPct val="0"/>
              </a:spcBef>
              <a:spcAft>
                <a:spcPct val="0"/>
              </a:spcAft>
              <a:defRPr sz="4400">
                <a:solidFill>
                  <a:schemeClr val="tx1"/>
                </a:solidFill>
                <a:latin typeface="Montserrat" panose="00000500000000000000" pitchFamily="2" charset="0"/>
              </a:defRPr>
            </a:lvl2pPr>
            <a:lvl3pPr algn="l" rtl="0" eaLnBrk="0" fontAlgn="base" hangingPunct="0">
              <a:lnSpc>
                <a:spcPct val="90000"/>
              </a:lnSpc>
              <a:spcBef>
                <a:spcPct val="0"/>
              </a:spcBef>
              <a:spcAft>
                <a:spcPct val="0"/>
              </a:spcAft>
              <a:defRPr sz="4400">
                <a:solidFill>
                  <a:schemeClr val="tx1"/>
                </a:solidFill>
                <a:latin typeface="Montserrat" panose="00000500000000000000" pitchFamily="2" charset="0"/>
              </a:defRPr>
            </a:lvl3pPr>
            <a:lvl4pPr algn="l" rtl="0" eaLnBrk="0" fontAlgn="base" hangingPunct="0">
              <a:lnSpc>
                <a:spcPct val="90000"/>
              </a:lnSpc>
              <a:spcBef>
                <a:spcPct val="0"/>
              </a:spcBef>
              <a:spcAft>
                <a:spcPct val="0"/>
              </a:spcAft>
              <a:defRPr sz="4400">
                <a:solidFill>
                  <a:schemeClr val="tx1"/>
                </a:solidFill>
                <a:latin typeface="Montserrat" panose="00000500000000000000" pitchFamily="2" charset="0"/>
              </a:defRPr>
            </a:lvl4pPr>
            <a:lvl5pPr algn="l" rtl="0" eaLnBrk="0" fontAlgn="base" hangingPunct="0">
              <a:lnSpc>
                <a:spcPct val="90000"/>
              </a:lnSpc>
              <a:spcBef>
                <a:spcPct val="0"/>
              </a:spcBef>
              <a:spcAft>
                <a:spcPct val="0"/>
              </a:spcAft>
              <a:defRPr sz="4400">
                <a:solidFill>
                  <a:schemeClr val="tx1"/>
                </a:solidFill>
                <a:latin typeface="Montserrat" panose="00000500000000000000" pitchFamily="2" charset="0"/>
              </a:defRPr>
            </a:lvl5pPr>
            <a:lvl6pPr marL="457200" algn="l" rtl="0" fontAlgn="base">
              <a:lnSpc>
                <a:spcPct val="90000"/>
              </a:lnSpc>
              <a:spcBef>
                <a:spcPct val="0"/>
              </a:spcBef>
              <a:spcAft>
                <a:spcPct val="0"/>
              </a:spcAft>
              <a:defRPr sz="4400">
                <a:solidFill>
                  <a:schemeClr val="tx1"/>
                </a:solidFill>
                <a:latin typeface="Montserrat" panose="00000500000000000000" pitchFamily="2" charset="0"/>
              </a:defRPr>
            </a:lvl6pPr>
            <a:lvl7pPr marL="914400" algn="l" rtl="0" fontAlgn="base">
              <a:lnSpc>
                <a:spcPct val="90000"/>
              </a:lnSpc>
              <a:spcBef>
                <a:spcPct val="0"/>
              </a:spcBef>
              <a:spcAft>
                <a:spcPct val="0"/>
              </a:spcAft>
              <a:defRPr sz="4400">
                <a:solidFill>
                  <a:schemeClr val="tx1"/>
                </a:solidFill>
                <a:latin typeface="Montserrat" panose="00000500000000000000" pitchFamily="2" charset="0"/>
              </a:defRPr>
            </a:lvl7pPr>
            <a:lvl8pPr marL="1371600" algn="l" rtl="0" fontAlgn="base">
              <a:lnSpc>
                <a:spcPct val="90000"/>
              </a:lnSpc>
              <a:spcBef>
                <a:spcPct val="0"/>
              </a:spcBef>
              <a:spcAft>
                <a:spcPct val="0"/>
              </a:spcAft>
              <a:defRPr sz="4400">
                <a:solidFill>
                  <a:schemeClr val="tx1"/>
                </a:solidFill>
                <a:latin typeface="Montserrat" panose="00000500000000000000" pitchFamily="2" charset="0"/>
              </a:defRPr>
            </a:lvl8pPr>
            <a:lvl9pPr marL="1828800" algn="l" rtl="0" fontAlgn="base">
              <a:lnSpc>
                <a:spcPct val="90000"/>
              </a:lnSpc>
              <a:spcBef>
                <a:spcPct val="0"/>
              </a:spcBef>
              <a:spcAft>
                <a:spcPct val="0"/>
              </a:spcAft>
              <a:defRPr sz="4400">
                <a:solidFill>
                  <a:schemeClr val="tx1"/>
                </a:solidFill>
                <a:latin typeface="Montserrat" panose="00000500000000000000" pitchFamily="2" charset="0"/>
              </a:defRPr>
            </a:lvl9pPr>
          </a:lstStyle>
          <a:p>
            <a:r>
              <a:rPr lang="de-DE" dirty="0">
                <a:solidFill>
                  <a:schemeClr val="accent1"/>
                </a:solidFill>
              </a:rPr>
              <a:t>ZENTRALISIERUNG UND VERTEILUNG VON INFORMATIONEN</a:t>
            </a:r>
            <a:endParaRPr lang="fr-FR" dirty="0">
              <a:solidFill>
                <a:schemeClr val="accent1"/>
              </a:solidFill>
            </a:endParaRPr>
          </a:p>
        </p:txBody>
      </p:sp>
      <p:sp>
        <p:nvSpPr>
          <p:cNvPr id="48" name="Textfeld 47">
            <a:extLst>
              <a:ext uri="{FF2B5EF4-FFF2-40B4-BE49-F238E27FC236}">
                <a16:creationId xmlns:a16="http://schemas.microsoft.com/office/drawing/2014/main" id="{43D35C08-6FCD-43B9-85B3-8DA89107EEB7}"/>
              </a:ext>
            </a:extLst>
          </p:cNvPr>
          <p:cNvSpPr txBox="1"/>
          <p:nvPr/>
        </p:nvSpPr>
        <p:spPr>
          <a:xfrm>
            <a:off x="118501" y="2259547"/>
            <a:ext cx="3559781" cy="1815882"/>
          </a:xfrm>
          <a:prstGeom prst="rect">
            <a:avLst/>
          </a:prstGeom>
          <a:noFill/>
        </p:spPr>
        <p:txBody>
          <a:bodyPr wrap="square" rtlCol="0">
            <a:spAutoFit/>
          </a:bodyPr>
          <a:lstStyle/>
          <a:p>
            <a:endParaRPr lang="de-DE" sz="1400" b="1" dirty="0">
              <a:solidFill>
                <a:schemeClr val="bg1"/>
              </a:solidFill>
            </a:endParaRPr>
          </a:p>
          <a:p>
            <a:r>
              <a:rPr lang="de-DE" sz="1400" dirty="0">
                <a:solidFill>
                  <a:schemeClr val="bg1"/>
                </a:solidFill>
              </a:rPr>
              <a:t>Es werden nicht nur Patientendaten verwaltet, sondern alle Arbeitsbereiche eines Krankenhauses oder einer Krankenhausgruppe können gesetzeskonform abgebildet werden.</a:t>
            </a:r>
          </a:p>
          <a:p>
            <a:endParaRPr lang="de-DE" sz="1400" dirty="0">
              <a:solidFill>
                <a:schemeClr val="bg1"/>
              </a:solidFill>
            </a:endParaRPr>
          </a:p>
        </p:txBody>
      </p:sp>
      <p:grpSp>
        <p:nvGrpSpPr>
          <p:cNvPr id="49" name="Gruppieren 48">
            <a:extLst>
              <a:ext uri="{FF2B5EF4-FFF2-40B4-BE49-F238E27FC236}">
                <a16:creationId xmlns:a16="http://schemas.microsoft.com/office/drawing/2014/main" id="{5CF4C496-9B5C-44D3-A200-45DED7CF9F75}"/>
              </a:ext>
            </a:extLst>
          </p:cNvPr>
          <p:cNvGrpSpPr/>
          <p:nvPr/>
        </p:nvGrpSpPr>
        <p:grpSpPr>
          <a:xfrm>
            <a:off x="3751529" y="712341"/>
            <a:ext cx="5383327" cy="5433317"/>
            <a:chOff x="2827985" y="800101"/>
            <a:chExt cx="5634819" cy="5693920"/>
          </a:xfrm>
        </p:grpSpPr>
        <p:grpSp>
          <p:nvGrpSpPr>
            <p:cNvPr id="50" name="Graphique 26">
              <a:extLst>
                <a:ext uri="{FF2B5EF4-FFF2-40B4-BE49-F238E27FC236}">
                  <a16:creationId xmlns:a16="http://schemas.microsoft.com/office/drawing/2014/main" id="{06677E63-0CF0-4F41-B7B2-3A8C571FA140}"/>
                </a:ext>
              </a:extLst>
            </p:cNvPr>
            <p:cNvGrpSpPr/>
            <p:nvPr/>
          </p:nvGrpSpPr>
          <p:grpSpPr>
            <a:xfrm>
              <a:off x="2852894" y="800101"/>
              <a:ext cx="5609910" cy="5693920"/>
              <a:chOff x="8296274" y="1457324"/>
              <a:chExt cx="2857500" cy="2857500"/>
            </a:xfrm>
          </p:grpSpPr>
          <p:sp>
            <p:nvSpPr>
              <p:cNvPr id="77" name="Forme libre : forme 34">
                <a:extLst>
                  <a:ext uri="{FF2B5EF4-FFF2-40B4-BE49-F238E27FC236}">
                    <a16:creationId xmlns:a16="http://schemas.microsoft.com/office/drawing/2014/main" id="{AA986DCA-57F6-498E-A55B-0CFB1B07782C}"/>
                  </a:ext>
                </a:extLst>
              </p:cNvPr>
              <p:cNvSpPr/>
              <p:nvPr/>
            </p:nvSpPr>
            <p:spPr>
              <a:xfrm>
                <a:off x="8924925" y="1457324"/>
                <a:ext cx="800100" cy="1007840"/>
              </a:xfrm>
              <a:custGeom>
                <a:avLst/>
                <a:gdLst>
                  <a:gd name="connsiteX0" fmla="*/ 379040 w 800100"/>
                  <a:gd name="connsiteY0" fmla="*/ 1007790 h 1007840"/>
                  <a:gd name="connsiteX1" fmla="*/ 799950 w 800100"/>
                  <a:gd name="connsiteY1" fmla="*/ 833388 h 1007840"/>
                  <a:gd name="connsiteX2" fmla="*/ 799950 w 800100"/>
                  <a:gd name="connsiteY2" fmla="*/ 714325 h 1007840"/>
                  <a:gd name="connsiteX3" fmla="*/ 799950 w 800100"/>
                  <a:gd name="connsiteY3" fmla="*/ 714325 h 1007840"/>
                  <a:gd name="connsiteX4" fmla="*/ 799950 w 800100"/>
                  <a:gd name="connsiteY4" fmla="*/ -50 h 1007840"/>
                  <a:gd name="connsiteX5" fmla="*/ 503913 w 800100"/>
                  <a:gd name="connsiteY5" fmla="*/ 30716 h 1007840"/>
                  <a:gd name="connsiteX6" fmla="*/ 25282 w 800100"/>
                  <a:gd name="connsiteY6" fmla="*/ 228550 h 1007840"/>
                  <a:gd name="connsiteX7" fmla="*/ 23872 w 800100"/>
                  <a:gd name="connsiteY7" fmla="*/ 235137 h 1007840"/>
                  <a:gd name="connsiteX8" fmla="*/ 24139 w 800100"/>
                  <a:gd name="connsiteY8" fmla="*/ 235503 h 1007840"/>
                  <a:gd name="connsiteX9" fmla="*/ -150 w 800100"/>
                  <a:gd name="connsiteY9" fmla="*/ 628600 h 1007840"/>
                  <a:gd name="connsiteX10" fmla="*/ 295125 w 800100"/>
                  <a:gd name="connsiteY10" fmla="*/ 923875 h 1007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00100" h="1007840">
                    <a:moveTo>
                      <a:pt x="379040" y="1007790"/>
                    </a:moveTo>
                    <a:cubicBezTo>
                      <a:pt x="490549" y="895967"/>
                      <a:pt x="642026" y="833197"/>
                      <a:pt x="799950" y="833388"/>
                    </a:cubicBezTo>
                    <a:lnTo>
                      <a:pt x="799950" y="714325"/>
                    </a:lnTo>
                    <a:lnTo>
                      <a:pt x="799950" y="714325"/>
                    </a:lnTo>
                    <a:lnTo>
                      <a:pt x="799950" y="-50"/>
                    </a:lnTo>
                    <a:cubicBezTo>
                      <a:pt x="700471" y="-74"/>
                      <a:pt x="601259" y="10237"/>
                      <a:pt x="503913" y="30716"/>
                    </a:cubicBezTo>
                    <a:cubicBezTo>
                      <a:pt x="333597" y="66785"/>
                      <a:pt x="171357" y="133843"/>
                      <a:pt x="25282" y="228550"/>
                    </a:cubicBezTo>
                    <a:cubicBezTo>
                      <a:pt x="23072" y="229981"/>
                      <a:pt x="22443" y="232930"/>
                      <a:pt x="23872" y="235137"/>
                    </a:cubicBezTo>
                    <a:cubicBezTo>
                      <a:pt x="23958" y="235263"/>
                      <a:pt x="24043" y="235385"/>
                      <a:pt x="24139" y="235503"/>
                    </a:cubicBezTo>
                    <a:cubicBezTo>
                      <a:pt x="116322" y="353914"/>
                      <a:pt x="105911" y="522434"/>
                      <a:pt x="-150" y="628600"/>
                    </a:cubicBezTo>
                    <a:lnTo>
                      <a:pt x="295125" y="923875"/>
                    </a:lnTo>
                    <a:close/>
                  </a:path>
                </a:pathLst>
              </a:custGeom>
              <a:solidFill>
                <a:srgbClr val="685BC7"/>
              </a:solidFill>
              <a:ln w="9525" cap="flat">
                <a:noFill/>
                <a:prstDash val="solid"/>
                <a:miter/>
              </a:ln>
              <a:effectLst>
                <a:outerShdw blurRad="50800" dist="38100" algn="l" rotWithShape="0">
                  <a:prstClr val="black">
                    <a:alpha val="40000"/>
                  </a:prstClr>
                </a:outerShdw>
              </a:effectLst>
            </p:spPr>
            <p:txBody>
              <a:bodyPr rtlCol="0" anchor="ctr"/>
              <a:lstStyle/>
              <a:p>
                <a:endParaRPr lang="fr-FR"/>
              </a:p>
            </p:txBody>
          </p:sp>
          <p:sp>
            <p:nvSpPr>
              <p:cNvPr id="78" name="Forme libre : forme 35">
                <a:extLst>
                  <a:ext uri="{FF2B5EF4-FFF2-40B4-BE49-F238E27FC236}">
                    <a16:creationId xmlns:a16="http://schemas.microsoft.com/office/drawing/2014/main" id="{954E6F92-9864-4620-AF3F-A5AD534466A3}"/>
                  </a:ext>
                </a:extLst>
              </p:cNvPr>
              <p:cNvSpPr/>
              <p:nvPr/>
            </p:nvSpPr>
            <p:spPr>
              <a:xfrm>
                <a:off x="8327890" y="1875472"/>
                <a:ext cx="976225" cy="1010602"/>
              </a:xfrm>
              <a:custGeom>
                <a:avLst/>
                <a:gdLst>
                  <a:gd name="connsiteX0" fmla="*/ 801672 w 976225"/>
                  <a:gd name="connsiteY0" fmla="*/ 1010553 h 1010602"/>
                  <a:gd name="connsiteX1" fmla="*/ 976075 w 976225"/>
                  <a:gd name="connsiteY1" fmla="*/ 589643 h 1010602"/>
                  <a:gd name="connsiteX2" fmla="*/ 892160 w 976225"/>
                  <a:gd name="connsiteY2" fmla="*/ 505728 h 1010602"/>
                  <a:gd name="connsiteX3" fmla="*/ 596885 w 976225"/>
                  <a:gd name="connsiteY3" fmla="*/ 210452 h 1010602"/>
                  <a:gd name="connsiteX4" fmla="*/ 386382 w 976225"/>
                  <a:gd name="connsiteY4" fmla="*/ -50 h 1010602"/>
                  <a:gd name="connsiteX5" fmla="*/ 198835 w 976225"/>
                  <a:gd name="connsiteY5" fmla="*/ 231122 h 1010602"/>
                  <a:gd name="connsiteX6" fmla="*/ -47 w 976225"/>
                  <a:gd name="connsiteY6" fmla="*/ 709086 h 1010602"/>
                  <a:gd name="connsiteX7" fmla="*/ 3639 w 976225"/>
                  <a:gd name="connsiteY7" fmla="*/ 714725 h 1010602"/>
                  <a:gd name="connsiteX8" fmla="*/ 4144 w 976225"/>
                  <a:gd name="connsiteY8" fmla="*/ 714801 h 1010602"/>
                  <a:gd name="connsiteX9" fmla="*/ 265605 w 976225"/>
                  <a:gd name="connsiteY9" fmla="*/ 1010076 h 1010602"/>
                  <a:gd name="connsiteX10" fmla="*/ 801672 w 976225"/>
                  <a:gd name="connsiteY10" fmla="*/ 1010076 h 1010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76225" h="1010602">
                    <a:moveTo>
                      <a:pt x="801672" y="1010553"/>
                    </a:moveTo>
                    <a:cubicBezTo>
                      <a:pt x="801482" y="852628"/>
                      <a:pt x="864252" y="701152"/>
                      <a:pt x="976075" y="589643"/>
                    </a:cubicBezTo>
                    <a:lnTo>
                      <a:pt x="892160" y="505728"/>
                    </a:lnTo>
                    <a:lnTo>
                      <a:pt x="596885" y="210452"/>
                    </a:lnTo>
                    <a:lnTo>
                      <a:pt x="386382" y="-50"/>
                    </a:lnTo>
                    <a:cubicBezTo>
                      <a:pt x="316040" y="70321"/>
                      <a:pt x="253194" y="147787"/>
                      <a:pt x="198835" y="231122"/>
                    </a:cubicBezTo>
                    <a:cubicBezTo>
                      <a:pt x="103823" y="376921"/>
                      <a:pt x="36415" y="538932"/>
                      <a:pt x="-47" y="709086"/>
                    </a:cubicBezTo>
                    <a:cubicBezTo>
                      <a:pt x="-590" y="711658"/>
                      <a:pt x="1068" y="714182"/>
                      <a:pt x="3639" y="714725"/>
                    </a:cubicBezTo>
                    <a:cubicBezTo>
                      <a:pt x="3801" y="714754"/>
                      <a:pt x="3973" y="714782"/>
                      <a:pt x="4144" y="714801"/>
                    </a:cubicBezTo>
                    <a:cubicBezTo>
                      <a:pt x="153334" y="733118"/>
                      <a:pt x="265472" y="859762"/>
                      <a:pt x="265605" y="1010076"/>
                    </a:cubicBezTo>
                    <a:lnTo>
                      <a:pt x="801672" y="1010076"/>
                    </a:lnTo>
                    <a:close/>
                  </a:path>
                </a:pathLst>
              </a:custGeom>
              <a:solidFill>
                <a:srgbClr val="8194DD"/>
              </a:solidFill>
              <a:ln w="9525" cap="flat">
                <a:noFill/>
                <a:prstDash val="solid"/>
                <a:miter/>
              </a:ln>
              <a:effectLst>
                <a:outerShdw blurRad="63500" sx="102000" sy="102000" algn="ctr" rotWithShape="0">
                  <a:prstClr val="black">
                    <a:alpha val="40000"/>
                  </a:prstClr>
                </a:outerShdw>
              </a:effectLst>
            </p:spPr>
            <p:txBody>
              <a:bodyPr rtlCol="0" anchor="ctr"/>
              <a:lstStyle/>
              <a:p>
                <a:endParaRPr lang="fr-FR"/>
              </a:p>
            </p:txBody>
          </p:sp>
          <p:sp>
            <p:nvSpPr>
              <p:cNvPr id="79" name="Forme libre : forme 36">
                <a:extLst>
                  <a:ext uri="{FF2B5EF4-FFF2-40B4-BE49-F238E27FC236}">
                    <a16:creationId xmlns:a16="http://schemas.microsoft.com/office/drawing/2014/main" id="{1060B941-A630-448E-A847-7FF67F551E29}"/>
                  </a:ext>
                </a:extLst>
              </p:cNvPr>
              <p:cNvSpPr/>
              <p:nvPr/>
            </p:nvSpPr>
            <p:spPr>
              <a:xfrm>
                <a:off x="8296274" y="2886075"/>
                <a:ext cx="1007840" cy="800100"/>
              </a:xfrm>
              <a:custGeom>
                <a:avLst/>
                <a:gdLst>
                  <a:gd name="connsiteX0" fmla="*/ 986640 w 1007840"/>
                  <a:gd name="connsiteY0" fmla="*/ 441910 h 800100"/>
                  <a:gd name="connsiteX1" fmla="*/ 1007690 w 1007840"/>
                  <a:gd name="connsiteY1" fmla="*/ 420860 h 800100"/>
                  <a:gd name="connsiteX2" fmla="*/ 833288 w 1007840"/>
                  <a:gd name="connsiteY2" fmla="*/ -50 h 800100"/>
                  <a:gd name="connsiteX3" fmla="*/ -150 w 1007840"/>
                  <a:gd name="connsiteY3" fmla="*/ -50 h 800100"/>
                  <a:gd name="connsiteX4" fmla="*/ 30616 w 1007840"/>
                  <a:gd name="connsiteY4" fmla="*/ 295987 h 800100"/>
                  <a:gd name="connsiteX5" fmla="*/ 228450 w 1007840"/>
                  <a:gd name="connsiteY5" fmla="*/ 774618 h 800100"/>
                  <a:gd name="connsiteX6" fmla="*/ 235041 w 1007840"/>
                  <a:gd name="connsiteY6" fmla="*/ 776028 h 800100"/>
                  <a:gd name="connsiteX7" fmla="*/ 235403 w 1007840"/>
                  <a:gd name="connsiteY7" fmla="*/ 775761 h 800100"/>
                  <a:gd name="connsiteX8" fmla="*/ 628500 w 1007840"/>
                  <a:gd name="connsiteY8" fmla="*/ 800050 h 800100"/>
                  <a:gd name="connsiteX9" fmla="*/ 923775 w 1007840"/>
                  <a:gd name="connsiteY9" fmla="*/ 50477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07840" h="800100">
                    <a:moveTo>
                      <a:pt x="986640" y="441910"/>
                    </a:moveTo>
                    <a:lnTo>
                      <a:pt x="1007690" y="420860"/>
                    </a:lnTo>
                    <a:cubicBezTo>
                      <a:pt x="895867" y="309351"/>
                      <a:pt x="833097" y="157875"/>
                      <a:pt x="833288" y="-50"/>
                    </a:cubicBezTo>
                    <a:lnTo>
                      <a:pt x="-150" y="-50"/>
                    </a:lnTo>
                    <a:cubicBezTo>
                      <a:pt x="-169" y="99429"/>
                      <a:pt x="10137" y="198642"/>
                      <a:pt x="30616" y="295987"/>
                    </a:cubicBezTo>
                    <a:cubicBezTo>
                      <a:pt x="66687" y="466304"/>
                      <a:pt x="133743" y="628543"/>
                      <a:pt x="228450" y="774618"/>
                    </a:cubicBezTo>
                    <a:cubicBezTo>
                      <a:pt x="229879" y="776828"/>
                      <a:pt x="232832" y="777457"/>
                      <a:pt x="235041" y="776028"/>
                    </a:cubicBezTo>
                    <a:cubicBezTo>
                      <a:pt x="235165" y="775942"/>
                      <a:pt x="235289" y="775856"/>
                      <a:pt x="235403" y="775761"/>
                    </a:cubicBezTo>
                    <a:cubicBezTo>
                      <a:pt x="353818" y="683578"/>
                      <a:pt x="522334" y="693989"/>
                      <a:pt x="628500" y="800050"/>
                    </a:cubicBezTo>
                    <a:lnTo>
                      <a:pt x="923775" y="504775"/>
                    </a:lnTo>
                    <a:close/>
                  </a:path>
                </a:pathLst>
              </a:custGeom>
              <a:solidFill>
                <a:srgbClr val="A6BBC8"/>
              </a:solidFill>
              <a:ln w="9525" cap="flat">
                <a:noFill/>
                <a:prstDash val="solid"/>
                <a:miter/>
              </a:ln>
              <a:effectLst>
                <a:outerShdw blurRad="50800" dist="38100" dir="16200000" rotWithShape="0">
                  <a:prstClr val="black">
                    <a:alpha val="40000"/>
                  </a:prstClr>
                </a:outerShdw>
              </a:effectLst>
            </p:spPr>
            <p:txBody>
              <a:bodyPr rtlCol="0" anchor="ctr"/>
              <a:lstStyle/>
              <a:p>
                <a:endParaRPr lang="fr-FR"/>
              </a:p>
            </p:txBody>
          </p:sp>
          <p:sp>
            <p:nvSpPr>
              <p:cNvPr id="80" name="Forme libre : forme 37">
                <a:extLst>
                  <a:ext uri="{FF2B5EF4-FFF2-40B4-BE49-F238E27FC236}">
                    <a16:creationId xmlns:a16="http://schemas.microsoft.com/office/drawing/2014/main" id="{304E81EE-6DE2-48D9-AA19-8689E425B8E5}"/>
                  </a:ext>
                </a:extLst>
              </p:cNvPr>
              <p:cNvSpPr/>
              <p:nvPr/>
            </p:nvSpPr>
            <p:spPr>
              <a:xfrm>
                <a:off x="8714422" y="3306984"/>
                <a:ext cx="1010602" cy="976225"/>
              </a:xfrm>
              <a:custGeom>
                <a:avLst/>
                <a:gdLst>
                  <a:gd name="connsiteX0" fmla="*/ 1010453 w 1010602"/>
                  <a:gd name="connsiteY0" fmla="*/ 174353 h 976225"/>
                  <a:gd name="connsiteX1" fmla="*/ 589543 w 1010602"/>
                  <a:gd name="connsiteY1" fmla="*/ -50 h 976225"/>
                  <a:gd name="connsiteX2" fmla="*/ 568493 w 1010602"/>
                  <a:gd name="connsiteY2" fmla="*/ 21000 h 976225"/>
                  <a:gd name="connsiteX3" fmla="*/ 505628 w 1010602"/>
                  <a:gd name="connsiteY3" fmla="*/ 83865 h 976225"/>
                  <a:gd name="connsiteX4" fmla="*/ 210353 w 1010602"/>
                  <a:gd name="connsiteY4" fmla="*/ 379140 h 976225"/>
                  <a:gd name="connsiteX5" fmla="*/ -150 w 1010602"/>
                  <a:gd name="connsiteY5" fmla="*/ 589643 h 976225"/>
                  <a:gd name="connsiteX6" fmla="*/ 231022 w 1010602"/>
                  <a:gd name="connsiteY6" fmla="*/ 777190 h 976225"/>
                  <a:gd name="connsiteX7" fmla="*/ 708986 w 1010602"/>
                  <a:gd name="connsiteY7" fmla="*/ 976072 h 976225"/>
                  <a:gd name="connsiteX8" fmla="*/ 714625 w 1010602"/>
                  <a:gd name="connsiteY8" fmla="*/ 972386 h 976225"/>
                  <a:gd name="connsiteX9" fmla="*/ 714701 w 1010602"/>
                  <a:gd name="connsiteY9" fmla="*/ 971881 h 976225"/>
                  <a:gd name="connsiteX10" fmla="*/ 1009976 w 1010602"/>
                  <a:gd name="connsiteY10" fmla="*/ 710420 h 976225"/>
                  <a:gd name="connsiteX11" fmla="*/ 1009976 w 1010602"/>
                  <a:gd name="connsiteY11" fmla="*/ 174353 h 976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10602" h="976225">
                    <a:moveTo>
                      <a:pt x="1010453" y="174353"/>
                    </a:moveTo>
                    <a:cubicBezTo>
                      <a:pt x="852528" y="174543"/>
                      <a:pt x="701052" y="111773"/>
                      <a:pt x="589543" y="-50"/>
                    </a:cubicBezTo>
                    <a:lnTo>
                      <a:pt x="568493" y="21000"/>
                    </a:lnTo>
                    <a:lnTo>
                      <a:pt x="505628" y="83865"/>
                    </a:lnTo>
                    <a:lnTo>
                      <a:pt x="210353" y="379140"/>
                    </a:lnTo>
                    <a:lnTo>
                      <a:pt x="-150" y="589643"/>
                    </a:lnTo>
                    <a:cubicBezTo>
                      <a:pt x="70221" y="659985"/>
                      <a:pt x="147688" y="722831"/>
                      <a:pt x="231022" y="777190"/>
                    </a:cubicBezTo>
                    <a:cubicBezTo>
                      <a:pt x="376821" y="872202"/>
                      <a:pt x="538832" y="939610"/>
                      <a:pt x="708986" y="976072"/>
                    </a:cubicBezTo>
                    <a:cubicBezTo>
                      <a:pt x="711558" y="976615"/>
                      <a:pt x="714082" y="974958"/>
                      <a:pt x="714625" y="972386"/>
                    </a:cubicBezTo>
                    <a:cubicBezTo>
                      <a:pt x="714654" y="972224"/>
                      <a:pt x="714682" y="972052"/>
                      <a:pt x="714701" y="971881"/>
                    </a:cubicBezTo>
                    <a:cubicBezTo>
                      <a:pt x="733018" y="822691"/>
                      <a:pt x="859662" y="710553"/>
                      <a:pt x="1009976" y="710420"/>
                    </a:cubicBezTo>
                    <a:lnTo>
                      <a:pt x="1009976" y="174353"/>
                    </a:lnTo>
                    <a:close/>
                  </a:path>
                </a:pathLst>
              </a:custGeom>
              <a:solidFill>
                <a:srgbClr val="C5E86C"/>
              </a:solidFill>
              <a:ln w="9525" cap="flat">
                <a:noFill/>
                <a:prstDash val="solid"/>
                <a:miter/>
              </a:ln>
              <a:effectLst>
                <a:outerShdw blurRad="50800" dist="38100" dir="13500000" algn="br" rotWithShape="0">
                  <a:prstClr val="black">
                    <a:alpha val="40000"/>
                  </a:prstClr>
                </a:outerShdw>
              </a:effectLst>
            </p:spPr>
            <p:txBody>
              <a:bodyPr rtlCol="0" anchor="ctr"/>
              <a:lstStyle/>
              <a:p>
                <a:endParaRPr lang="fr-FR"/>
              </a:p>
            </p:txBody>
          </p:sp>
          <p:sp>
            <p:nvSpPr>
              <p:cNvPr id="81" name="Forme libre : forme 38">
                <a:extLst>
                  <a:ext uri="{FF2B5EF4-FFF2-40B4-BE49-F238E27FC236}">
                    <a16:creationId xmlns:a16="http://schemas.microsoft.com/office/drawing/2014/main" id="{C14FA50A-48A9-4EC4-8822-A5345AFB90B0}"/>
                  </a:ext>
                </a:extLst>
              </p:cNvPr>
              <p:cNvSpPr/>
              <p:nvPr/>
            </p:nvSpPr>
            <p:spPr>
              <a:xfrm>
                <a:off x="9725025" y="3306984"/>
                <a:ext cx="800100" cy="1007840"/>
              </a:xfrm>
              <a:custGeom>
                <a:avLst/>
                <a:gdLst>
                  <a:gd name="connsiteX0" fmla="*/ 420760 w 800100"/>
                  <a:gd name="connsiteY0" fmla="*/ -50 h 1007840"/>
                  <a:gd name="connsiteX1" fmla="*/ -150 w 800100"/>
                  <a:gd name="connsiteY1" fmla="*/ 174353 h 1007840"/>
                  <a:gd name="connsiteX2" fmla="*/ -150 w 800100"/>
                  <a:gd name="connsiteY2" fmla="*/ 1007790 h 1007840"/>
                  <a:gd name="connsiteX3" fmla="*/ 295887 w 800100"/>
                  <a:gd name="connsiteY3" fmla="*/ 977024 h 1007840"/>
                  <a:gd name="connsiteX4" fmla="*/ 774518 w 800100"/>
                  <a:gd name="connsiteY4" fmla="*/ 779666 h 1007840"/>
                  <a:gd name="connsiteX5" fmla="*/ 775928 w 800100"/>
                  <a:gd name="connsiteY5" fmla="*/ 773075 h 1007840"/>
                  <a:gd name="connsiteX6" fmla="*/ 775661 w 800100"/>
                  <a:gd name="connsiteY6" fmla="*/ 772713 h 1007840"/>
                  <a:gd name="connsiteX7" fmla="*/ 799950 w 800100"/>
                  <a:gd name="connsiteY7" fmla="*/ 379140 h 1007840"/>
                  <a:gd name="connsiteX8" fmla="*/ 504675 w 800100"/>
                  <a:gd name="connsiteY8" fmla="*/ 83865 h 1007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100" h="1007840">
                    <a:moveTo>
                      <a:pt x="420760" y="-50"/>
                    </a:moveTo>
                    <a:cubicBezTo>
                      <a:pt x="309251" y="111773"/>
                      <a:pt x="157774" y="174543"/>
                      <a:pt x="-150" y="174353"/>
                    </a:cubicBezTo>
                    <a:lnTo>
                      <a:pt x="-150" y="1007790"/>
                    </a:lnTo>
                    <a:cubicBezTo>
                      <a:pt x="99329" y="1007809"/>
                      <a:pt x="198541" y="997503"/>
                      <a:pt x="295887" y="977024"/>
                    </a:cubicBezTo>
                    <a:cubicBezTo>
                      <a:pt x="466165" y="941106"/>
                      <a:pt x="628405" y="874202"/>
                      <a:pt x="774518" y="779666"/>
                    </a:cubicBezTo>
                    <a:cubicBezTo>
                      <a:pt x="776728" y="778238"/>
                      <a:pt x="777357" y="775285"/>
                      <a:pt x="775928" y="773075"/>
                    </a:cubicBezTo>
                    <a:cubicBezTo>
                      <a:pt x="775842" y="772951"/>
                      <a:pt x="775756" y="772828"/>
                      <a:pt x="775661" y="772713"/>
                    </a:cubicBezTo>
                    <a:cubicBezTo>
                      <a:pt x="683193" y="654213"/>
                      <a:pt x="693613" y="485363"/>
                      <a:pt x="799950" y="379140"/>
                    </a:cubicBezTo>
                    <a:lnTo>
                      <a:pt x="504675" y="83865"/>
                    </a:lnTo>
                    <a:close/>
                  </a:path>
                </a:pathLst>
              </a:custGeom>
              <a:solidFill>
                <a:srgbClr val="008C95"/>
              </a:solidFill>
              <a:ln w="9525" cap="flat">
                <a:noFill/>
                <a:prstDash val="solid"/>
                <a:miter/>
              </a:ln>
              <a:effectLst>
                <a:outerShdw blurRad="50800" dist="38100" dir="8100000" algn="tr" rotWithShape="0">
                  <a:prstClr val="black">
                    <a:alpha val="40000"/>
                  </a:prstClr>
                </a:outerShdw>
              </a:effectLst>
            </p:spPr>
            <p:txBody>
              <a:bodyPr rtlCol="0" anchor="ctr"/>
              <a:lstStyle/>
              <a:p>
                <a:endParaRPr lang="fr-FR"/>
              </a:p>
            </p:txBody>
          </p:sp>
          <p:sp>
            <p:nvSpPr>
              <p:cNvPr id="82" name="Forme libre : forme 39">
                <a:extLst>
                  <a:ext uri="{FF2B5EF4-FFF2-40B4-BE49-F238E27FC236}">
                    <a16:creationId xmlns:a16="http://schemas.microsoft.com/office/drawing/2014/main" id="{E7CC70D0-6500-4DF8-9C96-BDF1DDFDF19E}"/>
                  </a:ext>
                </a:extLst>
              </p:cNvPr>
              <p:cNvSpPr/>
              <p:nvPr/>
            </p:nvSpPr>
            <p:spPr>
              <a:xfrm>
                <a:off x="10145934" y="2886075"/>
                <a:ext cx="976225" cy="1010602"/>
              </a:xfrm>
              <a:custGeom>
                <a:avLst/>
                <a:gdLst>
                  <a:gd name="connsiteX0" fmla="*/ 293315 w 976225"/>
                  <a:gd name="connsiteY0" fmla="*/ -50 h 1010602"/>
                  <a:gd name="connsiteX1" fmla="*/ 174253 w 976225"/>
                  <a:gd name="connsiteY1" fmla="*/ -50 h 1010602"/>
                  <a:gd name="connsiteX2" fmla="*/ -150 w 976225"/>
                  <a:gd name="connsiteY2" fmla="*/ 420860 h 1010602"/>
                  <a:gd name="connsiteX3" fmla="*/ 83765 w 976225"/>
                  <a:gd name="connsiteY3" fmla="*/ 504775 h 1010602"/>
                  <a:gd name="connsiteX4" fmla="*/ 379040 w 976225"/>
                  <a:gd name="connsiteY4" fmla="*/ 800050 h 1010602"/>
                  <a:gd name="connsiteX5" fmla="*/ 589543 w 976225"/>
                  <a:gd name="connsiteY5" fmla="*/ 1010553 h 1010602"/>
                  <a:gd name="connsiteX6" fmla="*/ 777090 w 976225"/>
                  <a:gd name="connsiteY6" fmla="*/ 779381 h 1010602"/>
                  <a:gd name="connsiteX7" fmla="*/ 975972 w 976225"/>
                  <a:gd name="connsiteY7" fmla="*/ 301416 h 1010602"/>
                  <a:gd name="connsiteX8" fmla="*/ 972286 w 976225"/>
                  <a:gd name="connsiteY8" fmla="*/ 295777 h 1010602"/>
                  <a:gd name="connsiteX9" fmla="*/ 971781 w 976225"/>
                  <a:gd name="connsiteY9" fmla="*/ 295701 h 1010602"/>
                  <a:gd name="connsiteX10" fmla="*/ 710320 w 976225"/>
                  <a:gd name="connsiteY10" fmla="*/ 426 h 1010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76225" h="1010602">
                    <a:moveTo>
                      <a:pt x="293315" y="-50"/>
                    </a:moveTo>
                    <a:lnTo>
                      <a:pt x="174253" y="-50"/>
                    </a:lnTo>
                    <a:cubicBezTo>
                      <a:pt x="174443" y="157875"/>
                      <a:pt x="111673" y="309351"/>
                      <a:pt x="-150" y="420860"/>
                    </a:cubicBezTo>
                    <a:lnTo>
                      <a:pt x="83765" y="504775"/>
                    </a:lnTo>
                    <a:lnTo>
                      <a:pt x="379040" y="800050"/>
                    </a:lnTo>
                    <a:lnTo>
                      <a:pt x="589543" y="1010553"/>
                    </a:lnTo>
                    <a:cubicBezTo>
                      <a:pt x="659885" y="940182"/>
                      <a:pt x="722731" y="862715"/>
                      <a:pt x="777090" y="779381"/>
                    </a:cubicBezTo>
                    <a:cubicBezTo>
                      <a:pt x="872102" y="633582"/>
                      <a:pt x="939510" y="471571"/>
                      <a:pt x="975972" y="301416"/>
                    </a:cubicBezTo>
                    <a:cubicBezTo>
                      <a:pt x="976515" y="298845"/>
                      <a:pt x="974858" y="296320"/>
                      <a:pt x="972286" y="295777"/>
                    </a:cubicBezTo>
                    <a:cubicBezTo>
                      <a:pt x="972124" y="295749"/>
                      <a:pt x="971952" y="295720"/>
                      <a:pt x="971781" y="295701"/>
                    </a:cubicBezTo>
                    <a:cubicBezTo>
                      <a:pt x="822591" y="277385"/>
                      <a:pt x="710453" y="150740"/>
                      <a:pt x="710320" y="426"/>
                    </a:cubicBezTo>
                    <a:close/>
                  </a:path>
                </a:pathLst>
              </a:custGeom>
              <a:solidFill>
                <a:srgbClr val="4298B5"/>
              </a:solidFill>
              <a:ln w="9525" cap="flat">
                <a:noFill/>
                <a:prstDash val="solid"/>
                <a:miter/>
              </a:ln>
              <a:effectLst>
                <a:outerShdw blurRad="50800" dist="38100" dir="8100000" algn="tr" rotWithShape="0">
                  <a:prstClr val="black">
                    <a:alpha val="40000"/>
                  </a:prstClr>
                </a:outerShdw>
              </a:effectLst>
            </p:spPr>
            <p:txBody>
              <a:bodyPr rtlCol="0" anchor="ctr"/>
              <a:lstStyle/>
              <a:p>
                <a:endParaRPr lang="fr-FR"/>
              </a:p>
            </p:txBody>
          </p:sp>
          <p:sp>
            <p:nvSpPr>
              <p:cNvPr id="83" name="Forme libre : forme 40">
                <a:extLst>
                  <a:ext uri="{FF2B5EF4-FFF2-40B4-BE49-F238E27FC236}">
                    <a16:creationId xmlns:a16="http://schemas.microsoft.com/office/drawing/2014/main" id="{0C652078-B3A9-4A45-89F2-FDE721F24B75}"/>
                  </a:ext>
                </a:extLst>
              </p:cNvPr>
              <p:cNvSpPr/>
              <p:nvPr/>
            </p:nvSpPr>
            <p:spPr>
              <a:xfrm>
                <a:off x="10145649" y="2085975"/>
                <a:ext cx="1008125" cy="800100"/>
              </a:xfrm>
              <a:custGeom>
                <a:avLst/>
                <a:gdLst>
                  <a:gd name="connsiteX0" fmla="*/ 977210 w 1008125"/>
                  <a:gd name="connsiteY0" fmla="*/ 504013 h 800100"/>
                  <a:gd name="connsiteX1" fmla="*/ 779852 w 1008125"/>
                  <a:gd name="connsiteY1" fmla="*/ 25382 h 800100"/>
                  <a:gd name="connsiteX2" fmla="*/ 773261 w 1008125"/>
                  <a:gd name="connsiteY2" fmla="*/ 23972 h 800100"/>
                  <a:gd name="connsiteX3" fmla="*/ 772899 w 1008125"/>
                  <a:gd name="connsiteY3" fmla="*/ 24239 h 800100"/>
                  <a:gd name="connsiteX4" fmla="*/ 379326 w 1008125"/>
                  <a:gd name="connsiteY4" fmla="*/ -50 h 800100"/>
                  <a:gd name="connsiteX5" fmla="*/ 84051 w 1008125"/>
                  <a:gd name="connsiteY5" fmla="*/ 295225 h 800100"/>
                  <a:gd name="connsiteX6" fmla="*/ -150 w 1008125"/>
                  <a:gd name="connsiteY6" fmla="*/ 379426 h 800100"/>
                  <a:gd name="connsiteX7" fmla="*/ 174538 w 1008125"/>
                  <a:gd name="connsiteY7" fmla="*/ 800050 h 800100"/>
                  <a:gd name="connsiteX8" fmla="*/ 1007976 w 1008125"/>
                  <a:gd name="connsiteY8" fmla="*/ 800050 h 800100"/>
                  <a:gd name="connsiteX9" fmla="*/ 977210 w 1008125"/>
                  <a:gd name="connsiteY9" fmla="*/ 504013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08125" h="800100">
                    <a:moveTo>
                      <a:pt x="977210" y="504013"/>
                    </a:moveTo>
                    <a:cubicBezTo>
                      <a:pt x="941291" y="333735"/>
                      <a:pt x="874388" y="171495"/>
                      <a:pt x="779852" y="25382"/>
                    </a:cubicBezTo>
                    <a:cubicBezTo>
                      <a:pt x="778423" y="23172"/>
                      <a:pt x="775471" y="22543"/>
                      <a:pt x="773261" y="23972"/>
                    </a:cubicBezTo>
                    <a:cubicBezTo>
                      <a:pt x="773137" y="24058"/>
                      <a:pt x="773013" y="24144"/>
                      <a:pt x="772899" y="24239"/>
                    </a:cubicBezTo>
                    <a:cubicBezTo>
                      <a:pt x="654398" y="116707"/>
                      <a:pt x="485549" y="106287"/>
                      <a:pt x="379326" y="-50"/>
                    </a:cubicBezTo>
                    <a:lnTo>
                      <a:pt x="84051" y="295225"/>
                    </a:lnTo>
                    <a:lnTo>
                      <a:pt x="-150" y="379426"/>
                    </a:lnTo>
                    <a:cubicBezTo>
                      <a:pt x="111711" y="490821"/>
                      <a:pt x="174577" y="642192"/>
                      <a:pt x="174538" y="800050"/>
                    </a:cubicBezTo>
                    <a:lnTo>
                      <a:pt x="1007976" y="800050"/>
                    </a:lnTo>
                    <a:cubicBezTo>
                      <a:pt x="1007995" y="700571"/>
                      <a:pt x="997689" y="601359"/>
                      <a:pt x="977210" y="504013"/>
                    </a:cubicBezTo>
                    <a:close/>
                  </a:path>
                </a:pathLst>
              </a:custGeom>
              <a:solidFill>
                <a:srgbClr val="00A3E0"/>
              </a:solidFill>
              <a:ln w="9525" cap="flat">
                <a:noFill/>
                <a:prstDash val="solid"/>
                <a:miter/>
              </a:ln>
              <a:effectLst>
                <a:outerShdw blurRad="50800" dist="38100" dir="8100000" algn="tr" rotWithShape="0">
                  <a:prstClr val="black">
                    <a:alpha val="40000"/>
                  </a:prstClr>
                </a:outerShdw>
              </a:effectLst>
            </p:spPr>
            <p:txBody>
              <a:bodyPr rtlCol="0" anchor="ctr"/>
              <a:lstStyle/>
              <a:p>
                <a:endParaRPr lang="fr-FR"/>
              </a:p>
            </p:txBody>
          </p:sp>
          <p:sp>
            <p:nvSpPr>
              <p:cNvPr id="84" name="Forme libre : forme 41">
                <a:extLst>
                  <a:ext uri="{FF2B5EF4-FFF2-40B4-BE49-F238E27FC236}">
                    <a16:creationId xmlns:a16="http://schemas.microsoft.com/office/drawing/2014/main" id="{568FCCB0-4F97-4634-AED0-D9516AD5941B}"/>
                  </a:ext>
                </a:extLst>
              </p:cNvPr>
              <p:cNvSpPr/>
              <p:nvPr/>
            </p:nvSpPr>
            <p:spPr>
              <a:xfrm>
                <a:off x="9725025" y="1489226"/>
                <a:ext cx="1010602" cy="975938"/>
              </a:xfrm>
              <a:custGeom>
                <a:avLst/>
                <a:gdLst>
                  <a:gd name="connsiteX0" fmla="*/ -150 w 1010602"/>
                  <a:gd name="connsiteY0" fmla="*/ 801486 h 975938"/>
                  <a:gd name="connsiteX1" fmla="*/ 420760 w 1010602"/>
                  <a:gd name="connsiteY1" fmla="*/ 975888 h 975938"/>
                  <a:gd name="connsiteX2" fmla="*/ 504675 w 1010602"/>
                  <a:gd name="connsiteY2" fmla="*/ 891973 h 975938"/>
                  <a:gd name="connsiteX3" fmla="*/ 799950 w 1010602"/>
                  <a:gd name="connsiteY3" fmla="*/ 596698 h 975938"/>
                  <a:gd name="connsiteX4" fmla="*/ 1010453 w 1010602"/>
                  <a:gd name="connsiteY4" fmla="*/ 386196 h 975938"/>
                  <a:gd name="connsiteX5" fmla="*/ 778995 w 1010602"/>
                  <a:gd name="connsiteY5" fmla="*/ 198934 h 975938"/>
                  <a:gd name="connsiteX6" fmla="*/ 301030 w 1010602"/>
                  <a:gd name="connsiteY6" fmla="*/ 52 h 975938"/>
                  <a:gd name="connsiteX7" fmla="*/ 295392 w 1010602"/>
                  <a:gd name="connsiteY7" fmla="*/ 3737 h 975938"/>
                  <a:gd name="connsiteX8" fmla="*/ 295315 w 1010602"/>
                  <a:gd name="connsiteY8" fmla="*/ 4243 h 975938"/>
                  <a:gd name="connsiteX9" fmla="*/ 40 w 1010602"/>
                  <a:gd name="connsiteY9" fmla="*/ 265704 h 975938"/>
                  <a:gd name="connsiteX10" fmla="*/ 40 w 1010602"/>
                  <a:gd name="connsiteY10" fmla="*/ 801486 h 975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10602" h="975938">
                    <a:moveTo>
                      <a:pt x="-150" y="801486"/>
                    </a:moveTo>
                    <a:cubicBezTo>
                      <a:pt x="157774" y="801295"/>
                      <a:pt x="309251" y="864065"/>
                      <a:pt x="420760" y="975888"/>
                    </a:cubicBezTo>
                    <a:lnTo>
                      <a:pt x="504675" y="891973"/>
                    </a:lnTo>
                    <a:lnTo>
                      <a:pt x="799950" y="596698"/>
                    </a:lnTo>
                    <a:lnTo>
                      <a:pt x="1010453" y="386196"/>
                    </a:lnTo>
                    <a:cubicBezTo>
                      <a:pt x="939977" y="315941"/>
                      <a:pt x="862415" y="253186"/>
                      <a:pt x="778995" y="198934"/>
                    </a:cubicBezTo>
                    <a:cubicBezTo>
                      <a:pt x="633196" y="103926"/>
                      <a:pt x="471185" y="36513"/>
                      <a:pt x="301030" y="52"/>
                    </a:cubicBezTo>
                    <a:cubicBezTo>
                      <a:pt x="298459" y="-487"/>
                      <a:pt x="295935" y="1164"/>
                      <a:pt x="295392" y="3737"/>
                    </a:cubicBezTo>
                    <a:cubicBezTo>
                      <a:pt x="295363" y="3905"/>
                      <a:pt x="295335" y="4073"/>
                      <a:pt x="295315" y="4243"/>
                    </a:cubicBezTo>
                    <a:cubicBezTo>
                      <a:pt x="276999" y="153434"/>
                      <a:pt x="150354" y="265575"/>
                      <a:pt x="40" y="265704"/>
                    </a:cubicBezTo>
                    <a:lnTo>
                      <a:pt x="40" y="801486"/>
                    </a:lnTo>
                    <a:close/>
                  </a:path>
                </a:pathLst>
              </a:custGeom>
              <a:solidFill>
                <a:srgbClr val="1D4F91"/>
              </a:solidFill>
              <a:ln w="9525" cap="flat">
                <a:noFill/>
                <a:prstDash val="solid"/>
                <a:miter/>
              </a:ln>
              <a:effectLst>
                <a:outerShdw blurRad="50800" dist="38100" dir="2700000" algn="tl" rotWithShape="0">
                  <a:prstClr val="black">
                    <a:alpha val="40000"/>
                  </a:prstClr>
                </a:outerShdw>
              </a:effectLst>
            </p:spPr>
            <p:txBody>
              <a:bodyPr rtlCol="0" anchor="ctr"/>
              <a:lstStyle/>
              <a:p>
                <a:endParaRPr lang="fr-FR"/>
              </a:p>
            </p:txBody>
          </p:sp>
          <p:sp>
            <p:nvSpPr>
              <p:cNvPr id="85" name="Forme libre : forme 42">
                <a:extLst>
                  <a:ext uri="{FF2B5EF4-FFF2-40B4-BE49-F238E27FC236}">
                    <a16:creationId xmlns:a16="http://schemas.microsoft.com/office/drawing/2014/main" id="{DA562EF0-750D-4B76-9EF4-BE8B9361A83B}"/>
                  </a:ext>
                </a:extLst>
              </p:cNvPr>
              <p:cNvSpPr/>
              <p:nvPr/>
            </p:nvSpPr>
            <p:spPr>
              <a:xfrm>
                <a:off x="8927306" y="2088356"/>
                <a:ext cx="1595437" cy="1595437"/>
              </a:xfrm>
              <a:custGeom>
                <a:avLst/>
                <a:gdLst>
                  <a:gd name="connsiteX0" fmla="*/ 797569 w 1595437"/>
                  <a:gd name="connsiteY0" fmla="*/ -50 h 1595437"/>
                  <a:gd name="connsiteX1" fmla="*/ -150 w 1595437"/>
                  <a:gd name="connsiteY1" fmla="*/ 797669 h 1595437"/>
                  <a:gd name="connsiteX2" fmla="*/ 797569 w 1595437"/>
                  <a:gd name="connsiteY2" fmla="*/ 1595388 h 1595437"/>
                  <a:gd name="connsiteX3" fmla="*/ 1595288 w 1595437"/>
                  <a:gd name="connsiteY3" fmla="*/ 797669 h 1595437"/>
                  <a:gd name="connsiteX4" fmla="*/ 797569 w 1595437"/>
                  <a:gd name="connsiteY4" fmla="*/ -50 h 1595437"/>
                  <a:gd name="connsiteX5" fmla="*/ 797569 w 1595437"/>
                  <a:gd name="connsiteY5" fmla="*/ 1392981 h 1595437"/>
                  <a:gd name="connsiteX6" fmla="*/ 202256 w 1595437"/>
                  <a:gd name="connsiteY6" fmla="*/ 797669 h 1595437"/>
                  <a:gd name="connsiteX7" fmla="*/ 797569 w 1595437"/>
                  <a:gd name="connsiteY7" fmla="*/ 202356 h 1595437"/>
                  <a:gd name="connsiteX8" fmla="*/ 1392881 w 1595437"/>
                  <a:gd name="connsiteY8" fmla="*/ 797669 h 1595437"/>
                  <a:gd name="connsiteX9" fmla="*/ 797569 w 1595437"/>
                  <a:gd name="connsiteY9" fmla="*/ 1392981 h 1595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95437" h="1595437">
                    <a:moveTo>
                      <a:pt x="797569" y="-50"/>
                    </a:moveTo>
                    <a:cubicBezTo>
                      <a:pt x="356999" y="-50"/>
                      <a:pt x="-150" y="357099"/>
                      <a:pt x="-150" y="797669"/>
                    </a:cubicBezTo>
                    <a:cubicBezTo>
                      <a:pt x="-150" y="1238238"/>
                      <a:pt x="356999" y="1595388"/>
                      <a:pt x="797569" y="1595388"/>
                    </a:cubicBezTo>
                    <a:cubicBezTo>
                      <a:pt x="1238138" y="1595388"/>
                      <a:pt x="1595288" y="1238238"/>
                      <a:pt x="1595288" y="797669"/>
                    </a:cubicBezTo>
                    <a:cubicBezTo>
                      <a:pt x="1595288" y="357099"/>
                      <a:pt x="1238138" y="-50"/>
                      <a:pt x="797569" y="-50"/>
                    </a:cubicBezTo>
                    <a:close/>
                    <a:moveTo>
                      <a:pt x="797569" y="1392981"/>
                    </a:moveTo>
                    <a:cubicBezTo>
                      <a:pt x="468785" y="1392981"/>
                      <a:pt x="202256" y="1126453"/>
                      <a:pt x="202256" y="797669"/>
                    </a:cubicBezTo>
                    <a:cubicBezTo>
                      <a:pt x="202256" y="468885"/>
                      <a:pt x="468785" y="202356"/>
                      <a:pt x="797569" y="202356"/>
                    </a:cubicBezTo>
                    <a:cubicBezTo>
                      <a:pt x="1126353" y="202356"/>
                      <a:pt x="1392881" y="468885"/>
                      <a:pt x="1392881" y="797669"/>
                    </a:cubicBezTo>
                    <a:cubicBezTo>
                      <a:pt x="1392881" y="1126453"/>
                      <a:pt x="1126353" y="1392981"/>
                      <a:pt x="797569" y="1392981"/>
                    </a:cubicBezTo>
                    <a:close/>
                  </a:path>
                </a:pathLst>
              </a:custGeom>
              <a:solidFill>
                <a:srgbClr val="414042">
                  <a:alpha val="25098"/>
                </a:srgbClr>
              </a:solidFill>
              <a:ln w="9525" cap="flat">
                <a:noFill/>
                <a:prstDash val="solid"/>
                <a:miter/>
              </a:ln>
            </p:spPr>
            <p:txBody>
              <a:bodyPr rtlCol="0" anchor="ctr"/>
              <a:lstStyle/>
              <a:p>
                <a:endParaRPr lang="fr-FR"/>
              </a:p>
            </p:txBody>
          </p:sp>
          <p:sp>
            <p:nvSpPr>
              <p:cNvPr id="86" name="Forme libre : forme 43">
                <a:extLst>
                  <a:ext uri="{FF2B5EF4-FFF2-40B4-BE49-F238E27FC236}">
                    <a16:creationId xmlns:a16="http://schemas.microsoft.com/office/drawing/2014/main" id="{FE9A267E-DF2D-4E22-AB94-5E98CDDF0D09}"/>
                  </a:ext>
                </a:extLst>
              </p:cNvPr>
              <p:cNvSpPr/>
              <p:nvPr/>
            </p:nvSpPr>
            <p:spPr>
              <a:xfrm>
                <a:off x="9181818" y="2360390"/>
                <a:ext cx="1085953" cy="1052131"/>
              </a:xfrm>
              <a:custGeom>
                <a:avLst/>
                <a:gdLst>
                  <a:gd name="connsiteX0" fmla="*/ 203490 w 1085953"/>
                  <a:gd name="connsiteY0" fmla="*/ 147778 h 1052131"/>
                  <a:gd name="connsiteX1" fmla="*/ 201014 w 1085953"/>
                  <a:gd name="connsiteY1" fmla="*/ 149588 h 1052131"/>
                  <a:gd name="connsiteX2" fmla="*/ 199775 w 1085953"/>
                  <a:gd name="connsiteY2" fmla="*/ 149588 h 1052131"/>
                  <a:gd name="connsiteX3" fmla="*/ 202062 w 1085953"/>
                  <a:gd name="connsiteY3" fmla="*/ 146635 h 1052131"/>
                  <a:gd name="connsiteX4" fmla="*/ 206062 w 1085953"/>
                  <a:gd name="connsiteY4" fmla="*/ 144063 h 1052131"/>
                  <a:gd name="connsiteX5" fmla="*/ 206633 w 1085953"/>
                  <a:gd name="connsiteY5" fmla="*/ 144063 h 1052131"/>
                  <a:gd name="connsiteX6" fmla="*/ 208253 w 1085953"/>
                  <a:gd name="connsiteY6" fmla="*/ 144063 h 1052131"/>
                  <a:gd name="connsiteX7" fmla="*/ 207491 w 1085953"/>
                  <a:gd name="connsiteY7" fmla="*/ 145492 h 1052131"/>
                  <a:gd name="connsiteX8" fmla="*/ 206253 w 1085953"/>
                  <a:gd name="connsiteY8" fmla="*/ 146445 h 1052131"/>
                  <a:gd name="connsiteX9" fmla="*/ 206253 w 1085953"/>
                  <a:gd name="connsiteY9" fmla="*/ 146445 h 1052131"/>
                  <a:gd name="connsiteX10" fmla="*/ 203490 w 1085953"/>
                  <a:gd name="connsiteY10" fmla="*/ 147778 h 1052131"/>
                  <a:gd name="connsiteX11" fmla="*/ 205681 w 1085953"/>
                  <a:gd name="connsiteY11" fmla="*/ 154636 h 1052131"/>
                  <a:gd name="connsiteX12" fmla="*/ 207014 w 1085953"/>
                  <a:gd name="connsiteY12" fmla="*/ 153493 h 1052131"/>
                  <a:gd name="connsiteX13" fmla="*/ 208824 w 1085953"/>
                  <a:gd name="connsiteY13" fmla="*/ 149683 h 1052131"/>
                  <a:gd name="connsiteX14" fmla="*/ 208824 w 1085953"/>
                  <a:gd name="connsiteY14" fmla="*/ 149683 h 1052131"/>
                  <a:gd name="connsiteX15" fmla="*/ 206824 w 1085953"/>
                  <a:gd name="connsiteY15" fmla="*/ 150445 h 1052131"/>
                  <a:gd name="connsiteX16" fmla="*/ 206824 w 1085953"/>
                  <a:gd name="connsiteY16" fmla="*/ 150445 h 1052131"/>
                  <a:gd name="connsiteX17" fmla="*/ 204443 w 1085953"/>
                  <a:gd name="connsiteY17" fmla="*/ 152826 h 1052131"/>
                  <a:gd name="connsiteX18" fmla="*/ 200918 w 1085953"/>
                  <a:gd name="connsiteY18" fmla="*/ 157684 h 1052131"/>
                  <a:gd name="connsiteX19" fmla="*/ 205681 w 1085953"/>
                  <a:gd name="connsiteY19" fmla="*/ 154636 h 1052131"/>
                  <a:gd name="connsiteX20" fmla="*/ 233684 w 1085953"/>
                  <a:gd name="connsiteY20" fmla="*/ 119679 h 1052131"/>
                  <a:gd name="connsiteX21" fmla="*/ 236447 w 1085953"/>
                  <a:gd name="connsiteY21" fmla="*/ 115965 h 1052131"/>
                  <a:gd name="connsiteX22" fmla="*/ 235875 w 1085953"/>
                  <a:gd name="connsiteY22" fmla="*/ 115965 h 1052131"/>
                  <a:gd name="connsiteX23" fmla="*/ 233684 w 1085953"/>
                  <a:gd name="connsiteY23" fmla="*/ 117679 h 1052131"/>
                  <a:gd name="connsiteX24" fmla="*/ 233684 w 1085953"/>
                  <a:gd name="connsiteY24" fmla="*/ 118155 h 1052131"/>
                  <a:gd name="connsiteX25" fmla="*/ 233113 w 1085953"/>
                  <a:gd name="connsiteY25" fmla="*/ 119013 h 1052131"/>
                  <a:gd name="connsiteX26" fmla="*/ 233113 w 1085953"/>
                  <a:gd name="connsiteY26" fmla="*/ 119013 h 1052131"/>
                  <a:gd name="connsiteX27" fmla="*/ 233113 w 1085953"/>
                  <a:gd name="connsiteY27" fmla="*/ 119013 h 1052131"/>
                  <a:gd name="connsiteX28" fmla="*/ 233322 w 1085953"/>
                  <a:gd name="connsiteY28" fmla="*/ 119651 h 1052131"/>
                  <a:gd name="connsiteX29" fmla="*/ 233684 w 1085953"/>
                  <a:gd name="connsiteY29" fmla="*/ 119679 h 1052131"/>
                  <a:gd name="connsiteX30" fmla="*/ 227970 w 1085953"/>
                  <a:gd name="connsiteY30" fmla="*/ 123584 h 1052131"/>
                  <a:gd name="connsiteX31" fmla="*/ 227970 w 1085953"/>
                  <a:gd name="connsiteY31" fmla="*/ 121870 h 1052131"/>
                  <a:gd name="connsiteX32" fmla="*/ 231208 w 1085953"/>
                  <a:gd name="connsiteY32" fmla="*/ 117298 h 1052131"/>
                  <a:gd name="connsiteX33" fmla="*/ 232351 w 1085953"/>
                  <a:gd name="connsiteY33" fmla="*/ 115965 h 1052131"/>
                  <a:gd name="connsiteX34" fmla="*/ 226255 w 1085953"/>
                  <a:gd name="connsiteY34" fmla="*/ 120060 h 1052131"/>
                  <a:gd name="connsiteX35" fmla="*/ 223302 w 1085953"/>
                  <a:gd name="connsiteY35" fmla="*/ 123013 h 1052131"/>
                  <a:gd name="connsiteX36" fmla="*/ 219111 w 1085953"/>
                  <a:gd name="connsiteY36" fmla="*/ 126061 h 1052131"/>
                  <a:gd name="connsiteX37" fmla="*/ 213301 w 1085953"/>
                  <a:gd name="connsiteY37" fmla="*/ 131395 h 1052131"/>
                  <a:gd name="connsiteX38" fmla="*/ 209777 w 1085953"/>
                  <a:gd name="connsiteY38" fmla="*/ 133205 h 1052131"/>
                  <a:gd name="connsiteX39" fmla="*/ 209300 w 1085953"/>
                  <a:gd name="connsiteY39" fmla="*/ 134538 h 1052131"/>
                  <a:gd name="connsiteX40" fmla="*/ 210920 w 1085953"/>
                  <a:gd name="connsiteY40" fmla="*/ 134538 h 1052131"/>
                  <a:gd name="connsiteX41" fmla="*/ 206729 w 1085953"/>
                  <a:gd name="connsiteY41" fmla="*/ 138920 h 1052131"/>
                  <a:gd name="connsiteX42" fmla="*/ 204538 w 1085953"/>
                  <a:gd name="connsiteY42" fmla="*/ 141111 h 1052131"/>
                  <a:gd name="connsiteX43" fmla="*/ 204538 w 1085953"/>
                  <a:gd name="connsiteY43" fmla="*/ 141111 h 1052131"/>
                  <a:gd name="connsiteX44" fmla="*/ 214063 w 1085953"/>
                  <a:gd name="connsiteY44" fmla="*/ 135300 h 1052131"/>
                  <a:gd name="connsiteX45" fmla="*/ 217492 w 1085953"/>
                  <a:gd name="connsiteY45" fmla="*/ 133776 h 1052131"/>
                  <a:gd name="connsiteX46" fmla="*/ 215968 w 1085953"/>
                  <a:gd name="connsiteY46" fmla="*/ 135872 h 1052131"/>
                  <a:gd name="connsiteX47" fmla="*/ 215968 w 1085953"/>
                  <a:gd name="connsiteY47" fmla="*/ 137396 h 1052131"/>
                  <a:gd name="connsiteX48" fmla="*/ 214920 w 1085953"/>
                  <a:gd name="connsiteY48" fmla="*/ 138825 h 1052131"/>
                  <a:gd name="connsiteX49" fmla="*/ 214920 w 1085953"/>
                  <a:gd name="connsiteY49" fmla="*/ 138825 h 1052131"/>
                  <a:gd name="connsiteX50" fmla="*/ 214920 w 1085953"/>
                  <a:gd name="connsiteY50" fmla="*/ 138825 h 1052131"/>
                  <a:gd name="connsiteX51" fmla="*/ 217682 w 1085953"/>
                  <a:gd name="connsiteY51" fmla="*/ 139777 h 1052131"/>
                  <a:gd name="connsiteX52" fmla="*/ 220921 w 1085953"/>
                  <a:gd name="connsiteY52" fmla="*/ 136634 h 1052131"/>
                  <a:gd name="connsiteX53" fmla="*/ 220921 w 1085953"/>
                  <a:gd name="connsiteY53" fmla="*/ 135967 h 1052131"/>
                  <a:gd name="connsiteX54" fmla="*/ 219873 w 1085953"/>
                  <a:gd name="connsiteY54" fmla="*/ 134824 h 1052131"/>
                  <a:gd name="connsiteX55" fmla="*/ 222255 w 1085953"/>
                  <a:gd name="connsiteY55" fmla="*/ 131490 h 1052131"/>
                  <a:gd name="connsiteX56" fmla="*/ 226255 w 1085953"/>
                  <a:gd name="connsiteY56" fmla="*/ 127109 h 1052131"/>
                  <a:gd name="connsiteX57" fmla="*/ 226255 w 1085953"/>
                  <a:gd name="connsiteY57" fmla="*/ 126061 h 1052131"/>
                  <a:gd name="connsiteX58" fmla="*/ 225779 w 1085953"/>
                  <a:gd name="connsiteY58" fmla="*/ 125394 h 1052131"/>
                  <a:gd name="connsiteX59" fmla="*/ 227970 w 1085953"/>
                  <a:gd name="connsiteY59" fmla="*/ 123584 h 1052131"/>
                  <a:gd name="connsiteX60" fmla="*/ 327030 w 1085953"/>
                  <a:gd name="connsiteY60" fmla="*/ 42241 h 1052131"/>
                  <a:gd name="connsiteX61" fmla="*/ 325982 w 1085953"/>
                  <a:gd name="connsiteY61" fmla="*/ 43289 h 1052131"/>
                  <a:gd name="connsiteX62" fmla="*/ 327696 w 1085953"/>
                  <a:gd name="connsiteY62" fmla="*/ 43289 h 1052131"/>
                  <a:gd name="connsiteX63" fmla="*/ 327696 w 1085953"/>
                  <a:gd name="connsiteY63" fmla="*/ 43289 h 1052131"/>
                  <a:gd name="connsiteX64" fmla="*/ 331221 w 1085953"/>
                  <a:gd name="connsiteY64" fmla="*/ 41003 h 1052131"/>
                  <a:gd name="connsiteX65" fmla="*/ 333697 w 1085953"/>
                  <a:gd name="connsiteY65" fmla="*/ 39669 h 1052131"/>
                  <a:gd name="connsiteX66" fmla="*/ 333697 w 1085953"/>
                  <a:gd name="connsiteY66" fmla="*/ 39669 h 1052131"/>
                  <a:gd name="connsiteX67" fmla="*/ 335316 w 1085953"/>
                  <a:gd name="connsiteY67" fmla="*/ 38050 h 1052131"/>
                  <a:gd name="connsiteX68" fmla="*/ 335316 w 1085953"/>
                  <a:gd name="connsiteY68" fmla="*/ 38050 h 1052131"/>
                  <a:gd name="connsiteX69" fmla="*/ 327030 w 1085953"/>
                  <a:gd name="connsiteY69" fmla="*/ 41955 h 1052131"/>
                  <a:gd name="connsiteX70" fmla="*/ 327506 w 1085953"/>
                  <a:gd name="connsiteY70" fmla="*/ 41955 h 1052131"/>
                  <a:gd name="connsiteX71" fmla="*/ 327030 w 1085953"/>
                  <a:gd name="connsiteY71" fmla="*/ 42241 h 1052131"/>
                  <a:gd name="connsiteX72" fmla="*/ 322553 w 1085953"/>
                  <a:gd name="connsiteY72" fmla="*/ 48528 h 1052131"/>
                  <a:gd name="connsiteX73" fmla="*/ 328458 w 1085953"/>
                  <a:gd name="connsiteY73" fmla="*/ 46432 h 1052131"/>
                  <a:gd name="connsiteX74" fmla="*/ 324839 w 1085953"/>
                  <a:gd name="connsiteY74" fmla="*/ 49194 h 1052131"/>
                  <a:gd name="connsiteX75" fmla="*/ 324839 w 1085953"/>
                  <a:gd name="connsiteY75" fmla="*/ 49194 h 1052131"/>
                  <a:gd name="connsiteX76" fmla="*/ 324839 w 1085953"/>
                  <a:gd name="connsiteY76" fmla="*/ 49194 h 1052131"/>
                  <a:gd name="connsiteX77" fmla="*/ 324839 w 1085953"/>
                  <a:gd name="connsiteY77" fmla="*/ 49194 h 1052131"/>
                  <a:gd name="connsiteX78" fmla="*/ 327887 w 1085953"/>
                  <a:gd name="connsiteY78" fmla="*/ 49194 h 1052131"/>
                  <a:gd name="connsiteX79" fmla="*/ 326553 w 1085953"/>
                  <a:gd name="connsiteY79" fmla="*/ 50623 h 1052131"/>
                  <a:gd name="connsiteX80" fmla="*/ 328268 w 1085953"/>
                  <a:gd name="connsiteY80" fmla="*/ 50623 h 1052131"/>
                  <a:gd name="connsiteX81" fmla="*/ 327220 w 1085953"/>
                  <a:gd name="connsiteY81" fmla="*/ 52909 h 1052131"/>
                  <a:gd name="connsiteX82" fmla="*/ 330554 w 1085953"/>
                  <a:gd name="connsiteY82" fmla="*/ 52338 h 1052131"/>
                  <a:gd name="connsiteX83" fmla="*/ 330554 w 1085953"/>
                  <a:gd name="connsiteY83" fmla="*/ 52338 h 1052131"/>
                  <a:gd name="connsiteX84" fmla="*/ 339507 w 1085953"/>
                  <a:gd name="connsiteY84" fmla="*/ 47575 h 1052131"/>
                  <a:gd name="connsiteX85" fmla="*/ 343603 w 1085953"/>
                  <a:gd name="connsiteY85" fmla="*/ 43194 h 1052131"/>
                  <a:gd name="connsiteX86" fmla="*/ 344365 w 1085953"/>
                  <a:gd name="connsiteY86" fmla="*/ 41384 h 1052131"/>
                  <a:gd name="connsiteX87" fmla="*/ 339507 w 1085953"/>
                  <a:gd name="connsiteY87" fmla="*/ 42336 h 1052131"/>
                  <a:gd name="connsiteX88" fmla="*/ 339507 w 1085953"/>
                  <a:gd name="connsiteY88" fmla="*/ 42336 h 1052131"/>
                  <a:gd name="connsiteX89" fmla="*/ 336840 w 1085953"/>
                  <a:gd name="connsiteY89" fmla="*/ 42908 h 1052131"/>
                  <a:gd name="connsiteX90" fmla="*/ 338269 w 1085953"/>
                  <a:gd name="connsiteY90" fmla="*/ 41670 h 1052131"/>
                  <a:gd name="connsiteX91" fmla="*/ 338269 w 1085953"/>
                  <a:gd name="connsiteY91" fmla="*/ 41670 h 1052131"/>
                  <a:gd name="connsiteX92" fmla="*/ 336078 w 1085953"/>
                  <a:gd name="connsiteY92" fmla="*/ 42336 h 1052131"/>
                  <a:gd name="connsiteX93" fmla="*/ 336745 w 1085953"/>
                  <a:gd name="connsiteY93" fmla="*/ 41860 h 1052131"/>
                  <a:gd name="connsiteX94" fmla="*/ 336745 w 1085953"/>
                  <a:gd name="connsiteY94" fmla="*/ 41098 h 1052131"/>
                  <a:gd name="connsiteX95" fmla="*/ 335316 w 1085953"/>
                  <a:gd name="connsiteY95" fmla="*/ 41670 h 1052131"/>
                  <a:gd name="connsiteX96" fmla="*/ 338364 w 1085953"/>
                  <a:gd name="connsiteY96" fmla="*/ 39574 h 1052131"/>
                  <a:gd name="connsiteX97" fmla="*/ 341603 w 1085953"/>
                  <a:gd name="connsiteY97" fmla="*/ 37288 h 1052131"/>
                  <a:gd name="connsiteX98" fmla="*/ 338174 w 1085953"/>
                  <a:gd name="connsiteY98" fmla="*/ 38812 h 1052131"/>
                  <a:gd name="connsiteX99" fmla="*/ 339031 w 1085953"/>
                  <a:gd name="connsiteY99" fmla="*/ 37955 h 1052131"/>
                  <a:gd name="connsiteX100" fmla="*/ 343127 w 1085953"/>
                  <a:gd name="connsiteY100" fmla="*/ 35859 h 1052131"/>
                  <a:gd name="connsiteX101" fmla="*/ 346556 w 1085953"/>
                  <a:gd name="connsiteY101" fmla="*/ 34716 h 1052131"/>
                  <a:gd name="connsiteX102" fmla="*/ 350556 w 1085953"/>
                  <a:gd name="connsiteY102" fmla="*/ 32430 h 1052131"/>
                  <a:gd name="connsiteX103" fmla="*/ 351795 w 1085953"/>
                  <a:gd name="connsiteY103" fmla="*/ 31097 h 1052131"/>
                  <a:gd name="connsiteX104" fmla="*/ 350175 w 1085953"/>
                  <a:gd name="connsiteY104" fmla="*/ 31097 h 1052131"/>
                  <a:gd name="connsiteX105" fmla="*/ 354271 w 1085953"/>
                  <a:gd name="connsiteY105" fmla="*/ 28811 h 1052131"/>
                  <a:gd name="connsiteX106" fmla="*/ 354271 w 1085953"/>
                  <a:gd name="connsiteY106" fmla="*/ 28811 h 1052131"/>
                  <a:gd name="connsiteX107" fmla="*/ 360176 w 1085953"/>
                  <a:gd name="connsiteY107" fmla="*/ 25763 h 1052131"/>
                  <a:gd name="connsiteX108" fmla="*/ 357605 w 1085953"/>
                  <a:gd name="connsiteY108" fmla="*/ 26811 h 1052131"/>
                  <a:gd name="connsiteX109" fmla="*/ 357605 w 1085953"/>
                  <a:gd name="connsiteY109" fmla="*/ 26811 h 1052131"/>
                  <a:gd name="connsiteX110" fmla="*/ 346175 w 1085953"/>
                  <a:gd name="connsiteY110" fmla="*/ 32049 h 1052131"/>
                  <a:gd name="connsiteX111" fmla="*/ 339983 w 1085953"/>
                  <a:gd name="connsiteY111" fmla="*/ 36812 h 1052131"/>
                  <a:gd name="connsiteX112" fmla="*/ 327982 w 1085953"/>
                  <a:gd name="connsiteY112" fmla="*/ 43479 h 1052131"/>
                  <a:gd name="connsiteX113" fmla="*/ 327410 w 1085953"/>
                  <a:gd name="connsiteY113" fmla="*/ 43479 h 1052131"/>
                  <a:gd name="connsiteX114" fmla="*/ 325505 w 1085953"/>
                  <a:gd name="connsiteY114" fmla="*/ 45099 h 1052131"/>
                  <a:gd name="connsiteX115" fmla="*/ 328268 w 1085953"/>
                  <a:gd name="connsiteY115" fmla="*/ 44051 h 1052131"/>
                  <a:gd name="connsiteX116" fmla="*/ 267784 w 1085953"/>
                  <a:gd name="connsiteY116" fmla="*/ 105678 h 1052131"/>
                  <a:gd name="connsiteX117" fmla="*/ 267784 w 1085953"/>
                  <a:gd name="connsiteY117" fmla="*/ 103773 h 1052131"/>
                  <a:gd name="connsiteX118" fmla="*/ 263498 w 1085953"/>
                  <a:gd name="connsiteY118" fmla="*/ 105296 h 1052131"/>
                  <a:gd name="connsiteX119" fmla="*/ 262259 w 1085953"/>
                  <a:gd name="connsiteY119" fmla="*/ 106058 h 1052131"/>
                  <a:gd name="connsiteX120" fmla="*/ 256449 w 1085953"/>
                  <a:gd name="connsiteY120" fmla="*/ 111869 h 1052131"/>
                  <a:gd name="connsiteX121" fmla="*/ 262450 w 1085953"/>
                  <a:gd name="connsiteY121" fmla="*/ 109964 h 1052131"/>
                  <a:gd name="connsiteX122" fmla="*/ 267784 w 1085953"/>
                  <a:gd name="connsiteY122" fmla="*/ 105392 h 1052131"/>
                  <a:gd name="connsiteX123" fmla="*/ 366272 w 1085953"/>
                  <a:gd name="connsiteY123" fmla="*/ 19953 h 1052131"/>
                  <a:gd name="connsiteX124" fmla="*/ 366272 w 1085953"/>
                  <a:gd name="connsiteY124" fmla="*/ 19953 h 1052131"/>
                  <a:gd name="connsiteX125" fmla="*/ 373226 w 1085953"/>
                  <a:gd name="connsiteY125" fmla="*/ 16809 h 1052131"/>
                  <a:gd name="connsiteX126" fmla="*/ 363701 w 1085953"/>
                  <a:gd name="connsiteY126" fmla="*/ 21096 h 1052131"/>
                  <a:gd name="connsiteX127" fmla="*/ 285215 w 1085953"/>
                  <a:gd name="connsiteY127" fmla="*/ 62815 h 1052131"/>
                  <a:gd name="connsiteX128" fmla="*/ 293216 w 1085953"/>
                  <a:gd name="connsiteY128" fmla="*/ 58433 h 1052131"/>
                  <a:gd name="connsiteX129" fmla="*/ 291120 w 1085953"/>
                  <a:gd name="connsiteY129" fmla="*/ 60243 h 1052131"/>
                  <a:gd name="connsiteX130" fmla="*/ 301883 w 1085953"/>
                  <a:gd name="connsiteY130" fmla="*/ 54338 h 1052131"/>
                  <a:gd name="connsiteX131" fmla="*/ 307313 w 1085953"/>
                  <a:gd name="connsiteY131" fmla="*/ 50433 h 1052131"/>
                  <a:gd name="connsiteX132" fmla="*/ 301407 w 1085953"/>
                  <a:gd name="connsiteY132" fmla="*/ 53766 h 1052131"/>
                  <a:gd name="connsiteX133" fmla="*/ 307598 w 1085953"/>
                  <a:gd name="connsiteY133" fmla="*/ 50052 h 1052131"/>
                  <a:gd name="connsiteX134" fmla="*/ 309789 w 1085953"/>
                  <a:gd name="connsiteY134" fmla="*/ 50052 h 1052131"/>
                  <a:gd name="connsiteX135" fmla="*/ 312742 w 1085953"/>
                  <a:gd name="connsiteY135" fmla="*/ 48528 h 1052131"/>
                  <a:gd name="connsiteX136" fmla="*/ 315028 w 1085953"/>
                  <a:gd name="connsiteY136" fmla="*/ 47575 h 1052131"/>
                  <a:gd name="connsiteX137" fmla="*/ 319029 w 1085953"/>
                  <a:gd name="connsiteY137" fmla="*/ 44337 h 1052131"/>
                  <a:gd name="connsiteX138" fmla="*/ 315314 w 1085953"/>
                  <a:gd name="connsiteY138" fmla="*/ 46146 h 1052131"/>
                  <a:gd name="connsiteX139" fmla="*/ 316362 w 1085953"/>
                  <a:gd name="connsiteY139" fmla="*/ 45099 h 1052131"/>
                  <a:gd name="connsiteX140" fmla="*/ 308360 w 1085953"/>
                  <a:gd name="connsiteY140" fmla="*/ 48908 h 1052131"/>
                  <a:gd name="connsiteX141" fmla="*/ 302741 w 1085953"/>
                  <a:gd name="connsiteY141" fmla="*/ 51671 h 1052131"/>
                  <a:gd name="connsiteX142" fmla="*/ 305693 w 1085953"/>
                  <a:gd name="connsiteY142" fmla="*/ 49480 h 1052131"/>
                  <a:gd name="connsiteX143" fmla="*/ 301122 w 1085953"/>
                  <a:gd name="connsiteY143" fmla="*/ 51671 h 1052131"/>
                  <a:gd name="connsiteX144" fmla="*/ 294740 w 1085953"/>
                  <a:gd name="connsiteY144" fmla="*/ 56243 h 1052131"/>
                  <a:gd name="connsiteX145" fmla="*/ 294740 w 1085953"/>
                  <a:gd name="connsiteY145" fmla="*/ 56243 h 1052131"/>
                  <a:gd name="connsiteX146" fmla="*/ 286453 w 1085953"/>
                  <a:gd name="connsiteY146" fmla="*/ 61577 h 1052131"/>
                  <a:gd name="connsiteX147" fmla="*/ 285215 w 1085953"/>
                  <a:gd name="connsiteY147" fmla="*/ 62434 h 1052131"/>
                  <a:gd name="connsiteX148" fmla="*/ 426661 w 1085953"/>
                  <a:gd name="connsiteY148" fmla="*/ 20429 h 1052131"/>
                  <a:gd name="connsiteX149" fmla="*/ 426661 w 1085953"/>
                  <a:gd name="connsiteY149" fmla="*/ 19381 h 1052131"/>
                  <a:gd name="connsiteX150" fmla="*/ 415707 w 1085953"/>
                  <a:gd name="connsiteY150" fmla="*/ 25191 h 1052131"/>
                  <a:gd name="connsiteX151" fmla="*/ 420946 w 1085953"/>
                  <a:gd name="connsiteY151" fmla="*/ 20524 h 1052131"/>
                  <a:gd name="connsiteX152" fmla="*/ 420946 w 1085953"/>
                  <a:gd name="connsiteY152" fmla="*/ 19381 h 1052131"/>
                  <a:gd name="connsiteX153" fmla="*/ 412183 w 1085953"/>
                  <a:gd name="connsiteY153" fmla="*/ 23096 h 1052131"/>
                  <a:gd name="connsiteX154" fmla="*/ 412183 w 1085953"/>
                  <a:gd name="connsiteY154" fmla="*/ 22048 h 1052131"/>
                  <a:gd name="connsiteX155" fmla="*/ 408945 w 1085953"/>
                  <a:gd name="connsiteY155" fmla="*/ 23667 h 1052131"/>
                  <a:gd name="connsiteX156" fmla="*/ 408945 w 1085953"/>
                  <a:gd name="connsiteY156" fmla="*/ 22524 h 1052131"/>
                  <a:gd name="connsiteX157" fmla="*/ 397610 w 1085953"/>
                  <a:gd name="connsiteY157" fmla="*/ 28144 h 1052131"/>
                  <a:gd name="connsiteX158" fmla="*/ 399896 w 1085953"/>
                  <a:gd name="connsiteY158" fmla="*/ 28144 h 1052131"/>
                  <a:gd name="connsiteX159" fmla="*/ 399229 w 1085953"/>
                  <a:gd name="connsiteY159" fmla="*/ 29192 h 1052131"/>
                  <a:gd name="connsiteX160" fmla="*/ 392466 w 1085953"/>
                  <a:gd name="connsiteY160" fmla="*/ 29954 h 1052131"/>
                  <a:gd name="connsiteX161" fmla="*/ 374655 w 1085953"/>
                  <a:gd name="connsiteY161" fmla="*/ 39479 h 1052131"/>
                  <a:gd name="connsiteX162" fmla="*/ 379226 w 1085953"/>
                  <a:gd name="connsiteY162" fmla="*/ 39479 h 1052131"/>
                  <a:gd name="connsiteX163" fmla="*/ 377798 w 1085953"/>
                  <a:gd name="connsiteY163" fmla="*/ 41384 h 1052131"/>
                  <a:gd name="connsiteX164" fmla="*/ 369321 w 1085953"/>
                  <a:gd name="connsiteY164" fmla="*/ 42336 h 1052131"/>
                  <a:gd name="connsiteX165" fmla="*/ 369321 w 1085953"/>
                  <a:gd name="connsiteY165" fmla="*/ 41288 h 1052131"/>
                  <a:gd name="connsiteX166" fmla="*/ 368368 w 1085953"/>
                  <a:gd name="connsiteY166" fmla="*/ 40717 h 1052131"/>
                  <a:gd name="connsiteX167" fmla="*/ 364939 w 1085953"/>
                  <a:gd name="connsiteY167" fmla="*/ 44051 h 1052131"/>
                  <a:gd name="connsiteX168" fmla="*/ 365510 w 1085953"/>
                  <a:gd name="connsiteY168" fmla="*/ 44051 h 1052131"/>
                  <a:gd name="connsiteX169" fmla="*/ 365510 w 1085953"/>
                  <a:gd name="connsiteY169" fmla="*/ 45099 h 1052131"/>
                  <a:gd name="connsiteX170" fmla="*/ 365510 w 1085953"/>
                  <a:gd name="connsiteY170" fmla="*/ 45099 h 1052131"/>
                  <a:gd name="connsiteX171" fmla="*/ 366558 w 1085953"/>
                  <a:gd name="connsiteY171" fmla="*/ 45099 h 1052131"/>
                  <a:gd name="connsiteX172" fmla="*/ 366082 w 1085953"/>
                  <a:gd name="connsiteY172" fmla="*/ 46146 h 1052131"/>
                  <a:gd name="connsiteX173" fmla="*/ 353604 w 1085953"/>
                  <a:gd name="connsiteY173" fmla="*/ 53766 h 1052131"/>
                  <a:gd name="connsiteX174" fmla="*/ 353604 w 1085953"/>
                  <a:gd name="connsiteY174" fmla="*/ 55004 h 1052131"/>
                  <a:gd name="connsiteX175" fmla="*/ 357890 w 1085953"/>
                  <a:gd name="connsiteY175" fmla="*/ 52528 h 1052131"/>
                  <a:gd name="connsiteX176" fmla="*/ 357890 w 1085953"/>
                  <a:gd name="connsiteY176" fmla="*/ 53576 h 1052131"/>
                  <a:gd name="connsiteX177" fmla="*/ 362748 w 1085953"/>
                  <a:gd name="connsiteY177" fmla="*/ 51385 h 1052131"/>
                  <a:gd name="connsiteX178" fmla="*/ 361605 w 1085953"/>
                  <a:gd name="connsiteY178" fmla="*/ 53480 h 1052131"/>
                  <a:gd name="connsiteX179" fmla="*/ 365987 w 1085953"/>
                  <a:gd name="connsiteY179" fmla="*/ 51575 h 1052131"/>
                  <a:gd name="connsiteX180" fmla="*/ 363605 w 1085953"/>
                  <a:gd name="connsiteY180" fmla="*/ 55195 h 1052131"/>
                  <a:gd name="connsiteX181" fmla="*/ 364463 w 1085953"/>
                  <a:gd name="connsiteY181" fmla="*/ 55957 h 1052131"/>
                  <a:gd name="connsiteX182" fmla="*/ 354938 w 1085953"/>
                  <a:gd name="connsiteY182" fmla="*/ 68435 h 1052131"/>
                  <a:gd name="connsiteX183" fmla="*/ 355700 w 1085953"/>
                  <a:gd name="connsiteY183" fmla="*/ 69197 h 1052131"/>
                  <a:gd name="connsiteX184" fmla="*/ 351795 w 1085953"/>
                  <a:gd name="connsiteY184" fmla="*/ 73102 h 1052131"/>
                  <a:gd name="connsiteX185" fmla="*/ 351795 w 1085953"/>
                  <a:gd name="connsiteY185" fmla="*/ 74150 h 1052131"/>
                  <a:gd name="connsiteX186" fmla="*/ 347222 w 1085953"/>
                  <a:gd name="connsiteY186" fmla="*/ 78722 h 1052131"/>
                  <a:gd name="connsiteX187" fmla="*/ 348080 w 1085953"/>
                  <a:gd name="connsiteY187" fmla="*/ 79388 h 1052131"/>
                  <a:gd name="connsiteX188" fmla="*/ 334554 w 1085953"/>
                  <a:gd name="connsiteY188" fmla="*/ 91104 h 1052131"/>
                  <a:gd name="connsiteX189" fmla="*/ 335602 w 1085953"/>
                  <a:gd name="connsiteY189" fmla="*/ 91104 h 1052131"/>
                  <a:gd name="connsiteX190" fmla="*/ 332745 w 1085953"/>
                  <a:gd name="connsiteY190" fmla="*/ 93104 h 1052131"/>
                  <a:gd name="connsiteX191" fmla="*/ 342270 w 1085953"/>
                  <a:gd name="connsiteY191" fmla="*/ 87485 h 1052131"/>
                  <a:gd name="connsiteX192" fmla="*/ 339126 w 1085953"/>
                  <a:gd name="connsiteY192" fmla="*/ 90723 h 1052131"/>
                  <a:gd name="connsiteX193" fmla="*/ 340269 w 1085953"/>
                  <a:gd name="connsiteY193" fmla="*/ 92533 h 1052131"/>
                  <a:gd name="connsiteX194" fmla="*/ 339126 w 1085953"/>
                  <a:gd name="connsiteY194" fmla="*/ 92533 h 1052131"/>
                  <a:gd name="connsiteX195" fmla="*/ 337031 w 1085953"/>
                  <a:gd name="connsiteY195" fmla="*/ 95391 h 1052131"/>
                  <a:gd name="connsiteX196" fmla="*/ 337983 w 1085953"/>
                  <a:gd name="connsiteY196" fmla="*/ 95962 h 1052131"/>
                  <a:gd name="connsiteX197" fmla="*/ 337031 w 1085953"/>
                  <a:gd name="connsiteY197" fmla="*/ 95962 h 1052131"/>
                  <a:gd name="connsiteX198" fmla="*/ 337602 w 1085953"/>
                  <a:gd name="connsiteY198" fmla="*/ 97010 h 1052131"/>
                  <a:gd name="connsiteX199" fmla="*/ 333316 w 1085953"/>
                  <a:gd name="connsiteY199" fmla="*/ 100915 h 1052131"/>
                  <a:gd name="connsiteX200" fmla="*/ 327506 w 1085953"/>
                  <a:gd name="connsiteY200" fmla="*/ 98724 h 1052131"/>
                  <a:gd name="connsiteX201" fmla="*/ 327506 w 1085953"/>
                  <a:gd name="connsiteY201" fmla="*/ 104820 h 1052131"/>
                  <a:gd name="connsiteX202" fmla="*/ 333125 w 1085953"/>
                  <a:gd name="connsiteY202" fmla="*/ 103392 h 1052131"/>
                  <a:gd name="connsiteX203" fmla="*/ 331982 w 1085953"/>
                  <a:gd name="connsiteY203" fmla="*/ 105392 h 1052131"/>
                  <a:gd name="connsiteX204" fmla="*/ 333030 w 1085953"/>
                  <a:gd name="connsiteY204" fmla="*/ 105392 h 1052131"/>
                  <a:gd name="connsiteX205" fmla="*/ 328458 w 1085953"/>
                  <a:gd name="connsiteY205" fmla="*/ 108249 h 1052131"/>
                  <a:gd name="connsiteX206" fmla="*/ 327315 w 1085953"/>
                  <a:gd name="connsiteY206" fmla="*/ 108249 h 1052131"/>
                  <a:gd name="connsiteX207" fmla="*/ 322457 w 1085953"/>
                  <a:gd name="connsiteY207" fmla="*/ 113583 h 1052131"/>
                  <a:gd name="connsiteX208" fmla="*/ 323505 w 1085953"/>
                  <a:gd name="connsiteY208" fmla="*/ 114155 h 1052131"/>
                  <a:gd name="connsiteX209" fmla="*/ 313980 w 1085953"/>
                  <a:gd name="connsiteY209" fmla="*/ 119108 h 1052131"/>
                  <a:gd name="connsiteX210" fmla="*/ 309980 w 1085953"/>
                  <a:gd name="connsiteY210" fmla="*/ 121203 h 1052131"/>
                  <a:gd name="connsiteX211" fmla="*/ 314933 w 1085953"/>
                  <a:gd name="connsiteY211" fmla="*/ 121203 h 1052131"/>
                  <a:gd name="connsiteX212" fmla="*/ 305408 w 1085953"/>
                  <a:gd name="connsiteY212" fmla="*/ 125680 h 1052131"/>
                  <a:gd name="connsiteX213" fmla="*/ 308741 w 1085953"/>
                  <a:gd name="connsiteY213" fmla="*/ 127871 h 1052131"/>
                  <a:gd name="connsiteX214" fmla="*/ 299788 w 1085953"/>
                  <a:gd name="connsiteY214" fmla="*/ 129966 h 1052131"/>
                  <a:gd name="connsiteX215" fmla="*/ 299788 w 1085953"/>
                  <a:gd name="connsiteY215" fmla="*/ 131204 h 1052131"/>
                  <a:gd name="connsiteX216" fmla="*/ 305884 w 1085953"/>
                  <a:gd name="connsiteY216" fmla="*/ 131681 h 1052131"/>
                  <a:gd name="connsiteX217" fmla="*/ 293216 w 1085953"/>
                  <a:gd name="connsiteY217" fmla="*/ 139682 h 1052131"/>
                  <a:gd name="connsiteX218" fmla="*/ 299026 w 1085953"/>
                  <a:gd name="connsiteY218" fmla="*/ 137205 h 1052131"/>
                  <a:gd name="connsiteX219" fmla="*/ 295025 w 1085953"/>
                  <a:gd name="connsiteY219" fmla="*/ 140920 h 1052131"/>
                  <a:gd name="connsiteX220" fmla="*/ 296264 w 1085953"/>
                  <a:gd name="connsiteY220" fmla="*/ 142825 h 1052131"/>
                  <a:gd name="connsiteX221" fmla="*/ 290072 w 1085953"/>
                  <a:gd name="connsiteY221" fmla="*/ 149016 h 1052131"/>
                  <a:gd name="connsiteX222" fmla="*/ 293501 w 1085953"/>
                  <a:gd name="connsiteY222" fmla="*/ 149016 h 1052131"/>
                  <a:gd name="connsiteX223" fmla="*/ 290168 w 1085953"/>
                  <a:gd name="connsiteY223" fmla="*/ 151017 h 1052131"/>
                  <a:gd name="connsiteX224" fmla="*/ 290168 w 1085953"/>
                  <a:gd name="connsiteY224" fmla="*/ 152159 h 1052131"/>
                  <a:gd name="connsiteX225" fmla="*/ 291215 w 1085953"/>
                  <a:gd name="connsiteY225" fmla="*/ 152159 h 1052131"/>
                  <a:gd name="connsiteX226" fmla="*/ 286263 w 1085953"/>
                  <a:gd name="connsiteY226" fmla="*/ 155874 h 1052131"/>
                  <a:gd name="connsiteX227" fmla="*/ 284738 w 1085953"/>
                  <a:gd name="connsiteY227" fmla="*/ 155874 h 1052131"/>
                  <a:gd name="connsiteX228" fmla="*/ 284738 w 1085953"/>
                  <a:gd name="connsiteY228" fmla="*/ 155874 h 1052131"/>
                  <a:gd name="connsiteX229" fmla="*/ 282167 w 1085953"/>
                  <a:gd name="connsiteY229" fmla="*/ 163780 h 1052131"/>
                  <a:gd name="connsiteX230" fmla="*/ 282833 w 1085953"/>
                  <a:gd name="connsiteY230" fmla="*/ 164542 h 1052131"/>
                  <a:gd name="connsiteX231" fmla="*/ 280357 w 1085953"/>
                  <a:gd name="connsiteY231" fmla="*/ 173210 h 1052131"/>
                  <a:gd name="connsiteX232" fmla="*/ 279023 w 1085953"/>
                  <a:gd name="connsiteY232" fmla="*/ 175020 h 1052131"/>
                  <a:gd name="connsiteX233" fmla="*/ 280166 w 1085953"/>
                  <a:gd name="connsiteY233" fmla="*/ 175020 h 1052131"/>
                  <a:gd name="connsiteX234" fmla="*/ 278547 w 1085953"/>
                  <a:gd name="connsiteY234" fmla="*/ 180449 h 1052131"/>
                  <a:gd name="connsiteX235" fmla="*/ 279595 w 1085953"/>
                  <a:gd name="connsiteY235" fmla="*/ 180449 h 1052131"/>
                  <a:gd name="connsiteX236" fmla="*/ 277880 w 1085953"/>
                  <a:gd name="connsiteY236" fmla="*/ 183878 h 1052131"/>
                  <a:gd name="connsiteX237" fmla="*/ 287405 w 1085953"/>
                  <a:gd name="connsiteY237" fmla="*/ 181687 h 1052131"/>
                  <a:gd name="connsiteX238" fmla="*/ 288548 w 1085953"/>
                  <a:gd name="connsiteY238" fmla="*/ 182354 h 1052131"/>
                  <a:gd name="connsiteX239" fmla="*/ 283881 w 1085953"/>
                  <a:gd name="connsiteY239" fmla="*/ 187497 h 1052131"/>
                  <a:gd name="connsiteX240" fmla="*/ 284929 w 1085953"/>
                  <a:gd name="connsiteY240" fmla="*/ 187497 h 1052131"/>
                  <a:gd name="connsiteX241" fmla="*/ 284167 w 1085953"/>
                  <a:gd name="connsiteY241" fmla="*/ 189688 h 1052131"/>
                  <a:gd name="connsiteX242" fmla="*/ 286358 w 1085953"/>
                  <a:gd name="connsiteY242" fmla="*/ 188450 h 1052131"/>
                  <a:gd name="connsiteX243" fmla="*/ 286358 w 1085953"/>
                  <a:gd name="connsiteY243" fmla="*/ 194165 h 1052131"/>
                  <a:gd name="connsiteX244" fmla="*/ 287310 w 1085953"/>
                  <a:gd name="connsiteY244" fmla="*/ 193212 h 1052131"/>
                  <a:gd name="connsiteX245" fmla="*/ 288358 w 1085953"/>
                  <a:gd name="connsiteY245" fmla="*/ 193212 h 1052131"/>
                  <a:gd name="connsiteX246" fmla="*/ 288358 w 1085953"/>
                  <a:gd name="connsiteY246" fmla="*/ 194450 h 1052131"/>
                  <a:gd name="connsiteX247" fmla="*/ 291692 w 1085953"/>
                  <a:gd name="connsiteY247" fmla="*/ 193974 h 1052131"/>
                  <a:gd name="connsiteX248" fmla="*/ 300264 w 1085953"/>
                  <a:gd name="connsiteY248" fmla="*/ 183497 h 1052131"/>
                  <a:gd name="connsiteX249" fmla="*/ 307884 w 1085953"/>
                  <a:gd name="connsiteY249" fmla="*/ 175877 h 1052131"/>
                  <a:gd name="connsiteX250" fmla="*/ 307884 w 1085953"/>
                  <a:gd name="connsiteY250" fmla="*/ 169686 h 1052131"/>
                  <a:gd name="connsiteX251" fmla="*/ 309980 w 1085953"/>
                  <a:gd name="connsiteY251" fmla="*/ 172067 h 1052131"/>
                  <a:gd name="connsiteX252" fmla="*/ 313599 w 1085953"/>
                  <a:gd name="connsiteY252" fmla="*/ 167304 h 1052131"/>
                  <a:gd name="connsiteX253" fmla="*/ 314838 w 1085953"/>
                  <a:gd name="connsiteY253" fmla="*/ 167304 h 1052131"/>
                  <a:gd name="connsiteX254" fmla="*/ 316933 w 1085953"/>
                  <a:gd name="connsiteY254" fmla="*/ 163971 h 1052131"/>
                  <a:gd name="connsiteX255" fmla="*/ 322172 w 1085953"/>
                  <a:gd name="connsiteY255" fmla="*/ 158351 h 1052131"/>
                  <a:gd name="connsiteX256" fmla="*/ 322838 w 1085953"/>
                  <a:gd name="connsiteY256" fmla="*/ 157398 h 1052131"/>
                  <a:gd name="connsiteX257" fmla="*/ 324743 w 1085953"/>
                  <a:gd name="connsiteY257" fmla="*/ 158541 h 1052131"/>
                  <a:gd name="connsiteX258" fmla="*/ 327696 w 1085953"/>
                  <a:gd name="connsiteY258" fmla="*/ 151969 h 1052131"/>
                  <a:gd name="connsiteX259" fmla="*/ 335221 w 1085953"/>
                  <a:gd name="connsiteY259" fmla="*/ 146445 h 1052131"/>
                  <a:gd name="connsiteX260" fmla="*/ 335221 w 1085953"/>
                  <a:gd name="connsiteY260" fmla="*/ 147873 h 1052131"/>
                  <a:gd name="connsiteX261" fmla="*/ 335983 w 1085953"/>
                  <a:gd name="connsiteY261" fmla="*/ 148730 h 1052131"/>
                  <a:gd name="connsiteX262" fmla="*/ 339317 w 1085953"/>
                  <a:gd name="connsiteY262" fmla="*/ 148730 h 1052131"/>
                  <a:gd name="connsiteX263" fmla="*/ 341793 w 1085953"/>
                  <a:gd name="connsiteY263" fmla="*/ 144921 h 1052131"/>
                  <a:gd name="connsiteX264" fmla="*/ 351318 w 1085953"/>
                  <a:gd name="connsiteY264" fmla="*/ 139491 h 1052131"/>
                  <a:gd name="connsiteX265" fmla="*/ 343413 w 1085953"/>
                  <a:gd name="connsiteY265" fmla="*/ 146921 h 1052131"/>
                  <a:gd name="connsiteX266" fmla="*/ 349889 w 1085953"/>
                  <a:gd name="connsiteY266" fmla="*/ 144635 h 1052131"/>
                  <a:gd name="connsiteX267" fmla="*/ 349889 w 1085953"/>
                  <a:gd name="connsiteY267" fmla="*/ 145778 h 1052131"/>
                  <a:gd name="connsiteX268" fmla="*/ 354652 w 1085953"/>
                  <a:gd name="connsiteY268" fmla="*/ 145111 h 1052131"/>
                  <a:gd name="connsiteX269" fmla="*/ 354652 w 1085953"/>
                  <a:gd name="connsiteY269" fmla="*/ 142444 h 1052131"/>
                  <a:gd name="connsiteX270" fmla="*/ 367892 w 1085953"/>
                  <a:gd name="connsiteY270" fmla="*/ 134157 h 1052131"/>
                  <a:gd name="connsiteX271" fmla="*/ 378274 w 1085953"/>
                  <a:gd name="connsiteY271" fmla="*/ 125585 h 1052131"/>
                  <a:gd name="connsiteX272" fmla="*/ 379798 w 1085953"/>
                  <a:gd name="connsiteY272" fmla="*/ 125585 h 1052131"/>
                  <a:gd name="connsiteX273" fmla="*/ 379322 w 1085953"/>
                  <a:gd name="connsiteY273" fmla="*/ 128157 h 1052131"/>
                  <a:gd name="connsiteX274" fmla="*/ 397800 w 1085953"/>
                  <a:gd name="connsiteY274" fmla="*/ 126633 h 1052131"/>
                  <a:gd name="connsiteX275" fmla="*/ 419613 w 1085953"/>
                  <a:gd name="connsiteY275" fmla="*/ 115298 h 1052131"/>
                  <a:gd name="connsiteX276" fmla="*/ 403801 w 1085953"/>
                  <a:gd name="connsiteY276" fmla="*/ 115298 h 1052131"/>
                  <a:gd name="connsiteX277" fmla="*/ 399324 w 1085953"/>
                  <a:gd name="connsiteY277" fmla="*/ 115298 h 1052131"/>
                  <a:gd name="connsiteX278" fmla="*/ 399324 w 1085953"/>
                  <a:gd name="connsiteY278" fmla="*/ 114345 h 1052131"/>
                  <a:gd name="connsiteX279" fmla="*/ 407421 w 1085953"/>
                  <a:gd name="connsiteY279" fmla="*/ 111583 h 1052131"/>
                  <a:gd name="connsiteX280" fmla="*/ 401610 w 1085953"/>
                  <a:gd name="connsiteY280" fmla="*/ 110916 h 1052131"/>
                  <a:gd name="connsiteX281" fmla="*/ 401610 w 1085953"/>
                  <a:gd name="connsiteY281" fmla="*/ 109773 h 1052131"/>
                  <a:gd name="connsiteX282" fmla="*/ 404754 w 1085953"/>
                  <a:gd name="connsiteY282" fmla="*/ 109202 h 1052131"/>
                  <a:gd name="connsiteX283" fmla="*/ 404754 w 1085953"/>
                  <a:gd name="connsiteY283" fmla="*/ 108059 h 1052131"/>
                  <a:gd name="connsiteX284" fmla="*/ 413707 w 1085953"/>
                  <a:gd name="connsiteY284" fmla="*/ 103582 h 1052131"/>
                  <a:gd name="connsiteX285" fmla="*/ 409040 w 1085953"/>
                  <a:gd name="connsiteY285" fmla="*/ 103582 h 1052131"/>
                  <a:gd name="connsiteX286" fmla="*/ 409040 w 1085953"/>
                  <a:gd name="connsiteY286" fmla="*/ 102534 h 1052131"/>
                  <a:gd name="connsiteX287" fmla="*/ 406944 w 1085953"/>
                  <a:gd name="connsiteY287" fmla="*/ 99963 h 1052131"/>
                  <a:gd name="connsiteX288" fmla="*/ 415898 w 1085953"/>
                  <a:gd name="connsiteY288" fmla="*/ 111774 h 1052131"/>
                  <a:gd name="connsiteX289" fmla="*/ 419136 w 1085953"/>
                  <a:gd name="connsiteY289" fmla="*/ 111774 h 1052131"/>
                  <a:gd name="connsiteX290" fmla="*/ 419993 w 1085953"/>
                  <a:gd name="connsiteY290" fmla="*/ 109678 h 1052131"/>
                  <a:gd name="connsiteX291" fmla="*/ 421422 w 1085953"/>
                  <a:gd name="connsiteY291" fmla="*/ 111488 h 1052131"/>
                  <a:gd name="connsiteX292" fmla="*/ 425994 w 1085953"/>
                  <a:gd name="connsiteY292" fmla="*/ 106916 h 1052131"/>
                  <a:gd name="connsiteX293" fmla="*/ 426947 w 1085953"/>
                  <a:gd name="connsiteY293" fmla="*/ 99963 h 1052131"/>
                  <a:gd name="connsiteX294" fmla="*/ 425899 w 1085953"/>
                  <a:gd name="connsiteY294" fmla="*/ 99963 h 1052131"/>
                  <a:gd name="connsiteX295" fmla="*/ 424089 w 1085953"/>
                  <a:gd name="connsiteY295" fmla="*/ 96915 h 1052131"/>
                  <a:gd name="connsiteX296" fmla="*/ 421898 w 1085953"/>
                  <a:gd name="connsiteY296" fmla="*/ 96438 h 1052131"/>
                  <a:gd name="connsiteX297" fmla="*/ 421422 w 1085953"/>
                  <a:gd name="connsiteY297" fmla="*/ 94438 h 1052131"/>
                  <a:gd name="connsiteX298" fmla="*/ 418184 w 1085953"/>
                  <a:gd name="connsiteY298" fmla="*/ 95009 h 1052131"/>
                  <a:gd name="connsiteX299" fmla="*/ 418184 w 1085953"/>
                  <a:gd name="connsiteY299" fmla="*/ 93771 h 1052131"/>
                  <a:gd name="connsiteX300" fmla="*/ 417231 w 1085953"/>
                  <a:gd name="connsiteY300" fmla="*/ 93771 h 1052131"/>
                  <a:gd name="connsiteX301" fmla="*/ 420374 w 1085953"/>
                  <a:gd name="connsiteY301" fmla="*/ 93009 h 1052131"/>
                  <a:gd name="connsiteX302" fmla="*/ 420374 w 1085953"/>
                  <a:gd name="connsiteY302" fmla="*/ 91962 h 1052131"/>
                  <a:gd name="connsiteX303" fmla="*/ 417993 w 1085953"/>
                  <a:gd name="connsiteY303" fmla="*/ 89295 h 1052131"/>
                  <a:gd name="connsiteX304" fmla="*/ 419041 w 1085953"/>
                  <a:gd name="connsiteY304" fmla="*/ 89295 h 1052131"/>
                  <a:gd name="connsiteX305" fmla="*/ 419613 w 1085953"/>
                  <a:gd name="connsiteY305" fmla="*/ 86818 h 1052131"/>
                  <a:gd name="connsiteX306" fmla="*/ 424661 w 1085953"/>
                  <a:gd name="connsiteY306" fmla="*/ 87866 h 1052131"/>
                  <a:gd name="connsiteX307" fmla="*/ 425518 w 1085953"/>
                  <a:gd name="connsiteY307" fmla="*/ 88437 h 1052131"/>
                  <a:gd name="connsiteX308" fmla="*/ 426375 w 1085953"/>
                  <a:gd name="connsiteY308" fmla="*/ 83484 h 1052131"/>
                  <a:gd name="connsiteX309" fmla="*/ 428756 w 1085953"/>
                  <a:gd name="connsiteY309" fmla="*/ 83484 h 1052131"/>
                  <a:gd name="connsiteX310" fmla="*/ 430090 w 1085953"/>
                  <a:gd name="connsiteY310" fmla="*/ 85294 h 1052131"/>
                  <a:gd name="connsiteX311" fmla="*/ 435519 w 1085953"/>
                  <a:gd name="connsiteY311" fmla="*/ 87199 h 1052131"/>
                  <a:gd name="connsiteX312" fmla="*/ 434281 w 1085953"/>
                  <a:gd name="connsiteY312" fmla="*/ 87675 h 1052131"/>
                  <a:gd name="connsiteX313" fmla="*/ 434281 w 1085953"/>
                  <a:gd name="connsiteY313" fmla="*/ 88723 h 1052131"/>
                  <a:gd name="connsiteX314" fmla="*/ 443806 w 1085953"/>
                  <a:gd name="connsiteY314" fmla="*/ 83770 h 1052131"/>
                  <a:gd name="connsiteX315" fmla="*/ 437710 w 1085953"/>
                  <a:gd name="connsiteY315" fmla="*/ 82055 h 1052131"/>
                  <a:gd name="connsiteX316" fmla="*/ 445044 w 1085953"/>
                  <a:gd name="connsiteY316" fmla="*/ 78817 h 1052131"/>
                  <a:gd name="connsiteX317" fmla="*/ 448759 w 1085953"/>
                  <a:gd name="connsiteY317" fmla="*/ 81770 h 1052131"/>
                  <a:gd name="connsiteX318" fmla="*/ 450664 w 1085953"/>
                  <a:gd name="connsiteY318" fmla="*/ 79198 h 1052131"/>
                  <a:gd name="connsiteX319" fmla="*/ 446663 w 1085953"/>
                  <a:gd name="connsiteY319" fmla="*/ 77865 h 1052131"/>
                  <a:gd name="connsiteX320" fmla="*/ 446663 w 1085953"/>
                  <a:gd name="connsiteY320" fmla="*/ 75579 h 1052131"/>
                  <a:gd name="connsiteX321" fmla="*/ 445711 w 1085953"/>
                  <a:gd name="connsiteY321" fmla="*/ 73483 h 1052131"/>
                  <a:gd name="connsiteX322" fmla="*/ 449997 w 1085953"/>
                  <a:gd name="connsiteY322" fmla="*/ 75198 h 1052131"/>
                  <a:gd name="connsiteX323" fmla="*/ 451997 w 1085953"/>
                  <a:gd name="connsiteY323" fmla="*/ 68340 h 1052131"/>
                  <a:gd name="connsiteX324" fmla="*/ 449807 w 1085953"/>
                  <a:gd name="connsiteY324" fmla="*/ 63387 h 1052131"/>
                  <a:gd name="connsiteX325" fmla="*/ 454188 w 1085953"/>
                  <a:gd name="connsiteY325" fmla="*/ 63863 h 1052131"/>
                  <a:gd name="connsiteX326" fmla="*/ 452474 w 1085953"/>
                  <a:gd name="connsiteY326" fmla="*/ 61196 h 1052131"/>
                  <a:gd name="connsiteX327" fmla="*/ 458093 w 1085953"/>
                  <a:gd name="connsiteY327" fmla="*/ 65101 h 1052131"/>
                  <a:gd name="connsiteX328" fmla="*/ 462189 w 1085953"/>
                  <a:gd name="connsiteY328" fmla="*/ 61291 h 1052131"/>
                  <a:gd name="connsiteX329" fmla="*/ 461618 w 1085953"/>
                  <a:gd name="connsiteY329" fmla="*/ 60338 h 1052131"/>
                  <a:gd name="connsiteX330" fmla="*/ 459713 w 1085953"/>
                  <a:gd name="connsiteY330" fmla="*/ 61005 h 1052131"/>
                  <a:gd name="connsiteX331" fmla="*/ 458474 w 1085953"/>
                  <a:gd name="connsiteY331" fmla="*/ 61005 h 1052131"/>
                  <a:gd name="connsiteX332" fmla="*/ 458474 w 1085953"/>
                  <a:gd name="connsiteY332" fmla="*/ 59767 h 1052131"/>
                  <a:gd name="connsiteX333" fmla="*/ 457331 w 1085953"/>
                  <a:gd name="connsiteY333" fmla="*/ 59767 h 1052131"/>
                  <a:gd name="connsiteX334" fmla="*/ 457331 w 1085953"/>
                  <a:gd name="connsiteY334" fmla="*/ 58910 h 1052131"/>
                  <a:gd name="connsiteX335" fmla="*/ 459903 w 1085953"/>
                  <a:gd name="connsiteY335" fmla="*/ 56909 h 1052131"/>
                  <a:gd name="connsiteX336" fmla="*/ 461522 w 1085953"/>
                  <a:gd name="connsiteY336" fmla="*/ 58624 h 1052131"/>
                  <a:gd name="connsiteX337" fmla="*/ 462380 w 1085953"/>
                  <a:gd name="connsiteY337" fmla="*/ 57957 h 1052131"/>
                  <a:gd name="connsiteX338" fmla="*/ 462380 w 1085953"/>
                  <a:gd name="connsiteY338" fmla="*/ 54814 h 1052131"/>
                  <a:gd name="connsiteX339" fmla="*/ 460189 w 1085953"/>
                  <a:gd name="connsiteY339" fmla="*/ 53671 h 1052131"/>
                  <a:gd name="connsiteX340" fmla="*/ 460189 w 1085953"/>
                  <a:gd name="connsiteY340" fmla="*/ 52528 h 1052131"/>
                  <a:gd name="connsiteX341" fmla="*/ 476000 w 1085953"/>
                  <a:gd name="connsiteY341" fmla="*/ 40908 h 1052131"/>
                  <a:gd name="connsiteX342" fmla="*/ 472667 w 1085953"/>
                  <a:gd name="connsiteY342" fmla="*/ 41479 h 1052131"/>
                  <a:gd name="connsiteX343" fmla="*/ 471714 w 1085953"/>
                  <a:gd name="connsiteY343" fmla="*/ 41479 h 1052131"/>
                  <a:gd name="connsiteX344" fmla="*/ 472381 w 1085953"/>
                  <a:gd name="connsiteY344" fmla="*/ 40336 h 1052131"/>
                  <a:gd name="connsiteX345" fmla="*/ 477143 w 1085953"/>
                  <a:gd name="connsiteY345" fmla="*/ 40336 h 1052131"/>
                  <a:gd name="connsiteX346" fmla="*/ 477143 w 1085953"/>
                  <a:gd name="connsiteY346" fmla="*/ 39288 h 1052131"/>
                  <a:gd name="connsiteX347" fmla="*/ 475238 w 1085953"/>
                  <a:gd name="connsiteY347" fmla="*/ 39288 h 1052131"/>
                  <a:gd name="connsiteX348" fmla="*/ 474286 w 1085953"/>
                  <a:gd name="connsiteY348" fmla="*/ 39288 h 1052131"/>
                  <a:gd name="connsiteX349" fmla="*/ 491050 w 1085953"/>
                  <a:gd name="connsiteY349" fmla="*/ 34335 h 1052131"/>
                  <a:gd name="connsiteX350" fmla="*/ 479048 w 1085953"/>
                  <a:gd name="connsiteY350" fmla="*/ 34335 h 1052131"/>
                  <a:gd name="connsiteX351" fmla="*/ 478096 w 1085953"/>
                  <a:gd name="connsiteY351" fmla="*/ 33383 h 1052131"/>
                  <a:gd name="connsiteX352" fmla="*/ 477143 w 1085953"/>
                  <a:gd name="connsiteY352" fmla="*/ 33954 h 1052131"/>
                  <a:gd name="connsiteX353" fmla="*/ 475810 w 1085953"/>
                  <a:gd name="connsiteY353" fmla="*/ 32240 h 1052131"/>
                  <a:gd name="connsiteX354" fmla="*/ 463142 w 1085953"/>
                  <a:gd name="connsiteY354" fmla="*/ 38812 h 1052131"/>
                  <a:gd name="connsiteX355" fmla="*/ 474572 w 1085953"/>
                  <a:gd name="connsiteY355" fmla="*/ 28716 h 1052131"/>
                  <a:gd name="connsiteX356" fmla="*/ 459903 w 1085953"/>
                  <a:gd name="connsiteY356" fmla="*/ 33954 h 1052131"/>
                  <a:gd name="connsiteX357" fmla="*/ 466761 w 1085953"/>
                  <a:gd name="connsiteY357" fmla="*/ 30240 h 1052131"/>
                  <a:gd name="connsiteX358" fmla="*/ 466761 w 1085953"/>
                  <a:gd name="connsiteY358" fmla="*/ 29096 h 1052131"/>
                  <a:gd name="connsiteX359" fmla="*/ 450759 w 1085953"/>
                  <a:gd name="connsiteY359" fmla="*/ 32145 h 1052131"/>
                  <a:gd name="connsiteX360" fmla="*/ 459141 w 1085953"/>
                  <a:gd name="connsiteY360" fmla="*/ 26811 h 1052131"/>
                  <a:gd name="connsiteX361" fmla="*/ 475048 w 1085953"/>
                  <a:gd name="connsiteY361" fmla="*/ 25667 h 1052131"/>
                  <a:gd name="connsiteX362" fmla="*/ 472857 w 1085953"/>
                  <a:gd name="connsiteY362" fmla="*/ 25667 h 1052131"/>
                  <a:gd name="connsiteX363" fmla="*/ 474953 w 1085953"/>
                  <a:gd name="connsiteY363" fmla="*/ 22620 h 1052131"/>
                  <a:gd name="connsiteX364" fmla="*/ 455903 w 1085953"/>
                  <a:gd name="connsiteY364" fmla="*/ 25572 h 1052131"/>
                  <a:gd name="connsiteX365" fmla="*/ 455903 w 1085953"/>
                  <a:gd name="connsiteY365" fmla="*/ 24429 h 1052131"/>
                  <a:gd name="connsiteX366" fmla="*/ 461237 w 1085953"/>
                  <a:gd name="connsiteY366" fmla="*/ 21858 h 1052131"/>
                  <a:gd name="connsiteX367" fmla="*/ 475524 w 1085953"/>
                  <a:gd name="connsiteY367" fmla="*/ 20524 h 1052131"/>
                  <a:gd name="connsiteX368" fmla="*/ 463332 w 1085953"/>
                  <a:gd name="connsiteY368" fmla="*/ 17762 h 1052131"/>
                  <a:gd name="connsiteX369" fmla="*/ 453807 w 1085953"/>
                  <a:gd name="connsiteY369" fmla="*/ 21572 h 1052131"/>
                  <a:gd name="connsiteX370" fmla="*/ 450321 w 1085953"/>
                  <a:gd name="connsiteY370" fmla="*/ 21915 h 1052131"/>
                  <a:gd name="connsiteX371" fmla="*/ 449426 w 1085953"/>
                  <a:gd name="connsiteY371" fmla="*/ 20238 h 1052131"/>
                  <a:gd name="connsiteX372" fmla="*/ 452379 w 1085953"/>
                  <a:gd name="connsiteY372" fmla="*/ 17762 h 1052131"/>
                  <a:gd name="connsiteX373" fmla="*/ 447140 w 1085953"/>
                  <a:gd name="connsiteY373" fmla="*/ 19762 h 1052131"/>
                  <a:gd name="connsiteX374" fmla="*/ 446187 w 1085953"/>
                  <a:gd name="connsiteY374" fmla="*/ 19762 h 1052131"/>
                  <a:gd name="connsiteX375" fmla="*/ 443615 w 1085953"/>
                  <a:gd name="connsiteY375" fmla="*/ 22048 h 1052131"/>
                  <a:gd name="connsiteX376" fmla="*/ 447045 w 1085953"/>
                  <a:gd name="connsiteY376" fmla="*/ 23382 h 1052131"/>
                  <a:gd name="connsiteX377" fmla="*/ 447045 w 1085953"/>
                  <a:gd name="connsiteY377" fmla="*/ 24429 h 1052131"/>
                  <a:gd name="connsiteX378" fmla="*/ 445044 w 1085953"/>
                  <a:gd name="connsiteY378" fmla="*/ 25287 h 1052131"/>
                  <a:gd name="connsiteX379" fmla="*/ 445044 w 1085953"/>
                  <a:gd name="connsiteY379" fmla="*/ 24048 h 1052131"/>
                  <a:gd name="connsiteX380" fmla="*/ 442663 w 1085953"/>
                  <a:gd name="connsiteY380" fmla="*/ 24048 h 1052131"/>
                  <a:gd name="connsiteX381" fmla="*/ 442091 w 1085953"/>
                  <a:gd name="connsiteY381" fmla="*/ 24905 h 1052131"/>
                  <a:gd name="connsiteX382" fmla="*/ 441234 w 1085953"/>
                  <a:gd name="connsiteY382" fmla="*/ 24239 h 1052131"/>
                  <a:gd name="connsiteX383" fmla="*/ 436281 w 1085953"/>
                  <a:gd name="connsiteY383" fmla="*/ 27573 h 1052131"/>
                  <a:gd name="connsiteX384" fmla="*/ 436281 w 1085953"/>
                  <a:gd name="connsiteY384" fmla="*/ 26525 h 1052131"/>
                  <a:gd name="connsiteX385" fmla="*/ 436948 w 1085953"/>
                  <a:gd name="connsiteY385" fmla="*/ 22429 h 1052131"/>
                  <a:gd name="connsiteX386" fmla="*/ 436948 w 1085953"/>
                  <a:gd name="connsiteY386" fmla="*/ 21286 h 1052131"/>
                  <a:gd name="connsiteX387" fmla="*/ 429899 w 1085953"/>
                  <a:gd name="connsiteY387" fmla="*/ 25477 h 1052131"/>
                  <a:gd name="connsiteX388" fmla="*/ 429138 w 1085953"/>
                  <a:gd name="connsiteY388" fmla="*/ 24620 h 1052131"/>
                  <a:gd name="connsiteX389" fmla="*/ 427899 w 1085953"/>
                  <a:gd name="connsiteY389" fmla="*/ 24620 h 1052131"/>
                  <a:gd name="connsiteX390" fmla="*/ 427899 w 1085953"/>
                  <a:gd name="connsiteY390" fmla="*/ 23572 h 1052131"/>
                  <a:gd name="connsiteX391" fmla="*/ 425328 w 1085953"/>
                  <a:gd name="connsiteY391" fmla="*/ 24620 h 1052131"/>
                  <a:gd name="connsiteX392" fmla="*/ 428756 w 1085953"/>
                  <a:gd name="connsiteY392" fmla="*/ 20905 h 1052131"/>
                  <a:gd name="connsiteX393" fmla="*/ 467809 w 1085953"/>
                  <a:gd name="connsiteY393" fmla="*/ 51671 h 1052131"/>
                  <a:gd name="connsiteX394" fmla="*/ 467809 w 1085953"/>
                  <a:gd name="connsiteY394" fmla="*/ 52147 h 1052131"/>
                  <a:gd name="connsiteX395" fmla="*/ 467809 w 1085953"/>
                  <a:gd name="connsiteY395" fmla="*/ 52719 h 1052131"/>
                  <a:gd name="connsiteX396" fmla="*/ 467809 w 1085953"/>
                  <a:gd name="connsiteY396" fmla="*/ 52719 h 1052131"/>
                  <a:gd name="connsiteX397" fmla="*/ 468380 w 1085953"/>
                  <a:gd name="connsiteY397" fmla="*/ 52242 h 1052131"/>
                  <a:gd name="connsiteX398" fmla="*/ 469333 w 1085953"/>
                  <a:gd name="connsiteY398" fmla="*/ 51290 h 1052131"/>
                  <a:gd name="connsiteX399" fmla="*/ 469333 w 1085953"/>
                  <a:gd name="connsiteY399" fmla="*/ 51290 h 1052131"/>
                  <a:gd name="connsiteX400" fmla="*/ 469333 w 1085953"/>
                  <a:gd name="connsiteY400" fmla="*/ 51290 h 1052131"/>
                  <a:gd name="connsiteX401" fmla="*/ 468380 w 1085953"/>
                  <a:gd name="connsiteY401" fmla="*/ 51290 h 1052131"/>
                  <a:gd name="connsiteX402" fmla="*/ 469047 w 1085953"/>
                  <a:gd name="connsiteY402" fmla="*/ 48051 h 1052131"/>
                  <a:gd name="connsiteX403" fmla="*/ 468095 w 1085953"/>
                  <a:gd name="connsiteY403" fmla="*/ 48623 h 1052131"/>
                  <a:gd name="connsiteX404" fmla="*/ 467523 w 1085953"/>
                  <a:gd name="connsiteY404" fmla="*/ 49099 h 1052131"/>
                  <a:gd name="connsiteX405" fmla="*/ 466856 w 1085953"/>
                  <a:gd name="connsiteY405" fmla="*/ 49385 h 1052131"/>
                  <a:gd name="connsiteX406" fmla="*/ 466856 w 1085953"/>
                  <a:gd name="connsiteY406" fmla="*/ 49385 h 1052131"/>
                  <a:gd name="connsiteX407" fmla="*/ 466856 w 1085953"/>
                  <a:gd name="connsiteY407" fmla="*/ 49385 h 1052131"/>
                  <a:gd name="connsiteX408" fmla="*/ 467523 w 1085953"/>
                  <a:gd name="connsiteY408" fmla="*/ 49385 h 1052131"/>
                  <a:gd name="connsiteX409" fmla="*/ 469619 w 1085953"/>
                  <a:gd name="connsiteY409" fmla="*/ 48051 h 1052131"/>
                  <a:gd name="connsiteX410" fmla="*/ 469619 w 1085953"/>
                  <a:gd name="connsiteY410" fmla="*/ 48051 h 1052131"/>
                  <a:gd name="connsiteX411" fmla="*/ 469047 w 1085953"/>
                  <a:gd name="connsiteY411" fmla="*/ 47670 h 1052131"/>
                  <a:gd name="connsiteX412" fmla="*/ 444663 w 1085953"/>
                  <a:gd name="connsiteY412" fmla="*/ 18429 h 1052131"/>
                  <a:gd name="connsiteX413" fmla="*/ 444663 w 1085953"/>
                  <a:gd name="connsiteY413" fmla="*/ 18429 h 1052131"/>
                  <a:gd name="connsiteX414" fmla="*/ 441234 w 1085953"/>
                  <a:gd name="connsiteY414" fmla="*/ 21191 h 1052131"/>
                  <a:gd name="connsiteX415" fmla="*/ 442949 w 1085953"/>
                  <a:gd name="connsiteY415" fmla="*/ 20048 h 1052131"/>
                  <a:gd name="connsiteX416" fmla="*/ 444663 w 1085953"/>
                  <a:gd name="connsiteY416" fmla="*/ 18048 h 1052131"/>
                  <a:gd name="connsiteX417" fmla="*/ 463713 w 1085953"/>
                  <a:gd name="connsiteY417" fmla="*/ 55100 h 1052131"/>
                  <a:gd name="connsiteX418" fmla="*/ 465332 w 1085953"/>
                  <a:gd name="connsiteY418" fmla="*/ 55100 h 1052131"/>
                  <a:gd name="connsiteX419" fmla="*/ 465332 w 1085953"/>
                  <a:gd name="connsiteY419" fmla="*/ 54147 h 1052131"/>
                  <a:gd name="connsiteX420" fmla="*/ 465332 w 1085953"/>
                  <a:gd name="connsiteY420" fmla="*/ 54147 h 1052131"/>
                  <a:gd name="connsiteX421" fmla="*/ 464666 w 1085953"/>
                  <a:gd name="connsiteY421" fmla="*/ 54147 h 1052131"/>
                  <a:gd name="connsiteX422" fmla="*/ 464666 w 1085953"/>
                  <a:gd name="connsiteY422" fmla="*/ 54814 h 1052131"/>
                  <a:gd name="connsiteX423" fmla="*/ 464666 w 1085953"/>
                  <a:gd name="connsiteY423" fmla="*/ 54814 h 1052131"/>
                  <a:gd name="connsiteX424" fmla="*/ 464666 w 1085953"/>
                  <a:gd name="connsiteY424" fmla="*/ 54814 h 1052131"/>
                  <a:gd name="connsiteX425" fmla="*/ 464666 w 1085953"/>
                  <a:gd name="connsiteY425" fmla="*/ 54814 h 1052131"/>
                  <a:gd name="connsiteX426" fmla="*/ 267879 w 1085953"/>
                  <a:gd name="connsiteY426" fmla="*/ 129490 h 1052131"/>
                  <a:gd name="connsiteX427" fmla="*/ 267879 w 1085953"/>
                  <a:gd name="connsiteY427" fmla="*/ 129014 h 1052131"/>
                  <a:gd name="connsiteX428" fmla="*/ 266070 w 1085953"/>
                  <a:gd name="connsiteY428" fmla="*/ 129014 h 1052131"/>
                  <a:gd name="connsiteX429" fmla="*/ 267403 w 1085953"/>
                  <a:gd name="connsiteY429" fmla="*/ 126061 h 1052131"/>
                  <a:gd name="connsiteX430" fmla="*/ 261021 w 1085953"/>
                  <a:gd name="connsiteY430" fmla="*/ 131300 h 1052131"/>
                  <a:gd name="connsiteX431" fmla="*/ 259402 w 1085953"/>
                  <a:gd name="connsiteY431" fmla="*/ 130442 h 1052131"/>
                  <a:gd name="connsiteX432" fmla="*/ 257973 w 1085953"/>
                  <a:gd name="connsiteY432" fmla="*/ 132633 h 1052131"/>
                  <a:gd name="connsiteX433" fmla="*/ 258735 w 1085953"/>
                  <a:gd name="connsiteY433" fmla="*/ 133681 h 1052131"/>
                  <a:gd name="connsiteX434" fmla="*/ 256163 w 1085953"/>
                  <a:gd name="connsiteY434" fmla="*/ 137015 h 1052131"/>
                  <a:gd name="connsiteX435" fmla="*/ 256163 w 1085953"/>
                  <a:gd name="connsiteY435" fmla="*/ 137586 h 1052131"/>
                  <a:gd name="connsiteX436" fmla="*/ 245305 w 1085953"/>
                  <a:gd name="connsiteY436" fmla="*/ 155970 h 1052131"/>
                  <a:gd name="connsiteX437" fmla="*/ 245305 w 1085953"/>
                  <a:gd name="connsiteY437" fmla="*/ 154160 h 1052131"/>
                  <a:gd name="connsiteX438" fmla="*/ 242829 w 1085953"/>
                  <a:gd name="connsiteY438" fmla="*/ 156446 h 1052131"/>
                  <a:gd name="connsiteX439" fmla="*/ 240257 w 1085953"/>
                  <a:gd name="connsiteY439" fmla="*/ 158255 h 1052131"/>
                  <a:gd name="connsiteX440" fmla="*/ 238256 w 1085953"/>
                  <a:gd name="connsiteY440" fmla="*/ 149683 h 1052131"/>
                  <a:gd name="connsiteX441" fmla="*/ 235589 w 1085953"/>
                  <a:gd name="connsiteY441" fmla="*/ 153303 h 1052131"/>
                  <a:gd name="connsiteX442" fmla="*/ 235589 w 1085953"/>
                  <a:gd name="connsiteY442" fmla="*/ 156350 h 1052131"/>
                  <a:gd name="connsiteX443" fmla="*/ 231017 w 1085953"/>
                  <a:gd name="connsiteY443" fmla="*/ 165209 h 1052131"/>
                  <a:gd name="connsiteX444" fmla="*/ 227779 w 1085953"/>
                  <a:gd name="connsiteY444" fmla="*/ 161113 h 1052131"/>
                  <a:gd name="connsiteX445" fmla="*/ 227207 w 1085953"/>
                  <a:gd name="connsiteY445" fmla="*/ 152445 h 1052131"/>
                  <a:gd name="connsiteX446" fmla="*/ 236732 w 1085953"/>
                  <a:gd name="connsiteY446" fmla="*/ 134824 h 1052131"/>
                  <a:gd name="connsiteX447" fmla="*/ 233780 w 1085953"/>
                  <a:gd name="connsiteY447" fmla="*/ 137682 h 1052131"/>
                  <a:gd name="connsiteX448" fmla="*/ 237590 w 1085953"/>
                  <a:gd name="connsiteY448" fmla="*/ 131204 h 1052131"/>
                  <a:gd name="connsiteX449" fmla="*/ 235589 w 1085953"/>
                  <a:gd name="connsiteY449" fmla="*/ 131204 h 1052131"/>
                  <a:gd name="connsiteX450" fmla="*/ 227779 w 1085953"/>
                  <a:gd name="connsiteY450" fmla="*/ 136824 h 1052131"/>
                  <a:gd name="connsiteX451" fmla="*/ 233780 w 1085953"/>
                  <a:gd name="connsiteY451" fmla="*/ 130252 h 1052131"/>
                  <a:gd name="connsiteX452" fmla="*/ 234256 w 1085953"/>
                  <a:gd name="connsiteY452" fmla="*/ 129395 h 1052131"/>
                  <a:gd name="connsiteX453" fmla="*/ 241114 w 1085953"/>
                  <a:gd name="connsiteY453" fmla="*/ 127299 h 1052131"/>
                  <a:gd name="connsiteX454" fmla="*/ 240066 w 1085953"/>
                  <a:gd name="connsiteY454" fmla="*/ 129395 h 1052131"/>
                  <a:gd name="connsiteX455" fmla="*/ 249591 w 1085953"/>
                  <a:gd name="connsiteY455" fmla="*/ 122727 h 1052131"/>
                  <a:gd name="connsiteX456" fmla="*/ 260831 w 1085953"/>
                  <a:gd name="connsiteY456" fmla="*/ 116822 h 1052131"/>
                  <a:gd name="connsiteX457" fmla="*/ 276547 w 1085953"/>
                  <a:gd name="connsiteY457" fmla="*/ 101487 h 1052131"/>
                  <a:gd name="connsiteX458" fmla="*/ 273499 w 1085953"/>
                  <a:gd name="connsiteY458" fmla="*/ 101487 h 1052131"/>
                  <a:gd name="connsiteX459" fmla="*/ 275309 w 1085953"/>
                  <a:gd name="connsiteY459" fmla="*/ 98724 h 1052131"/>
                  <a:gd name="connsiteX460" fmla="*/ 270737 w 1085953"/>
                  <a:gd name="connsiteY460" fmla="*/ 100725 h 1052131"/>
                  <a:gd name="connsiteX461" fmla="*/ 280262 w 1085953"/>
                  <a:gd name="connsiteY461" fmla="*/ 91200 h 1052131"/>
                  <a:gd name="connsiteX462" fmla="*/ 284357 w 1085953"/>
                  <a:gd name="connsiteY462" fmla="*/ 86913 h 1052131"/>
                  <a:gd name="connsiteX463" fmla="*/ 283214 w 1085953"/>
                  <a:gd name="connsiteY463" fmla="*/ 86913 h 1052131"/>
                  <a:gd name="connsiteX464" fmla="*/ 287501 w 1085953"/>
                  <a:gd name="connsiteY464" fmla="*/ 83675 h 1052131"/>
                  <a:gd name="connsiteX465" fmla="*/ 277976 w 1085953"/>
                  <a:gd name="connsiteY465" fmla="*/ 90057 h 1052131"/>
                  <a:gd name="connsiteX466" fmla="*/ 279309 w 1085953"/>
                  <a:gd name="connsiteY466" fmla="*/ 86151 h 1052131"/>
                  <a:gd name="connsiteX467" fmla="*/ 275975 w 1085953"/>
                  <a:gd name="connsiteY467" fmla="*/ 87485 h 1052131"/>
                  <a:gd name="connsiteX468" fmla="*/ 277214 w 1085953"/>
                  <a:gd name="connsiteY468" fmla="*/ 84723 h 1052131"/>
                  <a:gd name="connsiteX469" fmla="*/ 277214 w 1085953"/>
                  <a:gd name="connsiteY469" fmla="*/ 83199 h 1052131"/>
                  <a:gd name="connsiteX470" fmla="*/ 275404 w 1085953"/>
                  <a:gd name="connsiteY470" fmla="*/ 83199 h 1052131"/>
                  <a:gd name="connsiteX471" fmla="*/ 279214 w 1085953"/>
                  <a:gd name="connsiteY471" fmla="*/ 79103 h 1052131"/>
                  <a:gd name="connsiteX472" fmla="*/ 279214 w 1085953"/>
                  <a:gd name="connsiteY472" fmla="*/ 79103 h 1052131"/>
                  <a:gd name="connsiteX473" fmla="*/ 279214 w 1085953"/>
                  <a:gd name="connsiteY473" fmla="*/ 78627 h 1052131"/>
                  <a:gd name="connsiteX474" fmla="*/ 275309 w 1085953"/>
                  <a:gd name="connsiteY474" fmla="*/ 80150 h 1052131"/>
                  <a:gd name="connsiteX475" fmla="*/ 285310 w 1085953"/>
                  <a:gd name="connsiteY475" fmla="*/ 72150 h 1052131"/>
                  <a:gd name="connsiteX476" fmla="*/ 283786 w 1085953"/>
                  <a:gd name="connsiteY476" fmla="*/ 74817 h 1052131"/>
                  <a:gd name="connsiteX477" fmla="*/ 287215 w 1085953"/>
                  <a:gd name="connsiteY477" fmla="*/ 72530 h 1052131"/>
                  <a:gd name="connsiteX478" fmla="*/ 312647 w 1085953"/>
                  <a:gd name="connsiteY478" fmla="*/ 55576 h 1052131"/>
                  <a:gd name="connsiteX479" fmla="*/ 315885 w 1085953"/>
                  <a:gd name="connsiteY479" fmla="*/ 54814 h 1052131"/>
                  <a:gd name="connsiteX480" fmla="*/ 316457 w 1085953"/>
                  <a:gd name="connsiteY480" fmla="*/ 54814 h 1052131"/>
                  <a:gd name="connsiteX481" fmla="*/ 317790 w 1085953"/>
                  <a:gd name="connsiteY481" fmla="*/ 54814 h 1052131"/>
                  <a:gd name="connsiteX482" fmla="*/ 317790 w 1085953"/>
                  <a:gd name="connsiteY482" fmla="*/ 56052 h 1052131"/>
                  <a:gd name="connsiteX483" fmla="*/ 318362 w 1085953"/>
                  <a:gd name="connsiteY483" fmla="*/ 56052 h 1052131"/>
                  <a:gd name="connsiteX484" fmla="*/ 309789 w 1085953"/>
                  <a:gd name="connsiteY484" fmla="*/ 61291 h 1052131"/>
                  <a:gd name="connsiteX485" fmla="*/ 309789 w 1085953"/>
                  <a:gd name="connsiteY485" fmla="*/ 61958 h 1052131"/>
                  <a:gd name="connsiteX486" fmla="*/ 313790 w 1085953"/>
                  <a:gd name="connsiteY486" fmla="*/ 59577 h 1052131"/>
                  <a:gd name="connsiteX487" fmla="*/ 318362 w 1085953"/>
                  <a:gd name="connsiteY487" fmla="*/ 59577 h 1052131"/>
                  <a:gd name="connsiteX488" fmla="*/ 300074 w 1085953"/>
                  <a:gd name="connsiteY488" fmla="*/ 72816 h 1052131"/>
                  <a:gd name="connsiteX489" fmla="*/ 306932 w 1085953"/>
                  <a:gd name="connsiteY489" fmla="*/ 69292 h 1052131"/>
                  <a:gd name="connsiteX490" fmla="*/ 302360 w 1085953"/>
                  <a:gd name="connsiteY490" fmla="*/ 73864 h 1052131"/>
                  <a:gd name="connsiteX491" fmla="*/ 304074 w 1085953"/>
                  <a:gd name="connsiteY491" fmla="*/ 72626 h 1052131"/>
                  <a:gd name="connsiteX492" fmla="*/ 305313 w 1085953"/>
                  <a:gd name="connsiteY492" fmla="*/ 72626 h 1052131"/>
                  <a:gd name="connsiteX493" fmla="*/ 310742 w 1085953"/>
                  <a:gd name="connsiteY493" fmla="*/ 69768 h 1052131"/>
                  <a:gd name="connsiteX494" fmla="*/ 309599 w 1085953"/>
                  <a:gd name="connsiteY494" fmla="*/ 71578 h 1052131"/>
                  <a:gd name="connsiteX495" fmla="*/ 309599 w 1085953"/>
                  <a:gd name="connsiteY495" fmla="*/ 72245 h 1052131"/>
                  <a:gd name="connsiteX496" fmla="*/ 304836 w 1085953"/>
                  <a:gd name="connsiteY496" fmla="*/ 75959 h 1052131"/>
                  <a:gd name="connsiteX497" fmla="*/ 307217 w 1085953"/>
                  <a:gd name="connsiteY497" fmla="*/ 75388 h 1052131"/>
                  <a:gd name="connsiteX498" fmla="*/ 301883 w 1085953"/>
                  <a:gd name="connsiteY498" fmla="*/ 79579 h 1052131"/>
                  <a:gd name="connsiteX499" fmla="*/ 302455 w 1085953"/>
                  <a:gd name="connsiteY499" fmla="*/ 79579 h 1052131"/>
                  <a:gd name="connsiteX500" fmla="*/ 300836 w 1085953"/>
                  <a:gd name="connsiteY500" fmla="*/ 82722 h 1052131"/>
                  <a:gd name="connsiteX501" fmla="*/ 305789 w 1085953"/>
                  <a:gd name="connsiteY501" fmla="*/ 79865 h 1052131"/>
                  <a:gd name="connsiteX502" fmla="*/ 306265 w 1085953"/>
                  <a:gd name="connsiteY502" fmla="*/ 81008 h 1052131"/>
                  <a:gd name="connsiteX503" fmla="*/ 307027 w 1085953"/>
                  <a:gd name="connsiteY503" fmla="*/ 81865 h 1052131"/>
                  <a:gd name="connsiteX504" fmla="*/ 299216 w 1085953"/>
                  <a:gd name="connsiteY504" fmla="*/ 86628 h 1052131"/>
                  <a:gd name="connsiteX505" fmla="*/ 299216 w 1085953"/>
                  <a:gd name="connsiteY505" fmla="*/ 86628 h 1052131"/>
                  <a:gd name="connsiteX506" fmla="*/ 297407 w 1085953"/>
                  <a:gd name="connsiteY506" fmla="*/ 88056 h 1052131"/>
                  <a:gd name="connsiteX507" fmla="*/ 301407 w 1085953"/>
                  <a:gd name="connsiteY507" fmla="*/ 88056 h 1052131"/>
                  <a:gd name="connsiteX508" fmla="*/ 299407 w 1085953"/>
                  <a:gd name="connsiteY508" fmla="*/ 89961 h 1052131"/>
                  <a:gd name="connsiteX509" fmla="*/ 303503 w 1085953"/>
                  <a:gd name="connsiteY509" fmla="*/ 89961 h 1052131"/>
                  <a:gd name="connsiteX510" fmla="*/ 300550 w 1085953"/>
                  <a:gd name="connsiteY510" fmla="*/ 93009 h 1052131"/>
                  <a:gd name="connsiteX511" fmla="*/ 295025 w 1085953"/>
                  <a:gd name="connsiteY511" fmla="*/ 96057 h 1052131"/>
                  <a:gd name="connsiteX512" fmla="*/ 299026 w 1085953"/>
                  <a:gd name="connsiteY512" fmla="*/ 94152 h 1052131"/>
                  <a:gd name="connsiteX513" fmla="*/ 299026 w 1085953"/>
                  <a:gd name="connsiteY513" fmla="*/ 94914 h 1052131"/>
                  <a:gd name="connsiteX514" fmla="*/ 302360 w 1085953"/>
                  <a:gd name="connsiteY514" fmla="*/ 93676 h 1052131"/>
                  <a:gd name="connsiteX515" fmla="*/ 297312 w 1085953"/>
                  <a:gd name="connsiteY515" fmla="*/ 98438 h 1052131"/>
                  <a:gd name="connsiteX516" fmla="*/ 292073 w 1085953"/>
                  <a:gd name="connsiteY516" fmla="*/ 102249 h 1052131"/>
                  <a:gd name="connsiteX517" fmla="*/ 292739 w 1085953"/>
                  <a:gd name="connsiteY517" fmla="*/ 102249 h 1052131"/>
                  <a:gd name="connsiteX518" fmla="*/ 287120 w 1085953"/>
                  <a:gd name="connsiteY518" fmla="*/ 105868 h 1052131"/>
                  <a:gd name="connsiteX519" fmla="*/ 283881 w 1085953"/>
                  <a:gd name="connsiteY519" fmla="*/ 111774 h 1052131"/>
                  <a:gd name="connsiteX520" fmla="*/ 283881 w 1085953"/>
                  <a:gd name="connsiteY520" fmla="*/ 114059 h 1052131"/>
                  <a:gd name="connsiteX521" fmla="*/ 280166 w 1085953"/>
                  <a:gd name="connsiteY521" fmla="*/ 121584 h 1052131"/>
                  <a:gd name="connsiteX522" fmla="*/ 280166 w 1085953"/>
                  <a:gd name="connsiteY522" fmla="*/ 122156 h 1052131"/>
                  <a:gd name="connsiteX523" fmla="*/ 280166 w 1085953"/>
                  <a:gd name="connsiteY523" fmla="*/ 122156 h 1052131"/>
                  <a:gd name="connsiteX524" fmla="*/ 280166 w 1085953"/>
                  <a:gd name="connsiteY524" fmla="*/ 122156 h 1052131"/>
                  <a:gd name="connsiteX525" fmla="*/ 279690 w 1085953"/>
                  <a:gd name="connsiteY525" fmla="*/ 123394 h 1052131"/>
                  <a:gd name="connsiteX526" fmla="*/ 279690 w 1085953"/>
                  <a:gd name="connsiteY526" fmla="*/ 123394 h 1052131"/>
                  <a:gd name="connsiteX527" fmla="*/ 284453 w 1085953"/>
                  <a:gd name="connsiteY527" fmla="*/ 121203 h 1052131"/>
                  <a:gd name="connsiteX528" fmla="*/ 283500 w 1085953"/>
                  <a:gd name="connsiteY528" fmla="*/ 124061 h 1052131"/>
                  <a:gd name="connsiteX529" fmla="*/ 277499 w 1085953"/>
                  <a:gd name="connsiteY529" fmla="*/ 127680 h 1052131"/>
                  <a:gd name="connsiteX530" fmla="*/ 275518 w 1085953"/>
                  <a:gd name="connsiteY530" fmla="*/ 128061 h 1052131"/>
                  <a:gd name="connsiteX531" fmla="*/ 275309 w 1085953"/>
                  <a:gd name="connsiteY531" fmla="*/ 128538 h 1052131"/>
                  <a:gd name="connsiteX532" fmla="*/ 267593 w 1085953"/>
                  <a:gd name="connsiteY532" fmla="*/ 135300 h 1052131"/>
                  <a:gd name="connsiteX533" fmla="*/ 267593 w 1085953"/>
                  <a:gd name="connsiteY533" fmla="*/ 135300 h 1052131"/>
                  <a:gd name="connsiteX534" fmla="*/ 267022 w 1085953"/>
                  <a:gd name="connsiteY534" fmla="*/ 135300 h 1052131"/>
                  <a:gd name="connsiteX535" fmla="*/ 260735 w 1085953"/>
                  <a:gd name="connsiteY535" fmla="*/ 141682 h 1052131"/>
                  <a:gd name="connsiteX536" fmla="*/ 267784 w 1085953"/>
                  <a:gd name="connsiteY536" fmla="*/ 129109 h 1052131"/>
                  <a:gd name="connsiteX537" fmla="*/ 303884 w 1085953"/>
                  <a:gd name="connsiteY537" fmla="*/ 64720 h 1052131"/>
                  <a:gd name="connsiteX538" fmla="*/ 299788 w 1085953"/>
                  <a:gd name="connsiteY538" fmla="*/ 67196 h 1052131"/>
                  <a:gd name="connsiteX539" fmla="*/ 300264 w 1085953"/>
                  <a:gd name="connsiteY539" fmla="*/ 67196 h 1052131"/>
                  <a:gd name="connsiteX540" fmla="*/ 300264 w 1085953"/>
                  <a:gd name="connsiteY540" fmla="*/ 67768 h 1052131"/>
                  <a:gd name="connsiteX541" fmla="*/ 303788 w 1085953"/>
                  <a:gd name="connsiteY541" fmla="*/ 64339 h 1052131"/>
                  <a:gd name="connsiteX542" fmla="*/ 288072 w 1085953"/>
                  <a:gd name="connsiteY542" fmla="*/ 74245 h 1052131"/>
                  <a:gd name="connsiteX543" fmla="*/ 289882 w 1085953"/>
                  <a:gd name="connsiteY543" fmla="*/ 74245 h 1052131"/>
                  <a:gd name="connsiteX544" fmla="*/ 288263 w 1085953"/>
                  <a:gd name="connsiteY544" fmla="*/ 75674 h 1052131"/>
                  <a:gd name="connsiteX545" fmla="*/ 298550 w 1085953"/>
                  <a:gd name="connsiteY545" fmla="*/ 68435 h 1052131"/>
                  <a:gd name="connsiteX546" fmla="*/ 456379 w 1085953"/>
                  <a:gd name="connsiteY546" fmla="*/ 71292 h 1052131"/>
                  <a:gd name="connsiteX547" fmla="*/ 457236 w 1085953"/>
                  <a:gd name="connsiteY547" fmla="*/ 69959 h 1052131"/>
                  <a:gd name="connsiteX548" fmla="*/ 458474 w 1085953"/>
                  <a:gd name="connsiteY548" fmla="*/ 68244 h 1052131"/>
                  <a:gd name="connsiteX549" fmla="*/ 458474 w 1085953"/>
                  <a:gd name="connsiteY549" fmla="*/ 68244 h 1052131"/>
                  <a:gd name="connsiteX550" fmla="*/ 458474 w 1085953"/>
                  <a:gd name="connsiteY550" fmla="*/ 67768 h 1052131"/>
                  <a:gd name="connsiteX551" fmla="*/ 457331 w 1085953"/>
                  <a:gd name="connsiteY551" fmla="*/ 67196 h 1052131"/>
                  <a:gd name="connsiteX552" fmla="*/ 457331 w 1085953"/>
                  <a:gd name="connsiteY552" fmla="*/ 67196 h 1052131"/>
                  <a:gd name="connsiteX553" fmla="*/ 457331 w 1085953"/>
                  <a:gd name="connsiteY553" fmla="*/ 67196 h 1052131"/>
                  <a:gd name="connsiteX554" fmla="*/ 457331 w 1085953"/>
                  <a:gd name="connsiteY554" fmla="*/ 67196 h 1052131"/>
                  <a:gd name="connsiteX555" fmla="*/ 456474 w 1085953"/>
                  <a:gd name="connsiteY555" fmla="*/ 68816 h 1052131"/>
                  <a:gd name="connsiteX556" fmla="*/ 455998 w 1085953"/>
                  <a:gd name="connsiteY556" fmla="*/ 70149 h 1052131"/>
                  <a:gd name="connsiteX557" fmla="*/ 456284 w 1085953"/>
                  <a:gd name="connsiteY557" fmla="*/ 70911 h 1052131"/>
                  <a:gd name="connsiteX558" fmla="*/ 430376 w 1085953"/>
                  <a:gd name="connsiteY558" fmla="*/ 21953 h 1052131"/>
                  <a:gd name="connsiteX559" fmla="*/ 431709 w 1085953"/>
                  <a:gd name="connsiteY559" fmla="*/ 20905 h 1052131"/>
                  <a:gd name="connsiteX560" fmla="*/ 434281 w 1085953"/>
                  <a:gd name="connsiteY560" fmla="*/ 18524 h 1052131"/>
                  <a:gd name="connsiteX561" fmla="*/ 431042 w 1085953"/>
                  <a:gd name="connsiteY561" fmla="*/ 20524 h 1052131"/>
                  <a:gd name="connsiteX562" fmla="*/ 430566 w 1085953"/>
                  <a:gd name="connsiteY562" fmla="*/ 21286 h 1052131"/>
                  <a:gd name="connsiteX563" fmla="*/ 430566 w 1085953"/>
                  <a:gd name="connsiteY563" fmla="*/ 21953 h 1052131"/>
                  <a:gd name="connsiteX564" fmla="*/ 430566 w 1085953"/>
                  <a:gd name="connsiteY564" fmla="*/ 21953 h 1052131"/>
                  <a:gd name="connsiteX565" fmla="*/ 339888 w 1085953"/>
                  <a:gd name="connsiteY565" fmla="*/ 31478 h 1052131"/>
                  <a:gd name="connsiteX566" fmla="*/ 339888 w 1085953"/>
                  <a:gd name="connsiteY566" fmla="*/ 31478 h 1052131"/>
                  <a:gd name="connsiteX567" fmla="*/ 334078 w 1085953"/>
                  <a:gd name="connsiteY567" fmla="*/ 34050 h 1052131"/>
                  <a:gd name="connsiteX568" fmla="*/ 338650 w 1085953"/>
                  <a:gd name="connsiteY568" fmla="*/ 32430 h 1052131"/>
                  <a:gd name="connsiteX569" fmla="*/ 338650 w 1085953"/>
                  <a:gd name="connsiteY569" fmla="*/ 32430 h 1052131"/>
                  <a:gd name="connsiteX570" fmla="*/ 339793 w 1085953"/>
                  <a:gd name="connsiteY570" fmla="*/ 30811 h 1052131"/>
                  <a:gd name="connsiteX571" fmla="*/ 316266 w 1085953"/>
                  <a:gd name="connsiteY571" fmla="*/ 42527 h 1052131"/>
                  <a:gd name="connsiteX572" fmla="*/ 316742 w 1085953"/>
                  <a:gd name="connsiteY572" fmla="*/ 41955 h 1052131"/>
                  <a:gd name="connsiteX573" fmla="*/ 317790 w 1085953"/>
                  <a:gd name="connsiteY573" fmla="*/ 41098 h 1052131"/>
                  <a:gd name="connsiteX574" fmla="*/ 317790 w 1085953"/>
                  <a:gd name="connsiteY574" fmla="*/ 41098 h 1052131"/>
                  <a:gd name="connsiteX575" fmla="*/ 314171 w 1085953"/>
                  <a:gd name="connsiteY575" fmla="*/ 42717 h 1052131"/>
                  <a:gd name="connsiteX576" fmla="*/ 309122 w 1085953"/>
                  <a:gd name="connsiteY576" fmla="*/ 46146 h 1052131"/>
                  <a:gd name="connsiteX577" fmla="*/ 315314 w 1085953"/>
                  <a:gd name="connsiteY577" fmla="*/ 43289 h 1052131"/>
                  <a:gd name="connsiteX578" fmla="*/ 316076 w 1085953"/>
                  <a:gd name="connsiteY578" fmla="*/ 42813 h 1052131"/>
                  <a:gd name="connsiteX579" fmla="*/ 317028 w 1085953"/>
                  <a:gd name="connsiteY579" fmla="*/ 50242 h 1052131"/>
                  <a:gd name="connsiteX580" fmla="*/ 318933 w 1085953"/>
                  <a:gd name="connsiteY580" fmla="*/ 48718 h 1052131"/>
                  <a:gd name="connsiteX581" fmla="*/ 316933 w 1085953"/>
                  <a:gd name="connsiteY581" fmla="*/ 48718 h 1052131"/>
                  <a:gd name="connsiteX582" fmla="*/ 317885 w 1085953"/>
                  <a:gd name="connsiteY582" fmla="*/ 47956 h 1052131"/>
                  <a:gd name="connsiteX583" fmla="*/ 308360 w 1085953"/>
                  <a:gd name="connsiteY583" fmla="*/ 52242 h 1052131"/>
                  <a:gd name="connsiteX584" fmla="*/ 306455 w 1085953"/>
                  <a:gd name="connsiteY584" fmla="*/ 53385 h 1052131"/>
                  <a:gd name="connsiteX585" fmla="*/ 305408 w 1085953"/>
                  <a:gd name="connsiteY585" fmla="*/ 54052 h 1052131"/>
                  <a:gd name="connsiteX586" fmla="*/ 299883 w 1085953"/>
                  <a:gd name="connsiteY586" fmla="*/ 57957 h 1052131"/>
                  <a:gd name="connsiteX587" fmla="*/ 296359 w 1085953"/>
                  <a:gd name="connsiteY587" fmla="*/ 59958 h 1052131"/>
                  <a:gd name="connsiteX588" fmla="*/ 294359 w 1085953"/>
                  <a:gd name="connsiteY588" fmla="*/ 62148 h 1052131"/>
                  <a:gd name="connsiteX589" fmla="*/ 294359 w 1085953"/>
                  <a:gd name="connsiteY589" fmla="*/ 62148 h 1052131"/>
                  <a:gd name="connsiteX590" fmla="*/ 302169 w 1085953"/>
                  <a:gd name="connsiteY590" fmla="*/ 57386 h 1052131"/>
                  <a:gd name="connsiteX591" fmla="*/ 304646 w 1085953"/>
                  <a:gd name="connsiteY591" fmla="*/ 56624 h 1052131"/>
                  <a:gd name="connsiteX592" fmla="*/ 304646 w 1085953"/>
                  <a:gd name="connsiteY592" fmla="*/ 56624 h 1052131"/>
                  <a:gd name="connsiteX593" fmla="*/ 303217 w 1085953"/>
                  <a:gd name="connsiteY593" fmla="*/ 57862 h 1052131"/>
                  <a:gd name="connsiteX594" fmla="*/ 305598 w 1085953"/>
                  <a:gd name="connsiteY594" fmla="*/ 57862 h 1052131"/>
                  <a:gd name="connsiteX595" fmla="*/ 307598 w 1085953"/>
                  <a:gd name="connsiteY595" fmla="*/ 56338 h 1052131"/>
                  <a:gd name="connsiteX596" fmla="*/ 310837 w 1085953"/>
                  <a:gd name="connsiteY596" fmla="*/ 55767 h 1052131"/>
                  <a:gd name="connsiteX597" fmla="*/ 317219 w 1085953"/>
                  <a:gd name="connsiteY597" fmla="*/ 52719 h 1052131"/>
                  <a:gd name="connsiteX598" fmla="*/ 319314 w 1085953"/>
                  <a:gd name="connsiteY598" fmla="*/ 49956 h 1052131"/>
                  <a:gd name="connsiteX599" fmla="*/ 316933 w 1085953"/>
                  <a:gd name="connsiteY599" fmla="*/ 49385 h 1052131"/>
                  <a:gd name="connsiteX600" fmla="*/ 320172 w 1085953"/>
                  <a:gd name="connsiteY600" fmla="*/ 61005 h 1052131"/>
                  <a:gd name="connsiteX601" fmla="*/ 318743 w 1085953"/>
                  <a:gd name="connsiteY601" fmla="*/ 61005 h 1052131"/>
                  <a:gd name="connsiteX602" fmla="*/ 317790 w 1085953"/>
                  <a:gd name="connsiteY602" fmla="*/ 61005 h 1052131"/>
                  <a:gd name="connsiteX603" fmla="*/ 314552 w 1085953"/>
                  <a:gd name="connsiteY603" fmla="*/ 63101 h 1052131"/>
                  <a:gd name="connsiteX604" fmla="*/ 313790 w 1085953"/>
                  <a:gd name="connsiteY604" fmla="*/ 63672 h 1052131"/>
                  <a:gd name="connsiteX605" fmla="*/ 310551 w 1085953"/>
                  <a:gd name="connsiteY605" fmla="*/ 66434 h 1052131"/>
                  <a:gd name="connsiteX606" fmla="*/ 309218 w 1085953"/>
                  <a:gd name="connsiteY606" fmla="*/ 67482 h 1052131"/>
                  <a:gd name="connsiteX607" fmla="*/ 310551 w 1085953"/>
                  <a:gd name="connsiteY607" fmla="*/ 67482 h 1052131"/>
                  <a:gd name="connsiteX608" fmla="*/ 311789 w 1085953"/>
                  <a:gd name="connsiteY608" fmla="*/ 67482 h 1052131"/>
                  <a:gd name="connsiteX609" fmla="*/ 312647 w 1085953"/>
                  <a:gd name="connsiteY609" fmla="*/ 67482 h 1052131"/>
                  <a:gd name="connsiteX610" fmla="*/ 312171 w 1085953"/>
                  <a:gd name="connsiteY610" fmla="*/ 68435 h 1052131"/>
                  <a:gd name="connsiteX611" fmla="*/ 314647 w 1085953"/>
                  <a:gd name="connsiteY611" fmla="*/ 68435 h 1052131"/>
                  <a:gd name="connsiteX612" fmla="*/ 316171 w 1085953"/>
                  <a:gd name="connsiteY612" fmla="*/ 67006 h 1052131"/>
                  <a:gd name="connsiteX613" fmla="*/ 318743 w 1085953"/>
                  <a:gd name="connsiteY613" fmla="*/ 64529 h 1052131"/>
                  <a:gd name="connsiteX614" fmla="*/ 320457 w 1085953"/>
                  <a:gd name="connsiteY614" fmla="*/ 61005 h 1052131"/>
                  <a:gd name="connsiteX615" fmla="*/ 320457 w 1085953"/>
                  <a:gd name="connsiteY615" fmla="*/ 61005 h 1052131"/>
                  <a:gd name="connsiteX616" fmla="*/ 383322 w 1085953"/>
                  <a:gd name="connsiteY616" fmla="*/ 16238 h 1052131"/>
                  <a:gd name="connsiteX617" fmla="*/ 383322 w 1085953"/>
                  <a:gd name="connsiteY617" fmla="*/ 16238 h 1052131"/>
                  <a:gd name="connsiteX618" fmla="*/ 379893 w 1085953"/>
                  <a:gd name="connsiteY618" fmla="*/ 17381 h 1052131"/>
                  <a:gd name="connsiteX619" fmla="*/ 375702 w 1085953"/>
                  <a:gd name="connsiteY619" fmla="*/ 19571 h 1052131"/>
                  <a:gd name="connsiteX620" fmla="*/ 371035 w 1085953"/>
                  <a:gd name="connsiteY620" fmla="*/ 21096 h 1052131"/>
                  <a:gd name="connsiteX621" fmla="*/ 368273 w 1085953"/>
                  <a:gd name="connsiteY621" fmla="*/ 22810 h 1052131"/>
                  <a:gd name="connsiteX622" fmla="*/ 368273 w 1085953"/>
                  <a:gd name="connsiteY622" fmla="*/ 22810 h 1052131"/>
                  <a:gd name="connsiteX623" fmla="*/ 370178 w 1085953"/>
                  <a:gd name="connsiteY623" fmla="*/ 22810 h 1052131"/>
                  <a:gd name="connsiteX624" fmla="*/ 370178 w 1085953"/>
                  <a:gd name="connsiteY624" fmla="*/ 22810 h 1052131"/>
                  <a:gd name="connsiteX625" fmla="*/ 373226 w 1085953"/>
                  <a:gd name="connsiteY625" fmla="*/ 21953 h 1052131"/>
                  <a:gd name="connsiteX626" fmla="*/ 373226 w 1085953"/>
                  <a:gd name="connsiteY626" fmla="*/ 21953 h 1052131"/>
                  <a:gd name="connsiteX627" fmla="*/ 380465 w 1085953"/>
                  <a:gd name="connsiteY627" fmla="*/ 18238 h 1052131"/>
                  <a:gd name="connsiteX628" fmla="*/ 380465 w 1085953"/>
                  <a:gd name="connsiteY628" fmla="*/ 18238 h 1052131"/>
                  <a:gd name="connsiteX629" fmla="*/ 381322 w 1085953"/>
                  <a:gd name="connsiteY629" fmla="*/ 18238 h 1052131"/>
                  <a:gd name="connsiteX630" fmla="*/ 383227 w 1085953"/>
                  <a:gd name="connsiteY630" fmla="*/ 15571 h 1052131"/>
                  <a:gd name="connsiteX631" fmla="*/ 372083 w 1085953"/>
                  <a:gd name="connsiteY631" fmla="*/ 19000 h 1052131"/>
                  <a:gd name="connsiteX632" fmla="*/ 368082 w 1085953"/>
                  <a:gd name="connsiteY632" fmla="*/ 20619 h 1052131"/>
                  <a:gd name="connsiteX633" fmla="*/ 368558 w 1085953"/>
                  <a:gd name="connsiteY633" fmla="*/ 20619 h 1052131"/>
                  <a:gd name="connsiteX634" fmla="*/ 368558 w 1085953"/>
                  <a:gd name="connsiteY634" fmla="*/ 20619 h 1052131"/>
                  <a:gd name="connsiteX635" fmla="*/ 368558 w 1085953"/>
                  <a:gd name="connsiteY635" fmla="*/ 20619 h 1052131"/>
                  <a:gd name="connsiteX636" fmla="*/ 369987 w 1085953"/>
                  <a:gd name="connsiteY636" fmla="*/ 20619 h 1052131"/>
                  <a:gd name="connsiteX637" fmla="*/ 371892 w 1085953"/>
                  <a:gd name="connsiteY637" fmla="*/ 19571 h 1052131"/>
                  <a:gd name="connsiteX638" fmla="*/ 371892 w 1085953"/>
                  <a:gd name="connsiteY638" fmla="*/ 19571 h 1052131"/>
                  <a:gd name="connsiteX639" fmla="*/ 365510 w 1085953"/>
                  <a:gd name="connsiteY639" fmla="*/ 17667 h 1052131"/>
                  <a:gd name="connsiteX640" fmla="*/ 367034 w 1085953"/>
                  <a:gd name="connsiteY640" fmla="*/ 17667 h 1052131"/>
                  <a:gd name="connsiteX641" fmla="*/ 368654 w 1085953"/>
                  <a:gd name="connsiteY641" fmla="*/ 16809 h 1052131"/>
                  <a:gd name="connsiteX642" fmla="*/ 410659 w 1085953"/>
                  <a:gd name="connsiteY642" fmla="*/ 9475 h 1052131"/>
                  <a:gd name="connsiteX643" fmla="*/ 410659 w 1085953"/>
                  <a:gd name="connsiteY643" fmla="*/ 9475 h 1052131"/>
                  <a:gd name="connsiteX644" fmla="*/ 413612 w 1085953"/>
                  <a:gd name="connsiteY644" fmla="*/ 8332 h 1052131"/>
                  <a:gd name="connsiteX645" fmla="*/ 413612 w 1085953"/>
                  <a:gd name="connsiteY645" fmla="*/ 8332 h 1052131"/>
                  <a:gd name="connsiteX646" fmla="*/ 417517 w 1085953"/>
                  <a:gd name="connsiteY646" fmla="*/ 7570 h 1052131"/>
                  <a:gd name="connsiteX647" fmla="*/ 413993 w 1085953"/>
                  <a:gd name="connsiteY647" fmla="*/ 9570 h 1052131"/>
                  <a:gd name="connsiteX648" fmla="*/ 420851 w 1085953"/>
                  <a:gd name="connsiteY648" fmla="*/ 7284 h 1052131"/>
                  <a:gd name="connsiteX649" fmla="*/ 420851 w 1085953"/>
                  <a:gd name="connsiteY649" fmla="*/ 7284 h 1052131"/>
                  <a:gd name="connsiteX650" fmla="*/ 420851 w 1085953"/>
                  <a:gd name="connsiteY650" fmla="*/ 7284 h 1052131"/>
                  <a:gd name="connsiteX651" fmla="*/ 415231 w 1085953"/>
                  <a:gd name="connsiteY651" fmla="*/ 10713 h 1052131"/>
                  <a:gd name="connsiteX652" fmla="*/ 420851 w 1085953"/>
                  <a:gd name="connsiteY652" fmla="*/ 9189 h 1052131"/>
                  <a:gd name="connsiteX653" fmla="*/ 424375 w 1085953"/>
                  <a:gd name="connsiteY653" fmla="*/ 8237 h 1052131"/>
                  <a:gd name="connsiteX654" fmla="*/ 423804 w 1085953"/>
                  <a:gd name="connsiteY654" fmla="*/ 8237 h 1052131"/>
                  <a:gd name="connsiteX655" fmla="*/ 427137 w 1085953"/>
                  <a:gd name="connsiteY655" fmla="*/ 7761 h 1052131"/>
                  <a:gd name="connsiteX656" fmla="*/ 426375 w 1085953"/>
                  <a:gd name="connsiteY656" fmla="*/ 8427 h 1052131"/>
                  <a:gd name="connsiteX657" fmla="*/ 426375 w 1085953"/>
                  <a:gd name="connsiteY657" fmla="*/ 8427 h 1052131"/>
                  <a:gd name="connsiteX658" fmla="*/ 419422 w 1085953"/>
                  <a:gd name="connsiteY658" fmla="*/ 12523 h 1052131"/>
                  <a:gd name="connsiteX659" fmla="*/ 426661 w 1085953"/>
                  <a:gd name="connsiteY659" fmla="*/ 9380 h 1052131"/>
                  <a:gd name="connsiteX660" fmla="*/ 425708 w 1085953"/>
                  <a:gd name="connsiteY660" fmla="*/ 10142 h 1052131"/>
                  <a:gd name="connsiteX661" fmla="*/ 425708 w 1085953"/>
                  <a:gd name="connsiteY661" fmla="*/ 10142 h 1052131"/>
                  <a:gd name="connsiteX662" fmla="*/ 424851 w 1085953"/>
                  <a:gd name="connsiteY662" fmla="*/ 12333 h 1052131"/>
                  <a:gd name="connsiteX663" fmla="*/ 422089 w 1085953"/>
                  <a:gd name="connsiteY663" fmla="*/ 13380 h 1052131"/>
                  <a:gd name="connsiteX664" fmla="*/ 422089 w 1085953"/>
                  <a:gd name="connsiteY664" fmla="*/ 13380 h 1052131"/>
                  <a:gd name="connsiteX665" fmla="*/ 426185 w 1085953"/>
                  <a:gd name="connsiteY665" fmla="*/ 12713 h 1052131"/>
                  <a:gd name="connsiteX666" fmla="*/ 425042 w 1085953"/>
                  <a:gd name="connsiteY666" fmla="*/ 13761 h 1052131"/>
                  <a:gd name="connsiteX667" fmla="*/ 425042 w 1085953"/>
                  <a:gd name="connsiteY667" fmla="*/ 13761 h 1052131"/>
                  <a:gd name="connsiteX668" fmla="*/ 424565 w 1085953"/>
                  <a:gd name="connsiteY668" fmla="*/ 13761 h 1052131"/>
                  <a:gd name="connsiteX669" fmla="*/ 424565 w 1085953"/>
                  <a:gd name="connsiteY669" fmla="*/ 13761 h 1052131"/>
                  <a:gd name="connsiteX670" fmla="*/ 405515 w 1085953"/>
                  <a:gd name="connsiteY670" fmla="*/ 18048 h 1052131"/>
                  <a:gd name="connsiteX671" fmla="*/ 411612 w 1085953"/>
                  <a:gd name="connsiteY671" fmla="*/ 17095 h 1052131"/>
                  <a:gd name="connsiteX672" fmla="*/ 411612 w 1085953"/>
                  <a:gd name="connsiteY672" fmla="*/ 17095 h 1052131"/>
                  <a:gd name="connsiteX673" fmla="*/ 399991 w 1085953"/>
                  <a:gd name="connsiteY673" fmla="*/ 20810 h 1052131"/>
                  <a:gd name="connsiteX674" fmla="*/ 399991 w 1085953"/>
                  <a:gd name="connsiteY674" fmla="*/ 20810 h 1052131"/>
                  <a:gd name="connsiteX675" fmla="*/ 401420 w 1085953"/>
                  <a:gd name="connsiteY675" fmla="*/ 19762 h 1052131"/>
                  <a:gd name="connsiteX676" fmla="*/ 392752 w 1085953"/>
                  <a:gd name="connsiteY676" fmla="*/ 23572 h 1052131"/>
                  <a:gd name="connsiteX677" fmla="*/ 392752 w 1085953"/>
                  <a:gd name="connsiteY677" fmla="*/ 23572 h 1052131"/>
                  <a:gd name="connsiteX678" fmla="*/ 387608 w 1085953"/>
                  <a:gd name="connsiteY678" fmla="*/ 24715 h 1052131"/>
                  <a:gd name="connsiteX679" fmla="*/ 388275 w 1085953"/>
                  <a:gd name="connsiteY679" fmla="*/ 23858 h 1052131"/>
                  <a:gd name="connsiteX680" fmla="*/ 386465 w 1085953"/>
                  <a:gd name="connsiteY680" fmla="*/ 24620 h 1052131"/>
                  <a:gd name="connsiteX681" fmla="*/ 386465 w 1085953"/>
                  <a:gd name="connsiteY681" fmla="*/ 24620 h 1052131"/>
                  <a:gd name="connsiteX682" fmla="*/ 384465 w 1085953"/>
                  <a:gd name="connsiteY682" fmla="*/ 25382 h 1052131"/>
                  <a:gd name="connsiteX683" fmla="*/ 384465 w 1085953"/>
                  <a:gd name="connsiteY683" fmla="*/ 25382 h 1052131"/>
                  <a:gd name="connsiteX684" fmla="*/ 384465 w 1085953"/>
                  <a:gd name="connsiteY684" fmla="*/ 25382 h 1052131"/>
                  <a:gd name="connsiteX685" fmla="*/ 378941 w 1085953"/>
                  <a:gd name="connsiteY685" fmla="*/ 27858 h 1052131"/>
                  <a:gd name="connsiteX686" fmla="*/ 380084 w 1085953"/>
                  <a:gd name="connsiteY686" fmla="*/ 28620 h 1052131"/>
                  <a:gd name="connsiteX687" fmla="*/ 377036 w 1085953"/>
                  <a:gd name="connsiteY687" fmla="*/ 30049 h 1052131"/>
                  <a:gd name="connsiteX688" fmla="*/ 377036 w 1085953"/>
                  <a:gd name="connsiteY688" fmla="*/ 30049 h 1052131"/>
                  <a:gd name="connsiteX689" fmla="*/ 370368 w 1085953"/>
                  <a:gd name="connsiteY689" fmla="*/ 32907 h 1052131"/>
                  <a:gd name="connsiteX690" fmla="*/ 368844 w 1085953"/>
                  <a:gd name="connsiteY690" fmla="*/ 32335 h 1052131"/>
                  <a:gd name="connsiteX691" fmla="*/ 364177 w 1085953"/>
                  <a:gd name="connsiteY691" fmla="*/ 33954 h 1052131"/>
                  <a:gd name="connsiteX692" fmla="*/ 360748 w 1085953"/>
                  <a:gd name="connsiteY692" fmla="*/ 34716 h 1052131"/>
                  <a:gd name="connsiteX693" fmla="*/ 362653 w 1085953"/>
                  <a:gd name="connsiteY693" fmla="*/ 32716 h 1052131"/>
                  <a:gd name="connsiteX694" fmla="*/ 360272 w 1085953"/>
                  <a:gd name="connsiteY694" fmla="*/ 33764 h 1052131"/>
                  <a:gd name="connsiteX695" fmla="*/ 360272 w 1085953"/>
                  <a:gd name="connsiteY695" fmla="*/ 34526 h 1052131"/>
                  <a:gd name="connsiteX696" fmla="*/ 357414 w 1085953"/>
                  <a:gd name="connsiteY696" fmla="*/ 37002 h 1052131"/>
                  <a:gd name="connsiteX697" fmla="*/ 357414 w 1085953"/>
                  <a:gd name="connsiteY697" fmla="*/ 37002 h 1052131"/>
                  <a:gd name="connsiteX698" fmla="*/ 350080 w 1085953"/>
                  <a:gd name="connsiteY698" fmla="*/ 41003 h 1052131"/>
                  <a:gd name="connsiteX699" fmla="*/ 347984 w 1085953"/>
                  <a:gd name="connsiteY699" fmla="*/ 41003 h 1052131"/>
                  <a:gd name="connsiteX700" fmla="*/ 352556 w 1085953"/>
                  <a:gd name="connsiteY700" fmla="*/ 39860 h 1052131"/>
                  <a:gd name="connsiteX701" fmla="*/ 351699 w 1085953"/>
                  <a:gd name="connsiteY701" fmla="*/ 39860 h 1052131"/>
                  <a:gd name="connsiteX702" fmla="*/ 353414 w 1085953"/>
                  <a:gd name="connsiteY702" fmla="*/ 38526 h 1052131"/>
                  <a:gd name="connsiteX703" fmla="*/ 350842 w 1085953"/>
                  <a:gd name="connsiteY703" fmla="*/ 39383 h 1052131"/>
                  <a:gd name="connsiteX704" fmla="*/ 351604 w 1085953"/>
                  <a:gd name="connsiteY704" fmla="*/ 38717 h 1052131"/>
                  <a:gd name="connsiteX705" fmla="*/ 350747 w 1085953"/>
                  <a:gd name="connsiteY705" fmla="*/ 38717 h 1052131"/>
                  <a:gd name="connsiteX706" fmla="*/ 351604 w 1085953"/>
                  <a:gd name="connsiteY706" fmla="*/ 38050 h 1052131"/>
                  <a:gd name="connsiteX707" fmla="*/ 351604 w 1085953"/>
                  <a:gd name="connsiteY707" fmla="*/ 38050 h 1052131"/>
                  <a:gd name="connsiteX708" fmla="*/ 352175 w 1085953"/>
                  <a:gd name="connsiteY708" fmla="*/ 37574 h 1052131"/>
                  <a:gd name="connsiteX709" fmla="*/ 349794 w 1085953"/>
                  <a:gd name="connsiteY709" fmla="*/ 38431 h 1052131"/>
                  <a:gd name="connsiteX710" fmla="*/ 349794 w 1085953"/>
                  <a:gd name="connsiteY710" fmla="*/ 38431 h 1052131"/>
                  <a:gd name="connsiteX711" fmla="*/ 350747 w 1085953"/>
                  <a:gd name="connsiteY711" fmla="*/ 37479 h 1052131"/>
                  <a:gd name="connsiteX712" fmla="*/ 350747 w 1085953"/>
                  <a:gd name="connsiteY712" fmla="*/ 37479 h 1052131"/>
                  <a:gd name="connsiteX713" fmla="*/ 351795 w 1085953"/>
                  <a:gd name="connsiteY713" fmla="*/ 36526 h 1052131"/>
                  <a:gd name="connsiteX714" fmla="*/ 349985 w 1085953"/>
                  <a:gd name="connsiteY714" fmla="*/ 36526 h 1052131"/>
                  <a:gd name="connsiteX715" fmla="*/ 351223 w 1085953"/>
                  <a:gd name="connsiteY715" fmla="*/ 35669 h 1052131"/>
                  <a:gd name="connsiteX716" fmla="*/ 349699 w 1085953"/>
                  <a:gd name="connsiteY716" fmla="*/ 36240 h 1052131"/>
                  <a:gd name="connsiteX717" fmla="*/ 351985 w 1085953"/>
                  <a:gd name="connsiteY717" fmla="*/ 34716 h 1052131"/>
                  <a:gd name="connsiteX718" fmla="*/ 351223 w 1085953"/>
                  <a:gd name="connsiteY718" fmla="*/ 34716 h 1052131"/>
                  <a:gd name="connsiteX719" fmla="*/ 353604 w 1085953"/>
                  <a:gd name="connsiteY719" fmla="*/ 33288 h 1052131"/>
                  <a:gd name="connsiteX720" fmla="*/ 350937 w 1085953"/>
                  <a:gd name="connsiteY720" fmla="*/ 34240 h 1052131"/>
                  <a:gd name="connsiteX721" fmla="*/ 358367 w 1085953"/>
                  <a:gd name="connsiteY721" fmla="*/ 30716 h 1052131"/>
                  <a:gd name="connsiteX722" fmla="*/ 358367 w 1085953"/>
                  <a:gd name="connsiteY722" fmla="*/ 30716 h 1052131"/>
                  <a:gd name="connsiteX723" fmla="*/ 358367 w 1085953"/>
                  <a:gd name="connsiteY723" fmla="*/ 30716 h 1052131"/>
                  <a:gd name="connsiteX724" fmla="*/ 360843 w 1085953"/>
                  <a:gd name="connsiteY724" fmla="*/ 29858 h 1052131"/>
                  <a:gd name="connsiteX725" fmla="*/ 360176 w 1085953"/>
                  <a:gd name="connsiteY725" fmla="*/ 30621 h 1052131"/>
                  <a:gd name="connsiteX726" fmla="*/ 363320 w 1085953"/>
                  <a:gd name="connsiteY726" fmla="*/ 29382 h 1052131"/>
                  <a:gd name="connsiteX727" fmla="*/ 367606 w 1085953"/>
                  <a:gd name="connsiteY727" fmla="*/ 26715 h 1052131"/>
                  <a:gd name="connsiteX728" fmla="*/ 367606 w 1085953"/>
                  <a:gd name="connsiteY728" fmla="*/ 26715 h 1052131"/>
                  <a:gd name="connsiteX729" fmla="*/ 369606 w 1085953"/>
                  <a:gd name="connsiteY729" fmla="*/ 26239 h 1052131"/>
                  <a:gd name="connsiteX730" fmla="*/ 361510 w 1085953"/>
                  <a:gd name="connsiteY730" fmla="*/ 32335 h 1052131"/>
                  <a:gd name="connsiteX731" fmla="*/ 369797 w 1085953"/>
                  <a:gd name="connsiteY731" fmla="*/ 29001 h 1052131"/>
                  <a:gd name="connsiteX732" fmla="*/ 365701 w 1085953"/>
                  <a:gd name="connsiteY732" fmla="*/ 30049 h 1052131"/>
                  <a:gd name="connsiteX733" fmla="*/ 377036 w 1085953"/>
                  <a:gd name="connsiteY733" fmla="*/ 24429 h 1052131"/>
                  <a:gd name="connsiteX734" fmla="*/ 371797 w 1085953"/>
                  <a:gd name="connsiteY734" fmla="*/ 26144 h 1052131"/>
                  <a:gd name="connsiteX735" fmla="*/ 372845 w 1085953"/>
                  <a:gd name="connsiteY735" fmla="*/ 25191 h 1052131"/>
                  <a:gd name="connsiteX736" fmla="*/ 371988 w 1085953"/>
                  <a:gd name="connsiteY736" fmla="*/ 25191 h 1052131"/>
                  <a:gd name="connsiteX737" fmla="*/ 379703 w 1085953"/>
                  <a:gd name="connsiteY737" fmla="*/ 21667 h 1052131"/>
                  <a:gd name="connsiteX738" fmla="*/ 379703 w 1085953"/>
                  <a:gd name="connsiteY738" fmla="*/ 21667 h 1052131"/>
                  <a:gd name="connsiteX739" fmla="*/ 381417 w 1085953"/>
                  <a:gd name="connsiteY739" fmla="*/ 21667 h 1052131"/>
                  <a:gd name="connsiteX740" fmla="*/ 381417 w 1085953"/>
                  <a:gd name="connsiteY740" fmla="*/ 22143 h 1052131"/>
                  <a:gd name="connsiteX741" fmla="*/ 378655 w 1085953"/>
                  <a:gd name="connsiteY741" fmla="*/ 24810 h 1052131"/>
                  <a:gd name="connsiteX742" fmla="*/ 380846 w 1085953"/>
                  <a:gd name="connsiteY742" fmla="*/ 23763 h 1052131"/>
                  <a:gd name="connsiteX743" fmla="*/ 396372 w 1085953"/>
                  <a:gd name="connsiteY743" fmla="*/ 15190 h 1052131"/>
                  <a:gd name="connsiteX744" fmla="*/ 388180 w 1085953"/>
                  <a:gd name="connsiteY744" fmla="*/ 21000 h 1052131"/>
                  <a:gd name="connsiteX745" fmla="*/ 392562 w 1085953"/>
                  <a:gd name="connsiteY745" fmla="*/ 19191 h 1052131"/>
                  <a:gd name="connsiteX746" fmla="*/ 397229 w 1085953"/>
                  <a:gd name="connsiteY746" fmla="*/ 18429 h 1052131"/>
                  <a:gd name="connsiteX747" fmla="*/ 403325 w 1085953"/>
                  <a:gd name="connsiteY747" fmla="*/ 16524 h 1052131"/>
                  <a:gd name="connsiteX748" fmla="*/ 403325 w 1085953"/>
                  <a:gd name="connsiteY748" fmla="*/ 16524 h 1052131"/>
                  <a:gd name="connsiteX749" fmla="*/ 409611 w 1085953"/>
                  <a:gd name="connsiteY749" fmla="*/ 13475 h 1052131"/>
                  <a:gd name="connsiteX750" fmla="*/ 407516 w 1085953"/>
                  <a:gd name="connsiteY750" fmla="*/ 14142 h 1052131"/>
                  <a:gd name="connsiteX751" fmla="*/ 408563 w 1085953"/>
                  <a:gd name="connsiteY751" fmla="*/ 13475 h 1052131"/>
                  <a:gd name="connsiteX752" fmla="*/ 397800 w 1085953"/>
                  <a:gd name="connsiteY752" fmla="*/ 16714 h 1052131"/>
                  <a:gd name="connsiteX753" fmla="*/ 400943 w 1085953"/>
                  <a:gd name="connsiteY753" fmla="*/ 14142 h 1052131"/>
                  <a:gd name="connsiteX754" fmla="*/ 406468 w 1085953"/>
                  <a:gd name="connsiteY754" fmla="*/ 12333 h 1052131"/>
                  <a:gd name="connsiteX755" fmla="*/ 401134 w 1085953"/>
                  <a:gd name="connsiteY755" fmla="*/ 13571 h 1052131"/>
                  <a:gd name="connsiteX756" fmla="*/ 402658 w 1085953"/>
                  <a:gd name="connsiteY756" fmla="*/ 12904 h 1052131"/>
                  <a:gd name="connsiteX757" fmla="*/ 399515 w 1085953"/>
                  <a:gd name="connsiteY757" fmla="*/ 12904 h 1052131"/>
                  <a:gd name="connsiteX758" fmla="*/ 405325 w 1085953"/>
                  <a:gd name="connsiteY758" fmla="*/ 11094 h 1052131"/>
                  <a:gd name="connsiteX759" fmla="*/ 405325 w 1085953"/>
                  <a:gd name="connsiteY759" fmla="*/ 11094 h 1052131"/>
                  <a:gd name="connsiteX760" fmla="*/ 403706 w 1085953"/>
                  <a:gd name="connsiteY760" fmla="*/ 11094 h 1052131"/>
                  <a:gd name="connsiteX761" fmla="*/ 410183 w 1085953"/>
                  <a:gd name="connsiteY761" fmla="*/ 8618 h 1052131"/>
                  <a:gd name="connsiteX762" fmla="*/ 410183 w 1085953"/>
                  <a:gd name="connsiteY762" fmla="*/ 8618 h 1052131"/>
                  <a:gd name="connsiteX763" fmla="*/ 410564 w 1085953"/>
                  <a:gd name="connsiteY763" fmla="*/ 8808 h 1052131"/>
                  <a:gd name="connsiteX764" fmla="*/ 404372 w 1085953"/>
                  <a:gd name="connsiteY764" fmla="*/ 13380 h 1052131"/>
                  <a:gd name="connsiteX765" fmla="*/ 402658 w 1085953"/>
                  <a:gd name="connsiteY765" fmla="*/ 13380 h 1052131"/>
                  <a:gd name="connsiteX766" fmla="*/ 420660 w 1085953"/>
                  <a:gd name="connsiteY766" fmla="*/ 11094 h 1052131"/>
                  <a:gd name="connsiteX767" fmla="*/ 423518 w 1085953"/>
                  <a:gd name="connsiteY767" fmla="*/ 9380 h 1052131"/>
                  <a:gd name="connsiteX768" fmla="*/ 366082 w 1085953"/>
                  <a:gd name="connsiteY768" fmla="*/ 24620 h 1052131"/>
                  <a:gd name="connsiteX769" fmla="*/ 366749 w 1085953"/>
                  <a:gd name="connsiteY769" fmla="*/ 24620 h 1052131"/>
                  <a:gd name="connsiteX770" fmla="*/ 366749 w 1085953"/>
                  <a:gd name="connsiteY770" fmla="*/ 24620 h 1052131"/>
                  <a:gd name="connsiteX771" fmla="*/ 365415 w 1085953"/>
                  <a:gd name="connsiteY771" fmla="*/ 24620 h 1052131"/>
                  <a:gd name="connsiteX772" fmla="*/ 363605 w 1085953"/>
                  <a:gd name="connsiteY772" fmla="*/ 25667 h 1052131"/>
                  <a:gd name="connsiteX773" fmla="*/ 364844 w 1085953"/>
                  <a:gd name="connsiteY773" fmla="*/ 25667 h 1052131"/>
                  <a:gd name="connsiteX774" fmla="*/ 366654 w 1085953"/>
                  <a:gd name="connsiteY774" fmla="*/ 25001 h 1052131"/>
                  <a:gd name="connsiteX775" fmla="*/ 367797 w 1085953"/>
                  <a:gd name="connsiteY775" fmla="*/ 24334 h 1052131"/>
                  <a:gd name="connsiteX776" fmla="*/ 365606 w 1085953"/>
                  <a:gd name="connsiteY776" fmla="*/ 25001 h 1052131"/>
                  <a:gd name="connsiteX777" fmla="*/ 365606 w 1085953"/>
                  <a:gd name="connsiteY777" fmla="*/ 25001 h 1052131"/>
                  <a:gd name="connsiteX778" fmla="*/ 365987 w 1085953"/>
                  <a:gd name="connsiteY778" fmla="*/ 23953 h 1052131"/>
                  <a:gd name="connsiteX779" fmla="*/ 375607 w 1085953"/>
                  <a:gd name="connsiteY779" fmla="*/ 18905 h 1052131"/>
                  <a:gd name="connsiteX780" fmla="*/ 375607 w 1085953"/>
                  <a:gd name="connsiteY780" fmla="*/ 18905 h 1052131"/>
                  <a:gd name="connsiteX781" fmla="*/ 378083 w 1085953"/>
                  <a:gd name="connsiteY781" fmla="*/ 17571 h 1052131"/>
                  <a:gd name="connsiteX782" fmla="*/ 382370 w 1085953"/>
                  <a:gd name="connsiteY782" fmla="*/ 15952 h 1052131"/>
                  <a:gd name="connsiteX783" fmla="*/ 382846 w 1085953"/>
                  <a:gd name="connsiteY783" fmla="*/ 15952 h 1052131"/>
                  <a:gd name="connsiteX784" fmla="*/ 383513 w 1085953"/>
                  <a:gd name="connsiteY784" fmla="*/ 15952 h 1052131"/>
                  <a:gd name="connsiteX785" fmla="*/ 383513 w 1085953"/>
                  <a:gd name="connsiteY785" fmla="*/ 15952 h 1052131"/>
                  <a:gd name="connsiteX786" fmla="*/ 387608 w 1085953"/>
                  <a:gd name="connsiteY786" fmla="*/ 13952 h 1052131"/>
                  <a:gd name="connsiteX787" fmla="*/ 386180 w 1085953"/>
                  <a:gd name="connsiteY787" fmla="*/ 13952 h 1052131"/>
                  <a:gd name="connsiteX788" fmla="*/ 390942 w 1085953"/>
                  <a:gd name="connsiteY788" fmla="*/ 11571 h 1052131"/>
                  <a:gd name="connsiteX789" fmla="*/ 390942 w 1085953"/>
                  <a:gd name="connsiteY789" fmla="*/ 11571 h 1052131"/>
                  <a:gd name="connsiteX790" fmla="*/ 387037 w 1085953"/>
                  <a:gd name="connsiteY790" fmla="*/ 12904 h 1052131"/>
                  <a:gd name="connsiteX791" fmla="*/ 387037 w 1085953"/>
                  <a:gd name="connsiteY791" fmla="*/ 12904 h 1052131"/>
                  <a:gd name="connsiteX792" fmla="*/ 381322 w 1085953"/>
                  <a:gd name="connsiteY792" fmla="*/ 15380 h 1052131"/>
                  <a:gd name="connsiteX793" fmla="*/ 381893 w 1085953"/>
                  <a:gd name="connsiteY793" fmla="*/ 15380 h 1052131"/>
                  <a:gd name="connsiteX794" fmla="*/ 381893 w 1085953"/>
                  <a:gd name="connsiteY794" fmla="*/ 15380 h 1052131"/>
                  <a:gd name="connsiteX795" fmla="*/ 377703 w 1085953"/>
                  <a:gd name="connsiteY795" fmla="*/ 17190 h 1052131"/>
                  <a:gd name="connsiteX796" fmla="*/ 379131 w 1085953"/>
                  <a:gd name="connsiteY796" fmla="*/ 17190 h 1052131"/>
                  <a:gd name="connsiteX797" fmla="*/ 378560 w 1085953"/>
                  <a:gd name="connsiteY797" fmla="*/ 17190 h 1052131"/>
                  <a:gd name="connsiteX798" fmla="*/ 378560 w 1085953"/>
                  <a:gd name="connsiteY798" fmla="*/ 17190 h 1052131"/>
                  <a:gd name="connsiteX799" fmla="*/ 371035 w 1085953"/>
                  <a:gd name="connsiteY799" fmla="*/ 21000 h 1052131"/>
                  <a:gd name="connsiteX800" fmla="*/ 375226 w 1085953"/>
                  <a:gd name="connsiteY800" fmla="*/ 18238 h 1052131"/>
                  <a:gd name="connsiteX801" fmla="*/ 353604 w 1085953"/>
                  <a:gd name="connsiteY801" fmla="*/ 71483 h 1052131"/>
                  <a:gd name="connsiteX802" fmla="*/ 353604 w 1085953"/>
                  <a:gd name="connsiteY802" fmla="*/ 71483 h 1052131"/>
                  <a:gd name="connsiteX803" fmla="*/ 353604 w 1085953"/>
                  <a:gd name="connsiteY803" fmla="*/ 70625 h 1052131"/>
                  <a:gd name="connsiteX804" fmla="*/ 353604 w 1085953"/>
                  <a:gd name="connsiteY804" fmla="*/ 70625 h 1052131"/>
                  <a:gd name="connsiteX805" fmla="*/ 353604 w 1085953"/>
                  <a:gd name="connsiteY805" fmla="*/ 70625 h 1052131"/>
                  <a:gd name="connsiteX806" fmla="*/ 353604 w 1085953"/>
                  <a:gd name="connsiteY806" fmla="*/ 70625 h 1052131"/>
                  <a:gd name="connsiteX807" fmla="*/ 353604 w 1085953"/>
                  <a:gd name="connsiteY807" fmla="*/ 70625 h 1052131"/>
                  <a:gd name="connsiteX808" fmla="*/ 352271 w 1085953"/>
                  <a:gd name="connsiteY808" fmla="*/ 72150 h 1052131"/>
                  <a:gd name="connsiteX809" fmla="*/ 352271 w 1085953"/>
                  <a:gd name="connsiteY809" fmla="*/ 72150 h 1052131"/>
                  <a:gd name="connsiteX810" fmla="*/ 352271 w 1085953"/>
                  <a:gd name="connsiteY810" fmla="*/ 72150 h 1052131"/>
                  <a:gd name="connsiteX811" fmla="*/ 353223 w 1085953"/>
                  <a:gd name="connsiteY811" fmla="*/ 70816 h 1052131"/>
                  <a:gd name="connsiteX812" fmla="*/ 318838 w 1085953"/>
                  <a:gd name="connsiteY812" fmla="*/ 106535 h 1052131"/>
                  <a:gd name="connsiteX813" fmla="*/ 318266 w 1085953"/>
                  <a:gd name="connsiteY813" fmla="*/ 109011 h 1052131"/>
                  <a:gd name="connsiteX814" fmla="*/ 319505 w 1085953"/>
                  <a:gd name="connsiteY814" fmla="*/ 110916 h 1052131"/>
                  <a:gd name="connsiteX815" fmla="*/ 319505 w 1085953"/>
                  <a:gd name="connsiteY815" fmla="*/ 110916 h 1052131"/>
                  <a:gd name="connsiteX816" fmla="*/ 320076 w 1085953"/>
                  <a:gd name="connsiteY816" fmla="*/ 110916 h 1052131"/>
                  <a:gd name="connsiteX817" fmla="*/ 321124 w 1085953"/>
                  <a:gd name="connsiteY817" fmla="*/ 110916 h 1052131"/>
                  <a:gd name="connsiteX818" fmla="*/ 323600 w 1085953"/>
                  <a:gd name="connsiteY818" fmla="*/ 109869 h 1052131"/>
                  <a:gd name="connsiteX819" fmla="*/ 324172 w 1085953"/>
                  <a:gd name="connsiteY819" fmla="*/ 109869 h 1052131"/>
                  <a:gd name="connsiteX820" fmla="*/ 324172 w 1085953"/>
                  <a:gd name="connsiteY820" fmla="*/ 109869 h 1052131"/>
                  <a:gd name="connsiteX821" fmla="*/ 325029 w 1085953"/>
                  <a:gd name="connsiteY821" fmla="*/ 107583 h 1052131"/>
                  <a:gd name="connsiteX822" fmla="*/ 325029 w 1085953"/>
                  <a:gd name="connsiteY822" fmla="*/ 106916 h 1052131"/>
                  <a:gd name="connsiteX823" fmla="*/ 325029 w 1085953"/>
                  <a:gd name="connsiteY823" fmla="*/ 104630 h 1052131"/>
                  <a:gd name="connsiteX824" fmla="*/ 325029 w 1085953"/>
                  <a:gd name="connsiteY824" fmla="*/ 103963 h 1052131"/>
                  <a:gd name="connsiteX825" fmla="*/ 325029 w 1085953"/>
                  <a:gd name="connsiteY825" fmla="*/ 101772 h 1052131"/>
                  <a:gd name="connsiteX826" fmla="*/ 323029 w 1085953"/>
                  <a:gd name="connsiteY826" fmla="*/ 102820 h 1052131"/>
                  <a:gd name="connsiteX827" fmla="*/ 320933 w 1085953"/>
                  <a:gd name="connsiteY827" fmla="*/ 105296 h 1052131"/>
                  <a:gd name="connsiteX828" fmla="*/ 318838 w 1085953"/>
                  <a:gd name="connsiteY828" fmla="*/ 106535 h 1052131"/>
                  <a:gd name="connsiteX829" fmla="*/ 356366 w 1085953"/>
                  <a:gd name="connsiteY829" fmla="*/ 23953 h 1052131"/>
                  <a:gd name="connsiteX830" fmla="*/ 351413 w 1085953"/>
                  <a:gd name="connsiteY830" fmla="*/ 26334 h 1052131"/>
                  <a:gd name="connsiteX831" fmla="*/ 355319 w 1085953"/>
                  <a:gd name="connsiteY831" fmla="*/ 24715 h 1052131"/>
                  <a:gd name="connsiteX832" fmla="*/ 356557 w 1085953"/>
                  <a:gd name="connsiteY832" fmla="*/ 24048 h 1052131"/>
                  <a:gd name="connsiteX833" fmla="*/ 356557 w 1085953"/>
                  <a:gd name="connsiteY833" fmla="*/ 24048 h 1052131"/>
                  <a:gd name="connsiteX834" fmla="*/ 349413 w 1085953"/>
                  <a:gd name="connsiteY834" fmla="*/ 27573 h 1052131"/>
                  <a:gd name="connsiteX835" fmla="*/ 349413 w 1085953"/>
                  <a:gd name="connsiteY835" fmla="*/ 27573 h 1052131"/>
                  <a:gd name="connsiteX836" fmla="*/ 345889 w 1085953"/>
                  <a:gd name="connsiteY836" fmla="*/ 29096 h 1052131"/>
                  <a:gd name="connsiteX837" fmla="*/ 348937 w 1085953"/>
                  <a:gd name="connsiteY837" fmla="*/ 28049 h 1052131"/>
                  <a:gd name="connsiteX838" fmla="*/ 339888 w 1085953"/>
                  <a:gd name="connsiteY838" fmla="*/ 31954 h 1052131"/>
                  <a:gd name="connsiteX839" fmla="*/ 339888 w 1085953"/>
                  <a:gd name="connsiteY839" fmla="*/ 31954 h 1052131"/>
                  <a:gd name="connsiteX840" fmla="*/ 343603 w 1085953"/>
                  <a:gd name="connsiteY840" fmla="*/ 30525 h 1052131"/>
                  <a:gd name="connsiteX841" fmla="*/ 345698 w 1085953"/>
                  <a:gd name="connsiteY841" fmla="*/ 29382 h 1052131"/>
                  <a:gd name="connsiteX842" fmla="*/ 341412 w 1085953"/>
                  <a:gd name="connsiteY842" fmla="*/ 31002 h 1052131"/>
                  <a:gd name="connsiteX843" fmla="*/ 340174 w 1085953"/>
                  <a:gd name="connsiteY843" fmla="*/ 31668 h 1052131"/>
                  <a:gd name="connsiteX844" fmla="*/ 352556 w 1085953"/>
                  <a:gd name="connsiteY844" fmla="*/ 32430 h 1052131"/>
                  <a:gd name="connsiteX845" fmla="*/ 352556 w 1085953"/>
                  <a:gd name="connsiteY845" fmla="*/ 32430 h 1052131"/>
                  <a:gd name="connsiteX846" fmla="*/ 351509 w 1085953"/>
                  <a:gd name="connsiteY846" fmla="*/ 32907 h 1052131"/>
                  <a:gd name="connsiteX847" fmla="*/ 349889 w 1085953"/>
                  <a:gd name="connsiteY847" fmla="*/ 33859 h 1052131"/>
                  <a:gd name="connsiteX848" fmla="*/ 349032 w 1085953"/>
                  <a:gd name="connsiteY848" fmla="*/ 33859 h 1052131"/>
                  <a:gd name="connsiteX849" fmla="*/ 349032 w 1085953"/>
                  <a:gd name="connsiteY849" fmla="*/ 33859 h 1052131"/>
                  <a:gd name="connsiteX850" fmla="*/ 349032 w 1085953"/>
                  <a:gd name="connsiteY850" fmla="*/ 33859 h 1052131"/>
                  <a:gd name="connsiteX851" fmla="*/ 352175 w 1085953"/>
                  <a:gd name="connsiteY851" fmla="*/ 32430 h 1052131"/>
                  <a:gd name="connsiteX852" fmla="*/ 352938 w 1085953"/>
                  <a:gd name="connsiteY852" fmla="*/ 31668 h 1052131"/>
                  <a:gd name="connsiteX853" fmla="*/ 344365 w 1085953"/>
                  <a:gd name="connsiteY853" fmla="*/ 80722 h 1052131"/>
                  <a:gd name="connsiteX854" fmla="*/ 343889 w 1085953"/>
                  <a:gd name="connsiteY854" fmla="*/ 80722 h 1052131"/>
                  <a:gd name="connsiteX855" fmla="*/ 343413 w 1085953"/>
                  <a:gd name="connsiteY855" fmla="*/ 80722 h 1052131"/>
                  <a:gd name="connsiteX856" fmla="*/ 343413 w 1085953"/>
                  <a:gd name="connsiteY856" fmla="*/ 80722 h 1052131"/>
                  <a:gd name="connsiteX857" fmla="*/ 342841 w 1085953"/>
                  <a:gd name="connsiteY857" fmla="*/ 82055 h 1052131"/>
                  <a:gd name="connsiteX858" fmla="*/ 343413 w 1085953"/>
                  <a:gd name="connsiteY858" fmla="*/ 82055 h 1052131"/>
                  <a:gd name="connsiteX859" fmla="*/ 343889 w 1085953"/>
                  <a:gd name="connsiteY859" fmla="*/ 82055 h 1052131"/>
                  <a:gd name="connsiteX860" fmla="*/ 345698 w 1085953"/>
                  <a:gd name="connsiteY860" fmla="*/ 80722 h 1052131"/>
                  <a:gd name="connsiteX861" fmla="*/ 345698 w 1085953"/>
                  <a:gd name="connsiteY861" fmla="*/ 80722 h 1052131"/>
                  <a:gd name="connsiteX862" fmla="*/ 344270 w 1085953"/>
                  <a:gd name="connsiteY862" fmla="*/ 80722 h 1052131"/>
                  <a:gd name="connsiteX863" fmla="*/ 347604 w 1085953"/>
                  <a:gd name="connsiteY863" fmla="*/ 77103 h 1052131"/>
                  <a:gd name="connsiteX864" fmla="*/ 347604 w 1085953"/>
                  <a:gd name="connsiteY864" fmla="*/ 77103 h 1052131"/>
                  <a:gd name="connsiteX865" fmla="*/ 347604 w 1085953"/>
                  <a:gd name="connsiteY865" fmla="*/ 77103 h 1052131"/>
                  <a:gd name="connsiteX866" fmla="*/ 345889 w 1085953"/>
                  <a:gd name="connsiteY866" fmla="*/ 78246 h 1052131"/>
                  <a:gd name="connsiteX867" fmla="*/ 345413 w 1085953"/>
                  <a:gd name="connsiteY867" fmla="*/ 78912 h 1052131"/>
                  <a:gd name="connsiteX868" fmla="*/ 345413 w 1085953"/>
                  <a:gd name="connsiteY868" fmla="*/ 78912 h 1052131"/>
                  <a:gd name="connsiteX869" fmla="*/ 347222 w 1085953"/>
                  <a:gd name="connsiteY869" fmla="*/ 77579 h 1052131"/>
                  <a:gd name="connsiteX870" fmla="*/ 347222 w 1085953"/>
                  <a:gd name="connsiteY870" fmla="*/ 77579 h 1052131"/>
                  <a:gd name="connsiteX871" fmla="*/ 347889 w 1085953"/>
                  <a:gd name="connsiteY871" fmla="*/ 76817 h 1052131"/>
                  <a:gd name="connsiteX872" fmla="*/ 332363 w 1085953"/>
                  <a:gd name="connsiteY872" fmla="*/ 36526 h 1052131"/>
                  <a:gd name="connsiteX873" fmla="*/ 331697 w 1085953"/>
                  <a:gd name="connsiteY873" fmla="*/ 36526 h 1052131"/>
                  <a:gd name="connsiteX874" fmla="*/ 331697 w 1085953"/>
                  <a:gd name="connsiteY874" fmla="*/ 36526 h 1052131"/>
                  <a:gd name="connsiteX875" fmla="*/ 331697 w 1085953"/>
                  <a:gd name="connsiteY875" fmla="*/ 36526 h 1052131"/>
                  <a:gd name="connsiteX876" fmla="*/ 331125 w 1085953"/>
                  <a:gd name="connsiteY876" fmla="*/ 36526 h 1052131"/>
                  <a:gd name="connsiteX877" fmla="*/ 329506 w 1085953"/>
                  <a:gd name="connsiteY877" fmla="*/ 38050 h 1052131"/>
                  <a:gd name="connsiteX878" fmla="*/ 329506 w 1085953"/>
                  <a:gd name="connsiteY878" fmla="*/ 38050 h 1052131"/>
                  <a:gd name="connsiteX879" fmla="*/ 329506 w 1085953"/>
                  <a:gd name="connsiteY879" fmla="*/ 38050 h 1052131"/>
                  <a:gd name="connsiteX880" fmla="*/ 343413 w 1085953"/>
                  <a:gd name="connsiteY880" fmla="*/ 31763 h 1052131"/>
                  <a:gd name="connsiteX881" fmla="*/ 343413 w 1085953"/>
                  <a:gd name="connsiteY881" fmla="*/ 31763 h 1052131"/>
                  <a:gd name="connsiteX882" fmla="*/ 351795 w 1085953"/>
                  <a:gd name="connsiteY882" fmla="*/ 27096 h 1052131"/>
                  <a:gd name="connsiteX883" fmla="*/ 351795 w 1085953"/>
                  <a:gd name="connsiteY883" fmla="*/ 27096 h 1052131"/>
                  <a:gd name="connsiteX884" fmla="*/ 351318 w 1085953"/>
                  <a:gd name="connsiteY884" fmla="*/ 27096 h 1052131"/>
                  <a:gd name="connsiteX885" fmla="*/ 346746 w 1085953"/>
                  <a:gd name="connsiteY885" fmla="*/ 28906 h 1052131"/>
                  <a:gd name="connsiteX886" fmla="*/ 348842 w 1085953"/>
                  <a:gd name="connsiteY886" fmla="*/ 27668 h 1052131"/>
                  <a:gd name="connsiteX887" fmla="*/ 333602 w 1085953"/>
                  <a:gd name="connsiteY887" fmla="*/ 35097 h 1052131"/>
                  <a:gd name="connsiteX888" fmla="*/ 387799 w 1085953"/>
                  <a:gd name="connsiteY888" fmla="*/ 15285 h 1052131"/>
                  <a:gd name="connsiteX889" fmla="*/ 386084 w 1085953"/>
                  <a:gd name="connsiteY889" fmla="*/ 16428 h 1052131"/>
                  <a:gd name="connsiteX890" fmla="*/ 388275 w 1085953"/>
                  <a:gd name="connsiteY890" fmla="*/ 15857 h 1052131"/>
                  <a:gd name="connsiteX891" fmla="*/ 388275 w 1085953"/>
                  <a:gd name="connsiteY891" fmla="*/ 15857 h 1052131"/>
                  <a:gd name="connsiteX892" fmla="*/ 385704 w 1085953"/>
                  <a:gd name="connsiteY892" fmla="*/ 17286 h 1052131"/>
                  <a:gd name="connsiteX893" fmla="*/ 385704 w 1085953"/>
                  <a:gd name="connsiteY893" fmla="*/ 17286 h 1052131"/>
                  <a:gd name="connsiteX894" fmla="*/ 384751 w 1085953"/>
                  <a:gd name="connsiteY894" fmla="*/ 17286 h 1052131"/>
                  <a:gd name="connsiteX895" fmla="*/ 371797 w 1085953"/>
                  <a:gd name="connsiteY895" fmla="*/ 23763 h 1052131"/>
                  <a:gd name="connsiteX896" fmla="*/ 374083 w 1085953"/>
                  <a:gd name="connsiteY896" fmla="*/ 23763 h 1052131"/>
                  <a:gd name="connsiteX897" fmla="*/ 372749 w 1085953"/>
                  <a:gd name="connsiteY897" fmla="*/ 24525 h 1052131"/>
                  <a:gd name="connsiteX898" fmla="*/ 375607 w 1085953"/>
                  <a:gd name="connsiteY898" fmla="*/ 23286 h 1052131"/>
                  <a:gd name="connsiteX899" fmla="*/ 378846 w 1085953"/>
                  <a:gd name="connsiteY899" fmla="*/ 21953 h 1052131"/>
                  <a:gd name="connsiteX900" fmla="*/ 378846 w 1085953"/>
                  <a:gd name="connsiteY900" fmla="*/ 21953 h 1052131"/>
                  <a:gd name="connsiteX901" fmla="*/ 378846 w 1085953"/>
                  <a:gd name="connsiteY901" fmla="*/ 21953 h 1052131"/>
                  <a:gd name="connsiteX902" fmla="*/ 377607 w 1085953"/>
                  <a:gd name="connsiteY902" fmla="*/ 22620 h 1052131"/>
                  <a:gd name="connsiteX903" fmla="*/ 381608 w 1085953"/>
                  <a:gd name="connsiteY903" fmla="*/ 21286 h 1052131"/>
                  <a:gd name="connsiteX904" fmla="*/ 385989 w 1085953"/>
                  <a:gd name="connsiteY904" fmla="*/ 19953 h 1052131"/>
                  <a:gd name="connsiteX905" fmla="*/ 385989 w 1085953"/>
                  <a:gd name="connsiteY905" fmla="*/ 19953 h 1052131"/>
                  <a:gd name="connsiteX906" fmla="*/ 386656 w 1085953"/>
                  <a:gd name="connsiteY906" fmla="*/ 19953 h 1052131"/>
                  <a:gd name="connsiteX907" fmla="*/ 386656 w 1085953"/>
                  <a:gd name="connsiteY907" fmla="*/ 19953 h 1052131"/>
                  <a:gd name="connsiteX908" fmla="*/ 386656 w 1085953"/>
                  <a:gd name="connsiteY908" fmla="*/ 19953 h 1052131"/>
                  <a:gd name="connsiteX909" fmla="*/ 396753 w 1085953"/>
                  <a:gd name="connsiteY909" fmla="*/ 15000 h 1052131"/>
                  <a:gd name="connsiteX910" fmla="*/ 394752 w 1085953"/>
                  <a:gd name="connsiteY910" fmla="*/ 15666 h 1052131"/>
                  <a:gd name="connsiteX911" fmla="*/ 399324 w 1085953"/>
                  <a:gd name="connsiteY911" fmla="*/ 13380 h 1052131"/>
                  <a:gd name="connsiteX912" fmla="*/ 399324 w 1085953"/>
                  <a:gd name="connsiteY912" fmla="*/ 13380 h 1052131"/>
                  <a:gd name="connsiteX913" fmla="*/ 408849 w 1085953"/>
                  <a:gd name="connsiteY913" fmla="*/ 9094 h 1052131"/>
                  <a:gd name="connsiteX914" fmla="*/ 410278 w 1085953"/>
                  <a:gd name="connsiteY914" fmla="*/ 8237 h 1052131"/>
                  <a:gd name="connsiteX915" fmla="*/ 408182 w 1085953"/>
                  <a:gd name="connsiteY915" fmla="*/ 8904 h 1052131"/>
                  <a:gd name="connsiteX916" fmla="*/ 408182 w 1085953"/>
                  <a:gd name="connsiteY916" fmla="*/ 8904 h 1052131"/>
                  <a:gd name="connsiteX917" fmla="*/ 400467 w 1085953"/>
                  <a:gd name="connsiteY917" fmla="*/ 11666 h 1052131"/>
                  <a:gd name="connsiteX918" fmla="*/ 399229 w 1085953"/>
                  <a:gd name="connsiteY918" fmla="*/ 12142 h 1052131"/>
                  <a:gd name="connsiteX919" fmla="*/ 399229 w 1085953"/>
                  <a:gd name="connsiteY919" fmla="*/ 12142 h 1052131"/>
                  <a:gd name="connsiteX920" fmla="*/ 399229 w 1085953"/>
                  <a:gd name="connsiteY920" fmla="*/ 12142 h 1052131"/>
                  <a:gd name="connsiteX921" fmla="*/ 395609 w 1085953"/>
                  <a:gd name="connsiteY921" fmla="*/ 13285 h 1052131"/>
                  <a:gd name="connsiteX922" fmla="*/ 396181 w 1085953"/>
                  <a:gd name="connsiteY922" fmla="*/ 13285 h 1052131"/>
                  <a:gd name="connsiteX923" fmla="*/ 392371 w 1085953"/>
                  <a:gd name="connsiteY923" fmla="*/ 14714 h 1052131"/>
                  <a:gd name="connsiteX924" fmla="*/ 392371 w 1085953"/>
                  <a:gd name="connsiteY924" fmla="*/ 14714 h 1052131"/>
                  <a:gd name="connsiteX925" fmla="*/ 390466 w 1085953"/>
                  <a:gd name="connsiteY925" fmla="*/ 15571 h 1052131"/>
                  <a:gd name="connsiteX926" fmla="*/ 387418 w 1085953"/>
                  <a:gd name="connsiteY926" fmla="*/ 16714 h 1052131"/>
                  <a:gd name="connsiteX927" fmla="*/ 393514 w 1085953"/>
                  <a:gd name="connsiteY927" fmla="*/ 11666 h 1052131"/>
                  <a:gd name="connsiteX928" fmla="*/ 393990 w 1085953"/>
                  <a:gd name="connsiteY928" fmla="*/ 11666 h 1052131"/>
                  <a:gd name="connsiteX929" fmla="*/ 399610 w 1085953"/>
                  <a:gd name="connsiteY929" fmla="*/ 9380 h 1052131"/>
                  <a:gd name="connsiteX930" fmla="*/ 398467 w 1085953"/>
                  <a:gd name="connsiteY930" fmla="*/ 9380 h 1052131"/>
                  <a:gd name="connsiteX931" fmla="*/ 393895 w 1085953"/>
                  <a:gd name="connsiteY931" fmla="*/ 10999 h 1052131"/>
                  <a:gd name="connsiteX932" fmla="*/ 393895 w 1085953"/>
                  <a:gd name="connsiteY932" fmla="*/ 10999 h 1052131"/>
                  <a:gd name="connsiteX933" fmla="*/ 394657 w 1085953"/>
                  <a:gd name="connsiteY933" fmla="*/ 10999 h 1052131"/>
                  <a:gd name="connsiteX934" fmla="*/ 393514 w 1085953"/>
                  <a:gd name="connsiteY934" fmla="*/ 10999 h 1052131"/>
                  <a:gd name="connsiteX935" fmla="*/ 626400 w 1085953"/>
                  <a:gd name="connsiteY935" fmla="*/ 23191 h 1052131"/>
                  <a:gd name="connsiteX936" fmla="*/ 627067 w 1085953"/>
                  <a:gd name="connsiteY936" fmla="*/ 23191 h 1052131"/>
                  <a:gd name="connsiteX937" fmla="*/ 627067 w 1085953"/>
                  <a:gd name="connsiteY937" fmla="*/ 23191 h 1052131"/>
                  <a:gd name="connsiteX938" fmla="*/ 627543 w 1085953"/>
                  <a:gd name="connsiteY938" fmla="*/ 24334 h 1052131"/>
                  <a:gd name="connsiteX939" fmla="*/ 627543 w 1085953"/>
                  <a:gd name="connsiteY939" fmla="*/ 24334 h 1052131"/>
                  <a:gd name="connsiteX940" fmla="*/ 628115 w 1085953"/>
                  <a:gd name="connsiteY940" fmla="*/ 24334 h 1052131"/>
                  <a:gd name="connsiteX941" fmla="*/ 628115 w 1085953"/>
                  <a:gd name="connsiteY941" fmla="*/ 24334 h 1052131"/>
                  <a:gd name="connsiteX942" fmla="*/ 628686 w 1085953"/>
                  <a:gd name="connsiteY942" fmla="*/ 24334 h 1052131"/>
                  <a:gd name="connsiteX943" fmla="*/ 630020 w 1085953"/>
                  <a:gd name="connsiteY943" fmla="*/ 24334 h 1052131"/>
                  <a:gd name="connsiteX944" fmla="*/ 630020 w 1085953"/>
                  <a:gd name="connsiteY944" fmla="*/ 22238 h 1052131"/>
                  <a:gd name="connsiteX945" fmla="*/ 629067 w 1085953"/>
                  <a:gd name="connsiteY945" fmla="*/ 21572 h 1052131"/>
                  <a:gd name="connsiteX946" fmla="*/ 629067 w 1085953"/>
                  <a:gd name="connsiteY946" fmla="*/ 21572 h 1052131"/>
                  <a:gd name="connsiteX947" fmla="*/ 627924 w 1085953"/>
                  <a:gd name="connsiteY947" fmla="*/ 22238 h 1052131"/>
                  <a:gd name="connsiteX948" fmla="*/ 627924 w 1085953"/>
                  <a:gd name="connsiteY948" fmla="*/ 22238 h 1052131"/>
                  <a:gd name="connsiteX949" fmla="*/ 626686 w 1085953"/>
                  <a:gd name="connsiteY949" fmla="*/ 22905 h 1052131"/>
                  <a:gd name="connsiteX950" fmla="*/ 670787 w 1085953"/>
                  <a:gd name="connsiteY950" fmla="*/ 10713 h 1052131"/>
                  <a:gd name="connsiteX951" fmla="*/ 667263 w 1085953"/>
                  <a:gd name="connsiteY951" fmla="*/ 9951 h 1052131"/>
                  <a:gd name="connsiteX952" fmla="*/ 667263 w 1085953"/>
                  <a:gd name="connsiteY952" fmla="*/ 9951 h 1052131"/>
                  <a:gd name="connsiteX953" fmla="*/ 668691 w 1085953"/>
                  <a:gd name="connsiteY953" fmla="*/ 10808 h 1052131"/>
                  <a:gd name="connsiteX954" fmla="*/ 667834 w 1085953"/>
                  <a:gd name="connsiteY954" fmla="*/ 10808 h 1052131"/>
                  <a:gd name="connsiteX955" fmla="*/ 670882 w 1085953"/>
                  <a:gd name="connsiteY955" fmla="*/ 12618 h 1052131"/>
                  <a:gd name="connsiteX956" fmla="*/ 672501 w 1085953"/>
                  <a:gd name="connsiteY956" fmla="*/ 13190 h 1052131"/>
                  <a:gd name="connsiteX957" fmla="*/ 671644 w 1085953"/>
                  <a:gd name="connsiteY957" fmla="*/ 13190 h 1052131"/>
                  <a:gd name="connsiteX958" fmla="*/ 674406 w 1085953"/>
                  <a:gd name="connsiteY958" fmla="*/ 15000 h 1052131"/>
                  <a:gd name="connsiteX959" fmla="*/ 674406 w 1085953"/>
                  <a:gd name="connsiteY959" fmla="*/ 15000 h 1052131"/>
                  <a:gd name="connsiteX960" fmla="*/ 673835 w 1085953"/>
                  <a:gd name="connsiteY960" fmla="*/ 15000 h 1052131"/>
                  <a:gd name="connsiteX961" fmla="*/ 673835 w 1085953"/>
                  <a:gd name="connsiteY961" fmla="*/ 15000 h 1052131"/>
                  <a:gd name="connsiteX962" fmla="*/ 676883 w 1085953"/>
                  <a:gd name="connsiteY962" fmla="*/ 15571 h 1052131"/>
                  <a:gd name="connsiteX963" fmla="*/ 676883 w 1085953"/>
                  <a:gd name="connsiteY963" fmla="*/ 15571 h 1052131"/>
                  <a:gd name="connsiteX964" fmla="*/ 673358 w 1085953"/>
                  <a:gd name="connsiteY964" fmla="*/ 13857 h 1052131"/>
                  <a:gd name="connsiteX965" fmla="*/ 679740 w 1085953"/>
                  <a:gd name="connsiteY965" fmla="*/ 15762 h 1052131"/>
                  <a:gd name="connsiteX966" fmla="*/ 679740 w 1085953"/>
                  <a:gd name="connsiteY966" fmla="*/ 15762 h 1052131"/>
                  <a:gd name="connsiteX967" fmla="*/ 679740 w 1085953"/>
                  <a:gd name="connsiteY967" fmla="*/ 15762 h 1052131"/>
                  <a:gd name="connsiteX968" fmla="*/ 681264 w 1085953"/>
                  <a:gd name="connsiteY968" fmla="*/ 15762 h 1052131"/>
                  <a:gd name="connsiteX969" fmla="*/ 680597 w 1085953"/>
                  <a:gd name="connsiteY969" fmla="*/ 15190 h 1052131"/>
                  <a:gd name="connsiteX970" fmla="*/ 680597 w 1085953"/>
                  <a:gd name="connsiteY970" fmla="*/ 15190 h 1052131"/>
                  <a:gd name="connsiteX971" fmla="*/ 680121 w 1085953"/>
                  <a:gd name="connsiteY971" fmla="*/ 15190 h 1052131"/>
                  <a:gd name="connsiteX972" fmla="*/ 675549 w 1085953"/>
                  <a:gd name="connsiteY972" fmla="*/ 13380 h 1052131"/>
                  <a:gd name="connsiteX973" fmla="*/ 673930 w 1085953"/>
                  <a:gd name="connsiteY973" fmla="*/ 12428 h 1052131"/>
                  <a:gd name="connsiteX974" fmla="*/ 666405 w 1085953"/>
                  <a:gd name="connsiteY974" fmla="*/ 9570 h 1052131"/>
                  <a:gd name="connsiteX975" fmla="*/ 665548 w 1085953"/>
                  <a:gd name="connsiteY975" fmla="*/ 9570 h 1052131"/>
                  <a:gd name="connsiteX976" fmla="*/ 665548 w 1085953"/>
                  <a:gd name="connsiteY976" fmla="*/ 9570 h 1052131"/>
                  <a:gd name="connsiteX977" fmla="*/ 668882 w 1085953"/>
                  <a:gd name="connsiteY977" fmla="*/ 11190 h 1052131"/>
                  <a:gd name="connsiteX978" fmla="*/ 671072 w 1085953"/>
                  <a:gd name="connsiteY978" fmla="*/ 10428 h 1052131"/>
                  <a:gd name="connsiteX979" fmla="*/ 675454 w 1085953"/>
                  <a:gd name="connsiteY979" fmla="*/ 73483 h 1052131"/>
                  <a:gd name="connsiteX980" fmla="*/ 678692 w 1085953"/>
                  <a:gd name="connsiteY980" fmla="*/ 73483 h 1052131"/>
                  <a:gd name="connsiteX981" fmla="*/ 678692 w 1085953"/>
                  <a:gd name="connsiteY981" fmla="*/ 73959 h 1052131"/>
                  <a:gd name="connsiteX982" fmla="*/ 677549 w 1085953"/>
                  <a:gd name="connsiteY982" fmla="*/ 75769 h 1052131"/>
                  <a:gd name="connsiteX983" fmla="*/ 679835 w 1085953"/>
                  <a:gd name="connsiteY983" fmla="*/ 75769 h 1052131"/>
                  <a:gd name="connsiteX984" fmla="*/ 682883 w 1085953"/>
                  <a:gd name="connsiteY984" fmla="*/ 75007 h 1052131"/>
                  <a:gd name="connsiteX985" fmla="*/ 682883 w 1085953"/>
                  <a:gd name="connsiteY985" fmla="*/ 75007 h 1052131"/>
                  <a:gd name="connsiteX986" fmla="*/ 685074 w 1085953"/>
                  <a:gd name="connsiteY986" fmla="*/ 73674 h 1052131"/>
                  <a:gd name="connsiteX987" fmla="*/ 682312 w 1085953"/>
                  <a:gd name="connsiteY987" fmla="*/ 69578 h 1052131"/>
                  <a:gd name="connsiteX988" fmla="*/ 682312 w 1085953"/>
                  <a:gd name="connsiteY988" fmla="*/ 67006 h 1052131"/>
                  <a:gd name="connsiteX989" fmla="*/ 681455 w 1085953"/>
                  <a:gd name="connsiteY989" fmla="*/ 67006 h 1052131"/>
                  <a:gd name="connsiteX990" fmla="*/ 679455 w 1085953"/>
                  <a:gd name="connsiteY990" fmla="*/ 65101 h 1052131"/>
                  <a:gd name="connsiteX991" fmla="*/ 682026 w 1085953"/>
                  <a:gd name="connsiteY991" fmla="*/ 64339 h 1052131"/>
                  <a:gd name="connsiteX992" fmla="*/ 682598 w 1085953"/>
                  <a:gd name="connsiteY992" fmla="*/ 64339 h 1052131"/>
                  <a:gd name="connsiteX993" fmla="*/ 682026 w 1085953"/>
                  <a:gd name="connsiteY993" fmla="*/ 62434 h 1052131"/>
                  <a:gd name="connsiteX994" fmla="*/ 682026 w 1085953"/>
                  <a:gd name="connsiteY994" fmla="*/ 60815 h 1052131"/>
                  <a:gd name="connsiteX995" fmla="*/ 680216 w 1085953"/>
                  <a:gd name="connsiteY995" fmla="*/ 58719 h 1052131"/>
                  <a:gd name="connsiteX996" fmla="*/ 681359 w 1085953"/>
                  <a:gd name="connsiteY996" fmla="*/ 57195 h 1052131"/>
                  <a:gd name="connsiteX997" fmla="*/ 682026 w 1085953"/>
                  <a:gd name="connsiteY997" fmla="*/ 56719 h 1052131"/>
                  <a:gd name="connsiteX998" fmla="*/ 682026 w 1085953"/>
                  <a:gd name="connsiteY998" fmla="*/ 53385 h 1052131"/>
                  <a:gd name="connsiteX999" fmla="*/ 682026 w 1085953"/>
                  <a:gd name="connsiteY999" fmla="*/ 53385 h 1052131"/>
                  <a:gd name="connsiteX1000" fmla="*/ 684217 w 1085953"/>
                  <a:gd name="connsiteY1000" fmla="*/ 50337 h 1052131"/>
                  <a:gd name="connsiteX1001" fmla="*/ 682407 w 1085953"/>
                  <a:gd name="connsiteY1001" fmla="*/ 45670 h 1052131"/>
                  <a:gd name="connsiteX1002" fmla="*/ 678692 w 1085953"/>
                  <a:gd name="connsiteY1002" fmla="*/ 44051 h 1052131"/>
                  <a:gd name="connsiteX1003" fmla="*/ 677740 w 1085953"/>
                  <a:gd name="connsiteY1003" fmla="*/ 46908 h 1052131"/>
                  <a:gd name="connsiteX1004" fmla="*/ 677740 w 1085953"/>
                  <a:gd name="connsiteY1004" fmla="*/ 47670 h 1052131"/>
                  <a:gd name="connsiteX1005" fmla="*/ 676597 w 1085953"/>
                  <a:gd name="connsiteY1005" fmla="*/ 47670 h 1052131"/>
                  <a:gd name="connsiteX1006" fmla="*/ 676597 w 1085953"/>
                  <a:gd name="connsiteY1006" fmla="*/ 47670 h 1052131"/>
                  <a:gd name="connsiteX1007" fmla="*/ 677168 w 1085953"/>
                  <a:gd name="connsiteY1007" fmla="*/ 49099 h 1052131"/>
                  <a:gd name="connsiteX1008" fmla="*/ 675645 w 1085953"/>
                  <a:gd name="connsiteY1008" fmla="*/ 50528 h 1052131"/>
                  <a:gd name="connsiteX1009" fmla="*/ 673454 w 1085953"/>
                  <a:gd name="connsiteY1009" fmla="*/ 50528 h 1052131"/>
                  <a:gd name="connsiteX1010" fmla="*/ 672311 w 1085953"/>
                  <a:gd name="connsiteY1010" fmla="*/ 51099 h 1052131"/>
                  <a:gd name="connsiteX1011" fmla="*/ 672311 w 1085953"/>
                  <a:gd name="connsiteY1011" fmla="*/ 52242 h 1052131"/>
                  <a:gd name="connsiteX1012" fmla="*/ 670310 w 1085953"/>
                  <a:gd name="connsiteY1012" fmla="*/ 52242 h 1052131"/>
                  <a:gd name="connsiteX1013" fmla="*/ 671644 w 1085953"/>
                  <a:gd name="connsiteY1013" fmla="*/ 55576 h 1052131"/>
                  <a:gd name="connsiteX1014" fmla="*/ 669930 w 1085953"/>
                  <a:gd name="connsiteY1014" fmla="*/ 57195 h 1052131"/>
                  <a:gd name="connsiteX1015" fmla="*/ 670787 w 1085953"/>
                  <a:gd name="connsiteY1015" fmla="*/ 59291 h 1052131"/>
                  <a:gd name="connsiteX1016" fmla="*/ 670120 w 1085953"/>
                  <a:gd name="connsiteY1016" fmla="*/ 60910 h 1052131"/>
                  <a:gd name="connsiteX1017" fmla="*/ 671454 w 1085953"/>
                  <a:gd name="connsiteY1017" fmla="*/ 63958 h 1052131"/>
                  <a:gd name="connsiteX1018" fmla="*/ 673263 w 1085953"/>
                  <a:gd name="connsiteY1018" fmla="*/ 65577 h 1052131"/>
                  <a:gd name="connsiteX1019" fmla="*/ 673263 w 1085953"/>
                  <a:gd name="connsiteY1019" fmla="*/ 66625 h 1052131"/>
                  <a:gd name="connsiteX1020" fmla="*/ 673263 w 1085953"/>
                  <a:gd name="connsiteY1020" fmla="*/ 67768 h 1052131"/>
                  <a:gd name="connsiteX1021" fmla="*/ 674025 w 1085953"/>
                  <a:gd name="connsiteY1021" fmla="*/ 69006 h 1052131"/>
                  <a:gd name="connsiteX1022" fmla="*/ 674025 w 1085953"/>
                  <a:gd name="connsiteY1022" fmla="*/ 69006 h 1052131"/>
                  <a:gd name="connsiteX1023" fmla="*/ 673168 w 1085953"/>
                  <a:gd name="connsiteY1023" fmla="*/ 69006 h 1052131"/>
                  <a:gd name="connsiteX1024" fmla="*/ 674216 w 1085953"/>
                  <a:gd name="connsiteY1024" fmla="*/ 70340 h 1052131"/>
                  <a:gd name="connsiteX1025" fmla="*/ 674216 w 1085953"/>
                  <a:gd name="connsiteY1025" fmla="*/ 72150 h 1052131"/>
                  <a:gd name="connsiteX1026" fmla="*/ 662024 w 1085953"/>
                  <a:gd name="connsiteY1026" fmla="*/ 9284 h 1052131"/>
                  <a:gd name="connsiteX1027" fmla="*/ 660881 w 1085953"/>
                  <a:gd name="connsiteY1027" fmla="*/ 9284 h 1052131"/>
                  <a:gd name="connsiteX1028" fmla="*/ 661452 w 1085953"/>
                  <a:gd name="connsiteY1028" fmla="*/ 9856 h 1052131"/>
                  <a:gd name="connsiteX1029" fmla="*/ 663262 w 1085953"/>
                  <a:gd name="connsiteY1029" fmla="*/ 10618 h 1052131"/>
                  <a:gd name="connsiteX1030" fmla="*/ 664310 w 1085953"/>
                  <a:gd name="connsiteY1030" fmla="*/ 10618 h 1052131"/>
                  <a:gd name="connsiteX1031" fmla="*/ 663833 w 1085953"/>
                  <a:gd name="connsiteY1031" fmla="*/ 10618 h 1052131"/>
                  <a:gd name="connsiteX1032" fmla="*/ 666500 w 1085953"/>
                  <a:gd name="connsiteY1032" fmla="*/ 11380 h 1052131"/>
                  <a:gd name="connsiteX1033" fmla="*/ 667739 w 1085953"/>
                  <a:gd name="connsiteY1033" fmla="*/ 11380 h 1052131"/>
                  <a:gd name="connsiteX1034" fmla="*/ 667739 w 1085953"/>
                  <a:gd name="connsiteY1034" fmla="*/ 11380 h 1052131"/>
                  <a:gd name="connsiteX1035" fmla="*/ 666881 w 1085953"/>
                  <a:gd name="connsiteY1035" fmla="*/ 10523 h 1052131"/>
                  <a:gd name="connsiteX1036" fmla="*/ 666881 w 1085953"/>
                  <a:gd name="connsiteY1036" fmla="*/ 9666 h 1052131"/>
                  <a:gd name="connsiteX1037" fmla="*/ 665167 w 1085953"/>
                  <a:gd name="connsiteY1037" fmla="*/ 8618 h 1052131"/>
                  <a:gd name="connsiteX1038" fmla="*/ 662881 w 1085953"/>
                  <a:gd name="connsiteY1038" fmla="*/ 7284 h 1052131"/>
                  <a:gd name="connsiteX1039" fmla="*/ 662881 w 1085953"/>
                  <a:gd name="connsiteY1039" fmla="*/ 7284 h 1052131"/>
                  <a:gd name="connsiteX1040" fmla="*/ 662881 w 1085953"/>
                  <a:gd name="connsiteY1040" fmla="*/ 7284 h 1052131"/>
                  <a:gd name="connsiteX1041" fmla="*/ 662881 w 1085953"/>
                  <a:gd name="connsiteY1041" fmla="*/ 7284 h 1052131"/>
                  <a:gd name="connsiteX1042" fmla="*/ 660976 w 1085953"/>
                  <a:gd name="connsiteY1042" fmla="*/ 7284 h 1052131"/>
                  <a:gd name="connsiteX1043" fmla="*/ 658785 w 1085953"/>
                  <a:gd name="connsiteY1043" fmla="*/ 7284 h 1052131"/>
                  <a:gd name="connsiteX1044" fmla="*/ 658785 w 1085953"/>
                  <a:gd name="connsiteY1044" fmla="*/ 7284 h 1052131"/>
                  <a:gd name="connsiteX1045" fmla="*/ 661833 w 1085953"/>
                  <a:gd name="connsiteY1045" fmla="*/ 8618 h 1052131"/>
                  <a:gd name="connsiteX1046" fmla="*/ 662309 w 1085953"/>
                  <a:gd name="connsiteY1046" fmla="*/ 8999 h 1052131"/>
                  <a:gd name="connsiteX1047" fmla="*/ 670406 w 1085953"/>
                  <a:gd name="connsiteY1047" fmla="*/ 13666 h 1052131"/>
                  <a:gd name="connsiteX1048" fmla="*/ 669644 w 1085953"/>
                  <a:gd name="connsiteY1048" fmla="*/ 13190 h 1052131"/>
                  <a:gd name="connsiteX1049" fmla="*/ 669072 w 1085953"/>
                  <a:gd name="connsiteY1049" fmla="*/ 13190 h 1052131"/>
                  <a:gd name="connsiteX1050" fmla="*/ 667643 w 1085953"/>
                  <a:gd name="connsiteY1050" fmla="*/ 13190 h 1052131"/>
                  <a:gd name="connsiteX1051" fmla="*/ 666881 w 1085953"/>
                  <a:gd name="connsiteY1051" fmla="*/ 13190 h 1052131"/>
                  <a:gd name="connsiteX1052" fmla="*/ 668501 w 1085953"/>
                  <a:gd name="connsiteY1052" fmla="*/ 14238 h 1052131"/>
                  <a:gd name="connsiteX1053" fmla="*/ 669167 w 1085953"/>
                  <a:gd name="connsiteY1053" fmla="*/ 14238 h 1052131"/>
                  <a:gd name="connsiteX1054" fmla="*/ 669167 w 1085953"/>
                  <a:gd name="connsiteY1054" fmla="*/ 14238 h 1052131"/>
                  <a:gd name="connsiteX1055" fmla="*/ 670310 w 1085953"/>
                  <a:gd name="connsiteY1055" fmla="*/ 14238 h 1052131"/>
                  <a:gd name="connsiteX1056" fmla="*/ 671358 w 1085953"/>
                  <a:gd name="connsiteY1056" fmla="*/ 14238 h 1052131"/>
                  <a:gd name="connsiteX1057" fmla="*/ 671358 w 1085953"/>
                  <a:gd name="connsiteY1057" fmla="*/ 14238 h 1052131"/>
                  <a:gd name="connsiteX1058" fmla="*/ 670787 w 1085953"/>
                  <a:gd name="connsiteY1058" fmla="*/ 13571 h 1052131"/>
                  <a:gd name="connsiteX1059" fmla="*/ 670787 w 1085953"/>
                  <a:gd name="connsiteY1059" fmla="*/ 13571 h 1052131"/>
                  <a:gd name="connsiteX1060" fmla="*/ 679169 w 1085953"/>
                  <a:gd name="connsiteY1060" fmla="*/ 903 h 1052131"/>
                  <a:gd name="connsiteX1061" fmla="*/ 678407 w 1085953"/>
                  <a:gd name="connsiteY1061" fmla="*/ 903 h 1052131"/>
                  <a:gd name="connsiteX1062" fmla="*/ 678407 w 1085953"/>
                  <a:gd name="connsiteY1062" fmla="*/ 903 h 1052131"/>
                  <a:gd name="connsiteX1063" fmla="*/ 678407 w 1085953"/>
                  <a:gd name="connsiteY1063" fmla="*/ 903 h 1052131"/>
                  <a:gd name="connsiteX1064" fmla="*/ 681169 w 1085953"/>
                  <a:gd name="connsiteY1064" fmla="*/ 1665 h 1052131"/>
                  <a:gd name="connsiteX1065" fmla="*/ 678121 w 1085953"/>
                  <a:gd name="connsiteY1065" fmla="*/ 903 h 1052131"/>
                  <a:gd name="connsiteX1066" fmla="*/ 687646 w 1085953"/>
                  <a:gd name="connsiteY1066" fmla="*/ 3284 h 1052131"/>
                  <a:gd name="connsiteX1067" fmla="*/ 678121 w 1085953"/>
                  <a:gd name="connsiteY1067" fmla="*/ 712 h 1052131"/>
                  <a:gd name="connsiteX1068" fmla="*/ 674882 w 1085953"/>
                  <a:gd name="connsiteY1068" fmla="*/ -50 h 1052131"/>
                  <a:gd name="connsiteX1069" fmla="*/ 676311 w 1085953"/>
                  <a:gd name="connsiteY1069" fmla="*/ -50 h 1052131"/>
                  <a:gd name="connsiteX1070" fmla="*/ 679455 w 1085953"/>
                  <a:gd name="connsiteY1070" fmla="*/ 617 h 1052131"/>
                  <a:gd name="connsiteX1071" fmla="*/ 679169 w 1085953"/>
                  <a:gd name="connsiteY1071" fmla="*/ 12618 h 1052131"/>
                  <a:gd name="connsiteX1072" fmla="*/ 690027 w 1085953"/>
                  <a:gd name="connsiteY1072" fmla="*/ 17381 h 1052131"/>
                  <a:gd name="connsiteX1073" fmla="*/ 690027 w 1085953"/>
                  <a:gd name="connsiteY1073" fmla="*/ 17381 h 1052131"/>
                  <a:gd name="connsiteX1074" fmla="*/ 688884 w 1085953"/>
                  <a:gd name="connsiteY1074" fmla="*/ 16714 h 1052131"/>
                  <a:gd name="connsiteX1075" fmla="*/ 685360 w 1085953"/>
                  <a:gd name="connsiteY1075" fmla="*/ 14809 h 1052131"/>
                  <a:gd name="connsiteX1076" fmla="*/ 686313 w 1085953"/>
                  <a:gd name="connsiteY1076" fmla="*/ 14809 h 1052131"/>
                  <a:gd name="connsiteX1077" fmla="*/ 682979 w 1085953"/>
                  <a:gd name="connsiteY1077" fmla="*/ 12428 h 1052131"/>
                  <a:gd name="connsiteX1078" fmla="*/ 679455 w 1085953"/>
                  <a:gd name="connsiteY1078" fmla="*/ 11094 h 1052131"/>
                  <a:gd name="connsiteX1079" fmla="*/ 673549 w 1085953"/>
                  <a:gd name="connsiteY1079" fmla="*/ 9666 h 1052131"/>
                  <a:gd name="connsiteX1080" fmla="*/ 674501 w 1085953"/>
                  <a:gd name="connsiteY1080" fmla="*/ 10332 h 1052131"/>
                  <a:gd name="connsiteX1081" fmla="*/ 671454 w 1085953"/>
                  <a:gd name="connsiteY1081" fmla="*/ 9475 h 1052131"/>
                  <a:gd name="connsiteX1082" fmla="*/ 671454 w 1085953"/>
                  <a:gd name="connsiteY1082" fmla="*/ 9475 h 1052131"/>
                  <a:gd name="connsiteX1083" fmla="*/ 673930 w 1085953"/>
                  <a:gd name="connsiteY1083" fmla="*/ 10618 h 1052131"/>
                  <a:gd name="connsiteX1084" fmla="*/ 679550 w 1085953"/>
                  <a:gd name="connsiteY1084" fmla="*/ 12333 h 1052131"/>
                  <a:gd name="connsiteX1085" fmla="*/ 636687 w 1085953"/>
                  <a:gd name="connsiteY1085" fmla="*/ 30049 h 1052131"/>
                  <a:gd name="connsiteX1086" fmla="*/ 636687 w 1085953"/>
                  <a:gd name="connsiteY1086" fmla="*/ 30049 h 1052131"/>
                  <a:gd name="connsiteX1087" fmla="*/ 636687 w 1085953"/>
                  <a:gd name="connsiteY1087" fmla="*/ 30525 h 1052131"/>
                  <a:gd name="connsiteX1088" fmla="*/ 637449 w 1085953"/>
                  <a:gd name="connsiteY1088" fmla="*/ 31287 h 1052131"/>
                  <a:gd name="connsiteX1089" fmla="*/ 638021 w 1085953"/>
                  <a:gd name="connsiteY1089" fmla="*/ 31287 h 1052131"/>
                  <a:gd name="connsiteX1090" fmla="*/ 638592 w 1085953"/>
                  <a:gd name="connsiteY1090" fmla="*/ 31287 h 1052131"/>
                  <a:gd name="connsiteX1091" fmla="*/ 639354 w 1085953"/>
                  <a:gd name="connsiteY1091" fmla="*/ 31287 h 1052131"/>
                  <a:gd name="connsiteX1092" fmla="*/ 639354 w 1085953"/>
                  <a:gd name="connsiteY1092" fmla="*/ 31287 h 1052131"/>
                  <a:gd name="connsiteX1093" fmla="*/ 639354 w 1085953"/>
                  <a:gd name="connsiteY1093" fmla="*/ 31287 h 1052131"/>
                  <a:gd name="connsiteX1094" fmla="*/ 639354 w 1085953"/>
                  <a:gd name="connsiteY1094" fmla="*/ 31287 h 1052131"/>
                  <a:gd name="connsiteX1095" fmla="*/ 637068 w 1085953"/>
                  <a:gd name="connsiteY1095" fmla="*/ 29763 h 1052131"/>
                  <a:gd name="connsiteX1096" fmla="*/ 639830 w 1085953"/>
                  <a:gd name="connsiteY1096" fmla="*/ 30049 h 1052131"/>
                  <a:gd name="connsiteX1097" fmla="*/ 640688 w 1085953"/>
                  <a:gd name="connsiteY1097" fmla="*/ 30049 h 1052131"/>
                  <a:gd name="connsiteX1098" fmla="*/ 640116 w 1085953"/>
                  <a:gd name="connsiteY1098" fmla="*/ 29478 h 1052131"/>
                  <a:gd name="connsiteX1099" fmla="*/ 639354 w 1085953"/>
                  <a:gd name="connsiteY1099" fmla="*/ 28716 h 1052131"/>
                  <a:gd name="connsiteX1100" fmla="*/ 639354 w 1085953"/>
                  <a:gd name="connsiteY1100" fmla="*/ 28239 h 1052131"/>
                  <a:gd name="connsiteX1101" fmla="*/ 639354 w 1085953"/>
                  <a:gd name="connsiteY1101" fmla="*/ 27763 h 1052131"/>
                  <a:gd name="connsiteX1102" fmla="*/ 637640 w 1085953"/>
                  <a:gd name="connsiteY1102" fmla="*/ 27001 h 1052131"/>
                  <a:gd name="connsiteX1103" fmla="*/ 637640 w 1085953"/>
                  <a:gd name="connsiteY1103" fmla="*/ 27001 h 1052131"/>
                  <a:gd name="connsiteX1104" fmla="*/ 637640 w 1085953"/>
                  <a:gd name="connsiteY1104" fmla="*/ 27001 h 1052131"/>
                  <a:gd name="connsiteX1105" fmla="*/ 636973 w 1085953"/>
                  <a:gd name="connsiteY1105" fmla="*/ 27001 h 1052131"/>
                  <a:gd name="connsiteX1106" fmla="*/ 640212 w 1085953"/>
                  <a:gd name="connsiteY1106" fmla="*/ 30335 h 1052131"/>
                  <a:gd name="connsiteX1107" fmla="*/ 639830 w 1085953"/>
                  <a:gd name="connsiteY1107" fmla="*/ 21477 h 1052131"/>
                  <a:gd name="connsiteX1108" fmla="*/ 640878 w 1085953"/>
                  <a:gd name="connsiteY1108" fmla="*/ 22524 h 1052131"/>
                  <a:gd name="connsiteX1109" fmla="*/ 641450 w 1085953"/>
                  <a:gd name="connsiteY1109" fmla="*/ 24144 h 1052131"/>
                  <a:gd name="connsiteX1110" fmla="*/ 641450 w 1085953"/>
                  <a:gd name="connsiteY1110" fmla="*/ 24144 h 1052131"/>
                  <a:gd name="connsiteX1111" fmla="*/ 645164 w 1085953"/>
                  <a:gd name="connsiteY1111" fmla="*/ 25477 h 1052131"/>
                  <a:gd name="connsiteX1112" fmla="*/ 646022 w 1085953"/>
                  <a:gd name="connsiteY1112" fmla="*/ 24715 h 1052131"/>
                  <a:gd name="connsiteX1113" fmla="*/ 645450 w 1085953"/>
                  <a:gd name="connsiteY1113" fmla="*/ 23858 h 1052131"/>
                  <a:gd name="connsiteX1114" fmla="*/ 643545 w 1085953"/>
                  <a:gd name="connsiteY1114" fmla="*/ 22048 h 1052131"/>
                  <a:gd name="connsiteX1115" fmla="*/ 643545 w 1085953"/>
                  <a:gd name="connsiteY1115" fmla="*/ 22048 h 1052131"/>
                  <a:gd name="connsiteX1116" fmla="*/ 639259 w 1085953"/>
                  <a:gd name="connsiteY1116" fmla="*/ 20429 h 1052131"/>
                  <a:gd name="connsiteX1117" fmla="*/ 639259 w 1085953"/>
                  <a:gd name="connsiteY1117" fmla="*/ 20429 h 1052131"/>
                  <a:gd name="connsiteX1118" fmla="*/ 640116 w 1085953"/>
                  <a:gd name="connsiteY1118" fmla="*/ 21381 h 1052131"/>
                  <a:gd name="connsiteX1119" fmla="*/ 638021 w 1085953"/>
                  <a:gd name="connsiteY1119" fmla="*/ 26334 h 1052131"/>
                  <a:gd name="connsiteX1120" fmla="*/ 639259 w 1085953"/>
                  <a:gd name="connsiteY1120" fmla="*/ 27096 h 1052131"/>
                  <a:gd name="connsiteX1121" fmla="*/ 640212 w 1085953"/>
                  <a:gd name="connsiteY1121" fmla="*/ 27954 h 1052131"/>
                  <a:gd name="connsiteX1122" fmla="*/ 640212 w 1085953"/>
                  <a:gd name="connsiteY1122" fmla="*/ 27954 h 1052131"/>
                  <a:gd name="connsiteX1123" fmla="*/ 641450 w 1085953"/>
                  <a:gd name="connsiteY1123" fmla="*/ 27954 h 1052131"/>
                  <a:gd name="connsiteX1124" fmla="*/ 642783 w 1085953"/>
                  <a:gd name="connsiteY1124" fmla="*/ 27954 h 1052131"/>
                  <a:gd name="connsiteX1125" fmla="*/ 644403 w 1085953"/>
                  <a:gd name="connsiteY1125" fmla="*/ 27954 h 1052131"/>
                  <a:gd name="connsiteX1126" fmla="*/ 643450 w 1085953"/>
                  <a:gd name="connsiteY1126" fmla="*/ 27001 h 1052131"/>
                  <a:gd name="connsiteX1127" fmla="*/ 643450 w 1085953"/>
                  <a:gd name="connsiteY1127" fmla="*/ 26239 h 1052131"/>
                  <a:gd name="connsiteX1128" fmla="*/ 643450 w 1085953"/>
                  <a:gd name="connsiteY1128" fmla="*/ 26239 h 1052131"/>
                  <a:gd name="connsiteX1129" fmla="*/ 643450 w 1085953"/>
                  <a:gd name="connsiteY1129" fmla="*/ 26239 h 1052131"/>
                  <a:gd name="connsiteX1130" fmla="*/ 643450 w 1085953"/>
                  <a:gd name="connsiteY1130" fmla="*/ 26239 h 1052131"/>
                  <a:gd name="connsiteX1131" fmla="*/ 639259 w 1085953"/>
                  <a:gd name="connsiteY1131" fmla="*/ 24810 h 1052131"/>
                  <a:gd name="connsiteX1132" fmla="*/ 638306 w 1085953"/>
                  <a:gd name="connsiteY1132" fmla="*/ 24810 h 1052131"/>
                  <a:gd name="connsiteX1133" fmla="*/ 638306 w 1085953"/>
                  <a:gd name="connsiteY1133" fmla="*/ 25858 h 1052131"/>
                  <a:gd name="connsiteX1134" fmla="*/ 638306 w 1085953"/>
                  <a:gd name="connsiteY1134" fmla="*/ 26239 h 1052131"/>
                  <a:gd name="connsiteX1135" fmla="*/ 696028 w 1085953"/>
                  <a:gd name="connsiteY1135" fmla="*/ 7284 h 1052131"/>
                  <a:gd name="connsiteX1136" fmla="*/ 696028 w 1085953"/>
                  <a:gd name="connsiteY1136" fmla="*/ 7284 h 1052131"/>
                  <a:gd name="connsiteX1137" fmla="*/ 696028 w 1085953"/>
                  <a:gd name="connsiteY1137" fmla="*/ 7284 h 1052131"/>
                  <a:gd name="connsiteX1138" fmla="*/ 696599 w 1085953"/>
                  <a:gd name="connsiteY1138" fmla="*/ 7284 h 1052131"/>
                  <a:gd name="connsiteX1139" fmla="*/ 699743 w 1085953"/>
                  <a:gd name="connsiteY1139" fmla="*/ 8332 h 1052131"/>
                  <a:gd name="connsiteX1140" fmla="*/ 700409 w 1085953"/>
                  <a:gd name="connsiteY1140" fmla="*/ 8332 h 1052131"/>
                  <a:gd name="connsiteX1141" fmla="*/ 699838 w 1085953"/>
                  <a:gd name="connsiteY1141" fmla="*/ 8332 h 1052131"/>
                  <a:gd name="connsiteX1142" fmla="*/ 694409 w 1085953"/>
                  <a:gd name="connsiteY1142" fmla="*/ 6713 h 1052131"/>
                  <a:gd name="connsiteX1143" fmla="*/ 684693 w 1085953"/>
                  <a:gd name="connsiteY1143" fmla="*/ 2712 h 1052131"/>
                  <a:gd name="connsiteX1144" fmla="*/ 677549 w 1085953"/>
                  <a:gd name="connsiteY1144" fmla="*/ 903 h 1052131"/>
                  <a:gd name="connsiteX1145" fmla="*/ 680597 w 1085953"/>
                  <a:gd name="connsiteY1145" fmla="*/ 1855 h 1052131"/>
                  <a:gd name="connsiteX1146" fmla="*/ 678312 w 1085953"/>
                  <a:gd name="connsiteY1146" fmla="*/ 1855 h 1052131"/>
                  <a:gd name="connsiteX1147" fmla="*/ 690027 w 1085953"/>
                  <a:gd name="connsiteY1147" fmla="*/ 5189 h 1052131"/>
                  <a:gd name="connsiteX1148" fmla="*/ 685360 w 1085953"/>
                  <a:gd name="connsiteY1148" fmla="*/ 4046 h 1052131"/>
                  <a:gd name="connsiteX1149" fmla="*/ 686122 w 1085953"/>
                  <a:gd name="connsiteY1149" fmla="*/ 4046 h 1052131"/>
                  <a:gd name="connsiteX1150" fmla="*/ 686122 w 1085953"/>
                  <a:gd name="connsiteY1150" fmla="*/ 4046 h 1052131"/>
                  <a:gd name="connsiteX1151" fmla="*/ 689646 w 1085953"/>
                  <a:gd name="connsiteY1151" fmla="*/ 5094 h 1052131"/>
                  <a:gd name="connsiteX1152" fmla="*/ 706601 w 1085953"/>
                  <a:gd name="connsiteY1152" fmla="*/ 10332 h 1052131"/>
                  <a:gd name="connsiteX1153" fmla="*/ 706601 w 1085953"/>
                  <a:gd name="connsiteY1153" fmla="*/ 10332 h 1052131"/>
                  <a:gd name="connsiteX1154" fmla="*/ 710411 w 1085953"/>
                  <a:gd name="connsiteY1154" fmla="*/ 11475 h 1052131"/>
                  <a:gd name="connsiteX1155" fmla="*/ 700124 w 1085953"/>
                  <a:gd name="connsiteY1155" fmla="*/ 8046 h 1052131"/>
                  <a:gd name="connsiteX1156" fmla="*/ 702124 w 1085953"/>
                  <a:gd name="connsiteY1156" fmla="*/ 8618 h 1052131"/>
                  <a:gd name="connsiteX1157" fmla="*/ 685646 w 1085953"/>
                  <a:gd name="connsiteY1157" fmla="*/ 3474 h 1052131"/>
                  <a:gd name="connsiteX1158" fmla="*/ 692408 w 1085953"/>
                  <a:gd name="connsiteY1158" fmla="*/ 5189 h 1052131"/>
                  <a:gd name="connsiteX1159" fmla="*/ 634497 w 1085953"/>
                  <a:gd name="connsiteY1159" fmla="*/ 21762 h 1052131"/>
                  <a:gd name="connsiteX1160" fmla="*/ 634497 w 1085953"/>
                  <a:gd name="connsiteY1160" fmla="*/ 22429 h 1052131"/>
                  <a:gd name="connsiteX1161" fmla="*/ 634973 w 1085953"/>
                  <a:gd name="connsiteY1161" fmla="*/ 23000 h 1052131"/>
                  <a:gd name="connsiteX1162" fmla="*/ 636687 w 1085953"/>
                  <a:gd name="connsiteY1162" fmla="*/ 23763 h 1052131"/>
                  <a:gd name="connsiteX1163" fmla="*/ 636687 w 1085953"/>
                  <a:gd name="connsiteY1163" fmla="*/ 23763 h 1052131"/>
                  <a:gd name="connsiteX1164" fmla="*/ 636687 w 1085953"/>
                  <a:gd name="connsiteY1164" fmla="*/ 23763 h 1052131"/>
                  <a:gd name="connsiteX1165" fmla="*/ 636687 w 1085953"/>
                  <a:gd name="connsiteY1165" fmla="*/ 23763 h 1052131"/>
                  <a:gd name="connsiteX1166" fmla="*/ 636687 w 1085953"/>
                  <a:gd name="connsiteY1166" fmla="*/ 23763 h 1052131"/>
                  <a:gd name="connsiteX1167" fmla="*/ 635925 w 1085953"/>
                  <a:gd name="connsiteY1167" fmla="*/ 22905 h 1052131"/>
                  <a:gd name="connsiteX1168" fmla="*/ 634782 w 1085953"/>
                  <a:gd name="connsiteY1168" fmla="*/ 22905 h 1052131"/>
                  <a:gd name="connsiteX1169" fmla="*/ 707553 w 1085953"/>
                  <a:gd name="connsiteY1169" fmla="*/ 25667 h 1052131"/>
                  <a:gd name="connsiteX1170" fmla="*/ 704981 w 1085953"/>
                  <a:gd name="connsiteY1170" fmla="*/ 24810 h 1052131"/>
                  <a:gd name="connsiteX1171" fmla="*/ 704981 w 1085953"/>
                  <a:gd name="connsiteY1171" fmla="*/ 24810 h 1052131"/>
                  <a:gd name="connsiteX1172" fmla="*/ 705934 w 1085953"/>
                  <a:gd name="connsiteY1172" fmla="*/ 25572 h 1052131"/>
                  <a:gd name="connsiteX1173" fmla="*/ 707744 w 1085953"/>
                  <a:gd name="connsiteY1173" fmla="*/ 25572 h 1052131"/>
                  <a:gd name="connsiteX1174" fmla="*/ 724508 w 1085953"/>
                  <a:gd name="connsiteY1174" fmla="*/ 15571 h 1052131"/>
                  <a:gd name="connsiteX1175" fmla="*/ 724508 w 1085953"/>
                  <a:gd name="connsiteY1175" fmla="*/ 15571 h 1052131"/>
                  <a:gd name="connsiteX1176" fmla="*/ 722222 w 1085953"/>
                  <a:gd name="connsiteY1176" fmla="*/ 14523 h 1052131"/>
                  <a:gd name="connsiteX1177" fmla="*/ 713173 w 1085953"/>
                  <a:gd name="connsiteY1177" fmla="*/ 11666 h 1052131"/>
                  <a:gd name="connsiteX1178" fmla="*/ 713173 w 1085953"/>
                  <a:gd name="connsiteY1178" fmla="*/ 11666 h 1052131"/>
                  <a:gd name="connsiteX1179" fmla="*/ 724793 w 1085953"/>
                  <a:gd name="connsiteY1179" fmla="*/ 15476 h 1052131"/>
                  <a:gd name="connsiteX1180" fmla="*/ 710887 w 1085953"/>
                  <a:gd name="connsiteY1180" fmla="*/ 10808 h 1052131"/>
                  <a:gd name="connsiteX1181" fmla="*/ 709172 w 1085953"/>
                  <a:gd name="connsiteY1181" fmla="*/ 10237 h 1052131"/>
                  <a:gd name="connsiteX1182" fmla="*/ 709172 w 1085953"/>
                  <a:gd name="connsiteY1182" fmla="*/ 10237 h 1052131"/>
                  <a:gd name="connsiteX1183" fmla="*/ 717935 w 1085953"/>
                  <a:gd name="connsiteY1183" fmla="*/ 13285 h 1052131"/>
                  <a:gd name="connsiteX1184" fmla="*/ 702696 w 1085953"/>
                  <a:gd name="connsiteY1184" fmla="*/ 23858 h 1052131"/>
                  <a:gd name="connsiteX1185" fmla="*/ 702696 w 1085953"/>
                  <a:gd name="connsiteY1185" fmla="*/ 23858 h 1052131"/>
                  <a:gd name="connsiteX1186" fmla="*/ 699743 w 1085953"/>
                  <a:gd name="connsiteY1186" fmla="*/ 22810 h 1052131"/>
                  <a:gd name="connsiteX1187" fmla="*/ 699743 w 1085953"/>
                  <a:gd name="connsiteY1187" fmla="*/ 22810 h 1052131"/>
                  <a:gd name="connsiteX1188" fmla="*/ 701553 w 1085953"/>
                  <a:gd name="connsiteY1188" fmla="*/ 24144 h 1052131"/>
                  <a:gd name="connsiteX1189" fmla="*/ 704410 w 1085953"/>
                  <a:gd name="connsiteY1189" fmla="*/ 26049 h 1052131"/>
                  <a:gd name="connsiteX1190" fmla="*/ 705267 w 1085953"/>
                  <a:gd name="connsiteY1190" fmla="*/ 26049 h 1052131"/>
                  <a:gd name="connsiteX1191" fmla="*/ 704315 w 1085953"/>
                  <a:gd name="connsiteY1191" fmla="*/ 25001 h 1052131"/>
                  <a:gd name="connsiteX1192" fmla="*/ 696695 w 1085953"/>
                  <a:gd name="connsiteY1192" fmla="*/ 92438 h 1052131"/>
                  <a:gd name="connsiteX1193" fmla="*/ 695933 w 1085953"/>
                  <a:gd name="connsiteY1193" fmla="*/ 90342 h 1052131"/>
                  <a:gd name="connsiteX1194" fmla="*/ 692694 w 1085953"/>
                  <a:gd name="connsiteY1194" fmla="*/ 88533 h 1052131"/>
                  <a:gd name="connsiteX1195" fmla="*/ 689646 w 1085953"/>
                  <a:gd name="connsiteY1195" fmla="*/ 85484 h 1052131"/>
                  <a:gd name="connsiteX1196" fmla="*/ 689170 w 1085953"/>
                  <a:gd name="connsiteY1196" fmla="*/ 85484 h 1052131"/>
                  <a:gd name="connsiteX1197" fmla="*/ 685741 w 1085953"/>
                  <a:gd name="connsiteY1197" fmla="*/ 79674 h 1052131"/>
                  <a:gd name="connsiteX1198" fmla="*/ 686598 w 1085953"/>
                  <a:gd name="connsiteY1198" fmla="*/ 79674 h 1052131"/>
                  <a:gd name="connsiteX1199" fmla="*/ 685931 w 1085953"/>
                  <a:gd name="connsiteY1199" fmla="*/ 77960 h 1052131"/>
                  <a:gd name="connsiteX1200" fmla="*/ 682122 w 1085953"/>
                  <a:gd name="connsiteY1200" fmla="*/ 77960 h 1052131"/>
                  <a:gd name="connsiteX1201" fmla="*/ 679455 w 1085953"/>
                  <a:gd name="connsiteY1201" fmla="*/ 77960 h 1052131"/>
                  <a:gd name="connsiteX1202" fmla="*/ 678502 w 1085953"/>
                  <a:gd name="connsiteY1202" fmla="*/ 78722 h 1052131"/>
                  <a:gd name="connsiteX1203" fmla="*/ 677549 w 1085953"/>
                  <a:gd name="connsiteY1203" fmla="*/ 78722 h 1052131"/>
                  <a:gd name="connsiteX1204" fmla="*/ 679550 w 1085953"/>
                  <a:gd name="connsiteY1204" fmla="*/ 81484 h 1052131"/>
                  <a:gd name="connsiteX1205" fmla="*/ 682026 w 1085953"/>
                  <a:gd name="connsiteY1205" fmla="*/ 84913 h 1052131"/>
                  <a:gd name="connsiteX1206" fmla="*/ 681074 w 1085953"/>
                  <a:gd name="connsiteY1206" fmla="*/ 85675 h 1052131"/>
                  <a:gd name="connsiteX1207" fmla="*/ 681074 w 1085953"/>
                  <a:gd name="connsiteY1207" fmla="*/ 85675 h 1052131"/>
                  <a:gd name="connsiteX1208" fmla="*/ 681074 w 1085953"/>
                  <a:gd name="connsiteY1208" fmla="*/ 87104 h 1052131"/>
                  <a:gd name="connsiteX1209" fmla="*/ 679359 w 1085953"/>
                  <a:gd name="connsiteY1209" fmla="*/ 87866 h 1052131"/>
                  <a:gd name="connsiteX1210" fmla="*/ 681931 w 1085953"/>
                  <a:gd name="connsiteY1210" fmla="*/ 90342 h 1052131"/>
                  <a:gd name="connsiteX1211" fmla="*/ 684122 w 1085953"/>
                  <a:gd name="connsiteY1211" fmla="*/ 92914 h 1052131"/>
                  <a:gd name="connsiteX1212" fmla="*/ 685646 w 1085953"/>
                  <a:gd name="connsiteY1212" fmla="*/ 94248 h 1052131"/>
                  <a:gd name="connsiteX1213" fmla="*/ 686693 w 1085953"/>
                  <a:gd name="connsiteY1213" fmla="*/ 93009 h 1052131"/>
                  <a:gd name="connsiteX1214" fmla="*/ 686693 w 1085953"/>
                  <a:gd name="connsiteY1214" fmla="*/ 92057 h 1052131"/>
                  <a:gd name="connsiteX1215" fmla="*/ 688027 w 1085953"/>
                  <a:gd name="connsiteY1215" fmla="*/ 93581 h 1052131"/>
                  <a:gd name="connsiteX1216" fmla="*/ 691075 w 1085953"/>
                  <a:gd name="connsiteY1216" fmla="*/ 93581 h 1052131"/>
                  <a:gd name="connsiteX1217" fmla="*/ 691932 w 1085953"/>
                  <a:gd name="connsiteY1217" fmla="*/ 93581 h 1052131"/>
                  <a:gd name="connsiteX1218" fmla="*/ 692504 w 1085953"/>
                  <a:gd name="connsiteY1218" fmla="*/ 94629 h 1052131"/>
                  <a:gd name="connsiteX1219" fmla="*/ 693837 w 1085953"/>
                  <a:gd name="connsiteY1219" fmla="*/ 94629 h 1052131"/>
                  <a:gd name="connsiteX1220" fmla="*/ 693361 w 1085953"/>
                  <a:gd name="connsiteY1220" fmla="*/ 95391 h 1052131"/>
                  <a:gd name="connsiteX1221" fmla="*/ 698219 w 1085953"/>
                  <a:gd name="connsiteY1221" fmla="*/ 98058 h 1052131"/>
                  <a:gd name="connsiteX1222" fmla="*/ 700886 w 1085953"/>
                  <a:gd name="connsiteY1222" fmla="*/ 97010 h 1052131"/>
                  <a:gd name="connsiteX1223" fmla="*/ 702791 w 1085953"/>
                  <a:gd name="connsiteY1223" fmla="*/ 97010 h 1052131"/>
                  <a:gd name="connsiteX1224" fmla="*/ 703362 w 1085953"/>
                  <a:gd name="connsiteY1224" fmla="*/ 97010 h 1052131"/>
                  <a:gd name="connsiteX1225" fmla="*/ 703839 w 1085953"/>
                  <a:gd name="connsiteY1225" fmla="*/ 95581 h 1052131"/>
                  <a:gd name="connsiteX1226" fmla="*/ 703839 w 1085953"/>
                  <a:gd name="connsiteY1226" fmla="*/ 95581 h 1052131"/>
                  <a:gd name="connsiteX1227" fmla="*/ 702410 w 1085953"/>
                  <a:gd name="connsiteY1227" fmla="*/ 95581 h 1052131"/>
                  <a:gd name="connsiteX1228" fmla="*/ 701838 w 1085953"/>
                  <a:gd name="connsiteY1228" fmla="*/ 95581 h 1052131"/>
                  <a:gd name="connsiteX1229" fmla="*/ 700695 w 1085953"/>
                  <a:gd name="connsiteY1229" fmla="*/ 94438 h 1052131"/>
                  <a:gd name="connsiteX1230" fmla="*/ 699647 w 1085953"/>
                  <a:gd name="connsiteY1230" fmla="*/ 94438 h 1052131"/>
                  <a:gd name="connsiteX1231" fmla="*/ 696980 w 1085953"/>
                  <a:gd name="connsiteY1231" fmla="*/ 92342 h 1052131"/>
                  <a:gd name="connsiteX1232" fmla="*/ 688313 w 1085953"/>
                  <a:gd name="connsiteY1232" fmla="*/ 109964 h 1052131"/>
                  <a:gd name="connsiteX1233" fmla="*/ 685931 w 1085953"/>
                  <a:gd name="connsiteY1233" fmla="*/ 109964 h 1052131"/>
                  <a:gd name="connsiteX1234" fmla="*/ 683550 w 1085953"/>
                  <a:gd name="connsiteY1234" fmla="*/ 111678 h 1052131"/>
                  <a:gd name="connsiteX1235" fmla="*/ 683550 w 1085953"/>
                  <a:gd name="connsiteY1235" fmla="*/ 113012 h 1052131"/>
                  <a:gd name="connsiteX1236" fmla="*/ 687265 w 1085953"/>
                  <a:gd name="connsiteY1236" fmla="*/ 115393 h 1052131"/>
                  <a:gd name="connsiteX1237" fmla="*/ 688694 w 1085953"/>
                  <a:gd name="connsiteY1237" fmla="*/ 113679 h 1052131"/>
                  <a:gd name="connsiteX1238" fmla="*/ 689170 w 1085953"/>
                  <a:gd name="connsiteY1238" fmla="*/ 113679 h 1052131"/>
                  <a:gd name="connsiteX1239" fmla="*/ 689170 w 1085953"/>
                  <a:gd name="connsiteY1239" fmla="*/ 113679 h 1052131"/>
                  <a:gd name="connsiteX1240" fmla="*/ 689932 w 1085953"/>
                  <a:gd name="connsiteY1240" fmla="*/ 112821 h 1052131"/>
                  <a:gd name="connsiteX1241" fmla="*/ 689170 w 1085953"/>
                  <a:gd name="connsiteY1241" fmla="*/ 110726 h 1052131"/>
                  <a:gd name="connsiteX1242" fmla="*/ 688598 w 1085953"/>
                  <a:gd name="connsiteY1242" fmla="*/ 109869 h 1052131"/>
                  <a:gd name="connsiteX1243" fmla="*/ 707363 w 1085953"/>
                  <a:gd name="connsiteY1243" fmla="*/ 95391 h 1052131"/>
                  <a:gd name="connsiteX1244" fmla="*/ 705743 w 1085953"/>
                  <a:gd name="connsiteY1244" fmla="*/ 95391 h 1052131"/>
                  <a:gd name="connsiteX1245" fmla="*/ 704791 w 1085953"/>
                  <a:gd name="connsiteY1245" fmla="*/ 95391 h 1052131"/>
                  <a:gd name="connsiteX1246" fmla="*/ 704791 w 1085953"/>
                  <a:gd name="connsiteY1246" fmla="*/ 95391 h 1052131"/>
                  <a:gd name="connsiteX1247" fmla="*/ 704791 w 1085953"/>
                  <a:gd name="connsiteY1247" fmla="*/ 96057 h 1052131"/>
                  <a:gd name="connsiteX1248" fmla="*/ 705363 w 1085953"/>
                  <a:gd name="connsiteY1248" fmla="*/ 96057 h 1052131"/>
                  <a:gd name="connsiteX1249" fmla="*/ 706124 w 1085953"/>
                  <a:gd name="connsiteY1249" fmla="*/ 96057 h 1052131"/>
                  <a:gd name="connsiteX1250" fmla="*/ 707458 w 1085953"/>
                  <a:gd name="connsiteY1250" fmla="*/ 96629 h 1052131"/>
                  <a:gd name="connsiteX1251" fmla="*/ 708030 w 1085953"/>
                  <a:gd name="connsiteY1251" fmla="*/ 96629 h 1052131"/>
                  <a:gd name="connsiteX1252" fmla="*/ 708030 w 1085953"/>
                  <a:gd name="connsiteY1252" fmla="*/ 95581 h 1052131"/>
                  <a:gd name="connsiteX1253" fmla="*/ 707172 w 1085953"/>
                  <a:gd name="connsiteY1253" fmla="*/ 95295 h 1052131"/>
                  <a:gd name="connsiteX1254" fmla="*/ 634401 w 1085953"/>
                  <a:gd name="connsiteY1254" fmla="*/ 19191 h 1052131"/>
                  <a:gd name="connsiteX1255" fmla="*/ 635639 w 1085953"/>
                  <a:gd name="connsiteY1255" fmla="*/ 20048 h 1052131"/>
                  <a:gd name="connsiteX1256" fmla="*/ 636116 w 1085953"/>
                  <a:gd name="connsiteY1256" fmla="*/ 20048 h 1052131"/>
                  <a:gd name="connsiteX1257" fmla="*/ 635449 w 1085953"/>
                  <a:gd name="connsiteY1257" fmla="*/ 19191 h 1052131"/>
                  <a:gd name="connsiteX1258" fmla="*/ 635449 w 1085953"/>
                  <a:gd name="connsiteY1258" fmla="*/ 19191 h 1052131"/>
                  <a:gd name="connsiteX1259" fmla="*/ 633925 w 1085953"/>
                  <a:gd name="connsiteY1259" fmla="*/ 19191 h 1052131"/>
                  <a:gd name="connsiteX1260" fmla="*/ 633925 w 1085953"/>
                  <a:gd name="connsiteY1260" fmla="*/ 19191 h 1052131"/>
                  <a:gd name="connsiteX1261" fmla="*/ 546866 w 1085953"/>
                  <a:gd name="connsiteY1261" fmla="*/ 55671 h 1052131"/>
                  <a:gd name="connsiteX1262" fmla="*/ 544962 w 1085953"/>
                  <a:gd name="connsiteY1262" fmla="*/ 55671 h 1052131"/>
                  <a:gd name="connsiteX1263" fmla="*/ 544962 w 1085953"/>
                  <a:gd name="connsiteY1263" fmla="*/ 55671 h 1052131"/>
                  <a:gd name="connsiteX1264" fmla="*/ 544962 w 1085953"/>
                  <a:gd name="connsiteY1264" fmla="*/ 56909 h 1052131"/>
                  <a:gd name="connsiteX1265" fmla="*/ 546105 w 1085953"/>
                  <a:gd name="connsiteY1265" fmla="*/ 57671 h 1052131"/>
                  <a:gd name="connsiteX1266" fmla="*/ 546962 w 1085953"/>
                  <a:gd name="connsiteY1266" fmla="*/ 58338 h 1052131"/>
                  <a:gd name="connsiteX1267" fmla="*/ 547629 w 1085953"/>
                  <a:gd name="connsiteY1267" fmla="*/ 58338 h 1052131"/>
                  <a:gd name="connsiteX1268" fmla="*/ 548486 w 1085953"/>
                  <a:gd name="connsiteY1268" fmla="*/ 58338 h 1052131"/>
                  <a:gd name="connsiteX1269" fmla="*/ 548486 w 1085953"/>
                  <a:gd name="connsiteY1269" fmla="*/ 57481 h 1052131"/>
                  <a:gd name="connsiteX1270" fmla="*/ 485906 w 1085953"/>
                  <a:gd name="connsiteY1270" fmla="*/ 263507 h 1052131"/>
                  <a:gd name="connsiteX1271" fmla="*/ 486383 w 1085953"/>
                  <a:gd name="connsiteY1271" fmla="*/ 257696 h 1052131"/>
                  <a:gd name="connsiteX1272" fmla="*/ 483335 w 1085953"/>
                  <a:gd name="connsiteY1272" fmla="*/ 253315 h 1052131"/>
                  <a:gd name="connsiteX1273" fmla="*/ 483335 w 1085953"/>
                  <a:gd name="connsiteY1273" fmla="*/ 253315 h 1052131"/>
                  <a:gd name="connsiteX1274" fmla="*/ 483335 w 1085953"/>
                  <a:gd name="connsiteY1274" fmla="*/ 253315 h 1052131"/>
                  <a:gd name="connsiteX1275" fmla="*/ 483335 w 1085953"/>
                  <a:gd name="connsiteY1275" fmla="*/ 253315 h 1052131"/>
                  <a:gd name="connsiteX1276" fmla="*/ 478858 w 1085953"/>
                  <a:gd name="connsiteY1276" fmla="*/ 248648 h 1052131"/>
                  <a:gd name="connsiteX1277" fmla="*/ 476572 w 1085953"/>
                  <a:gd name="connsiteY1277" fmla="*/ 241313 h 1052131"/>
                  <a:gd name="connsiteX1278" fmla="*/ 470190 w 1085953"/>
                  <a:gd name="connsiteY1278" fmla="*/ 239123 h 1052131"/>
                  <a:gd name="connsiteX1279" fmla="*/ 469238 w 1085953"/>
                  <a:gd name="connsiteY1279" fmla="*/ 239123 h 1052131"/>
                  <a:gd name="connsiteX1280" fmla="*/ 472762 w 1085953"/>
                  <a:gd name="connsiteY1280" fmla="*/ 235884 h 1052131"/>
                  <a:gd name="connsiteX1281" fmla="*/ 475810 w 1085953"/>
                  <a:gd name="connsiteY1281" fmla="*/ 232074 h 1052131"/>
                  <a:gd name="connsiteX1282" fmla="*/ 478096 w 1085953"/>
                  <a:gd name="connsiteY1282" fmla="*/ 224169 h 1052131"/>
                  <a:gd name="connsiteX1283" fmla="*/ 466285 w 1085953"/>
                  <a:gd name="connsiteY1283" fmla="*/ 224740 h 1052131"/>
                  <a:gd name="connsiteX1284" fmla="*/ 466285 w 1085953"/>
                  <a:gd name="connsiteY1284" fmla="*/ 224740 h 1052131"/>
                  <a:gd name="connsiteX1285" fmla="*/ 469333 w 1085953"/>
                  <a:gd name="connsiteY1285" fmla="*/ 220168 h 1052131"/>
                  <a:gd name="connsiteX1286" fmla="*/ 472762 w 1085953"/>
                  <a:gd name="connsiteY1286" fmla="*/ 214358 h 1052131"/>
                  <a:gd name="connsiteX1287" fmla="*/ 470095 w 1085953"/>
                  <a:gd name="connsiteY1287" fmla="*/ 213596 h 1052131"/>
                  <a:gd name="connsiteX1288" fmla="*/ 462380 w 1085953"/>
                  <a:gd name="connsiteY1288" fmla="*/ 215596 h 1052131"/>
                  <a:gd name="connsiteX1289" fmla="*/ 457713 w 1085953"/>
                  <a:gd name="connsiteY1289" fmla="*/ 220549 h 1052131"/>
                  <a:gd name="connsiteX1290" fmla="*/ 457713 w 1085953"/>
                  <a:gd name="connsiteY1290" fmla="*/ 223788 h 1052131"/>
                  <a:gd name="connsiteX1291" fmla="*/ 457141 w 1085953"/>
                  <a:gd name="connsiteY1291" fmla="*/ 225026 h 1052131"/>
                  <a:gd name="connsiteX1292" fmla="*/ 454760 w 1085953"/>
                  <a:gd name="connsiteY1292" fmla="*/ 222930 h 1052131"/>
                  <a:gd name="connsiteX1293" fmla="*/ 454188 w 1085953"/>
                  <a:gd name="connsiteY1293" fmla="*/ 222930 h 1052131"/>
                  <a:gd name="connsiteX1294" fmla="*/ 457903 w 1085953"/>
                  <a:gd name="connsiteY1294" fmla="*/ 228741 h 1052131"/>
                  <a:gd name="connsiteX1295" fmla="*/ 455141 w 1085953"/>
                  <a:gd name="connsiteY1295" fmla="*/ 233694 h 1052131"/>
                  <a:gd name="connsiteX1296" fmla="*/ 453712 w 1085953"/>
                  <a:gd name="connsiteY1296" fmla="*/ 238646 h 1052131"/>
                  <a:gd name="connsiteX1297" fmla="*/ 453712 w 1085953"/>
                  <a:gd name="connsiteY1297" fmla="*/ 238646 h 1052131"/>
                  <a:gd name="connsiteX1298" fmla="*/ 459141 w 1085953"/>
                  <a:gd name="connsiteY1298" fmla="*/ 235313 h 1052131"/>
                  <a:gd name="connsiteX1299" fmla="*/ 456379 w 1085953"/>
                  <a:gd name="connsiteY1299" fmla="*/ 247314 h 1052131"/>
                  <a:gd name="connsiteX1300" fmla="*/ 461237 w 1085953"/>
                  <a:gd name="connsiteY1300" fmla="*/ 248457 h 1052131"/>
                  <a:gd name="connsiteX1301" fmla="*/ 464094 w 1085953"/>
                  <a:gd name="connsiteY1301" fmla="*/ 247314 h 1052131"/>
                  <a:gd name="connsiteX1302" fmla="*/ 465713 w 1085953"/>
                  <a:gd name="connsiteY1302" fmla="*/ 246743 h 1052131"/>
                  <a:gd name="connsiteX1303" fmla="*/ 463523 w 1085953"/>
                  <a:gd name="connsiteY1303" fmla="*/ 252553 h 1052131"/>
                  <a:gd name="connsiteX1304" fmla="*/ 467333 w 1085953"/>
                  <a:gd name="connsiteY1304" fmla="*/ 256649 h 1052131"/>
                  <a:gd name="connsiteX1305" fmla="*/ 460475 w 1085953"/>
                  <a:gd name="connsiteY1305" fmla="*/ 262459 h 1052131"/>
                  <a:gd name="connsiteX1306" fmla="*/ 456570 w 1085953"/>
                  <a:gd name="connsiteY1306" fmla="*/ 266745 h 1052131"/>
                  <a:gd name="connsiteX1307" fmla="*/ 460284 w 1085953"/>
                  <a:gd name="connsiteY1307" fmla="*/ 269698 h 1052131"/>
                  <a:gd name="connsiteX1308" fmla="*/ 454379 w 1085953"/>
                  <a:gd name="connsiteY1308" fmla="*/ 272937 h 1052131"/>
                  <a:gd name="connsiteX1309" fmla="*/ 451807 w 1085953"/>
                  <a:gd name="connsiteY1309" fmla="*/ 277699 h 1052131"/>
                  <a:gd name="connsiteX1310" fmla="*/ 452569 w 1085953"/>
                  <a:gd name="connsiteY1310" fmla="*/ 277699 h 1052131"/>
                  <a:gd name="connsiteX1311" fmla="*/ 456188 w 1085953"/>
                  <a:gd name="connsiteY1311" fmla="*/ 277223 h 1052131"/>
                  <a:gd name="connsiteX1312" fmla="*/ 460284 w 1085953"/>
                  <a:gd name="connsiteY1312" fmla="*/ 279509 h 1052131"/>
                  <a:gd name="connsiteX1313" fmla="*/ 465237 w 1085953"/>
                  <a:gd name="connsiteY1313" fmla="*/ 279509 h 1052131"/>
                  <a:gd name="connsiteX1314" fmla="*/ 467333 w 1085953"/>
                  <a:gd name="connsiteY1314" fmla="*/ 279509 h 1052131"/>
                  <a:gd name="connsiteX1315" fmla="*/ 465332 w 1085953"/>
                  <a:gd name="connsiteY1315" fmla="*/ 280271 h 1052131"/>
                  <a:gd name="connsiteX1316" fmla="*/ 456474 w 1085953"/>
                  <a:gd name="connsiteY1316" fmla="*/ 281700 h 1052131"/>
                  <a:gd name="connsiteX1317" fmla="*/ 445330 w 1085953"/>
                  <a:gd name="connsiteY1317" fmla="*/ 291225 h 1052131"/>
                  <a:gd name="connsiteX1318" fmla="*/ 446949 w 1085953"/>
                  <a:gd name="connsiteY1318" fmla="*/ 291701 h 1052131"/>
                  <a:gd name="connsiteX1319" fmla="*/ 447806 w 1085953"/>
                  <a:gd name="connsiteY1319" fmla="*/ 291701 h 1052131"/>
                  <a:gd name="connsiteX1320" fmla="*/ 453998 w 1085953"/>
                  <a:gd name="connsiteY1320" fmla="*/ 289796 h 1052131"/>
                  <a:gd name="connsiteX1321" fmla="*/ 459332 w 1085953"/>
                  <a:gd name="connsiteY1321" fmla="*/ 289796 h 1052131"/>
                  <a:gd name="connsiteX1322" fmla="*/ 466475 w 1085953"/>
                  <a:gd name="connsiteY1322" fmla="*/ 285509 h 1052131"/>
                  <a:gd name="connsiteX1323" fmla="*/ 471905 w 1085953"/>
                  <a:gd name="connsiteY1323" fmla="*/ 286462 h 1052131"/>
                  <a:gd name="connsiteX1324" fmla="*/ 478763 w 1085953"/>
                  <a:gd name="connsiteY1324" fmla="*/ 284652 h 1052131"/>
                  <a:gd name="connsiteX1325" fmla="*/ 486002 w 1085953"/>
                  <a:gd name="connsiteY1325" fmla="*/ 284652 h 1052131"/>
                  <a:gd name="connsiteX1326" fmla="*/ 494479 w 1085953"/>
                  <a:gd name="connsiteY1326" fmla="*/ 279699 h 1052131"/>
                  <a:gd name="connsiteX1327" fmla="*/ 489335 w 1085953"/>
                  <a:gd name="connsiteY1327" fmla="*/ 276270 h 1052131"/>
                  <a:gd name="connsiteX1328" fmla="*/ 490859 w 1085953"/>
                  <a:gd name="connsiteY1328" fmla="*/ 274080 h 1052131"/>
                  <a:gd name="connsiteX1329" fmla="*/ 495527 w 1085953"/>
                  <a:gd name="connsiteY1329" fmla="*/ 268174 h 1052131"/>
                  <a:gd name="connsiteX1330" fmla="*/ 490097 w 1085953"/>
                  <a:gd name="connsiteY1330" fmla="*/ 263983 h 1052131"/>
                  <a:gd name="connsiteX1331" fmla="*/ 485906 w 1085953"/>
                  <a:gd name="connsiteY1331" fmla="*/ 263507 h 1052131"/>
                  <a:gd name="connsiteX1332" fmla="*/ 559821 w 1085953"/>
                  <a:gd name="connsiteY1332" fmla="*/ 41479 h 1052131"/>
                  <a:gd name="connsiteX1333" fmla="*/ 560678 w 1085953"/>
                  <a:gd name="connsiteY1333" fmla="*/ 41955 h 1052131"/>
                  <a:gd name="connsiteX1334" fmla="*/ 560678 w 1085953"/>
                  <a:gd name="connsiteY1334" fmla="*/ 42432 h 1052131"/>
                  <a:gd name="connsiteX1335" fmla="*/ 560678 w 1085953"/>
                  <a:gd name="connsiteY1335" fmla="*/ 43860 h 1052131"/>
                  <a:gd name="connsiteX1336" fmla="*/ 560678 w 1085953"/>
                  <a:gd name="connsiteY1336" fmla="*/ 43860 h 1052131"/>
                  <a:gd name="connsiteX1337" fmla="*/ 562488 w 1085953"/>
                  <a:gd name="connsiteY1337" fmla="*/ 43860 h 1052131"/>
                  <a:gd name="connsiteX1338" fmla="*/ 562488 w 1085953"/>
                  <a:gd name="connsiteY1338" fmla="*/ 43860 h 1052131"/>
                  <a:gd name="connsiteX1339" fmla="*/ 563630 w 1085953"/>
                  <a:gd name="connsiteY1339" fmla="*/ 43098 h 1052131"/>
                  <a:gd name="connsiteX1340" fmla="*/ 564107 w 1085953"/>
                  <a:gd name="connsiteY1340" fmla="*/ 43098 h 1052131"/>
                  <a:gd name="connsiteX1341" fmla="*/ 567536 w 1085953"/>
                  <a:gd name="connsiteY1341" fmla="*/ 42241 h 1052131"/>
                  <a:gd name="connsiteX1342" fmla="*/ 569536 w 1085953"/>
                  <a:gd name="connsiteY1342" fmla="*/ 40908 h 1052131"/>
                  <a:gd name="connsiteX1343" fmla="*/ 569536 w 1085953"/>
                  <a:gd name="connsiteY1343" fmla="*/ 40336 h 1052131"/>
                  <a:gd name="connsiteX1344" fmla="*/ 569060 w 1085953"/>
                  <a:gd name="connsiteY1344" fmla="*/ 40336 h 1052131"/>
                  <a:gd name="connsiteX1345" fmla="*/ 564488 w 1085953"/>
                  <a:gd name="connsiteY1345" fmla="*/ 38907 h 1052131"/>
                  <a:gd name="connsiteX1346" fmla="*/ 563630 w 1085953"/>
                  <a:gd name="connsiteY1346" fmla="*/ 36526 h 1052131"/>
                  <a:gd name="connsiteX1347" fmla="*/ 561440 w 1085953"/>
                  <a:gd name="connsiteY1347" fmla="*/ 38526 h 1052131"/>
                  <a:gd name="connsiteX1348" fmla="*/ 562106 w 1085953"/>
                  <a:gd name="connsiteY1348" fmla="*/ 39193 h 1052131"/>
                  <a:gd name="connsiteX1349" fmla="*/ 563249 w 1085953"/>
                  <a:gd name="connsiteY1349" fmla="*/ 39860 h 1052131"/>
                  <a:gd name="connsiteX1350" fmla="*/ 562802 w 1085953"/>
                  <a:gd name="connsiteY1350" fmla="*/ 40689 h 1052131"/>
                  <a:gd name="connsiteX1351" fmla="*/ 562583 w 1085953"/>
                  <a:gd name="connsiteY1351" fmla="*/ 40717 h 1052131"/>
                  <a:gd name="connsiteX1352" fmla="*/ 559821 w 1085953"/>
                  <a:gd name="connsiteY1352" fmla="*/ 40146 h 1052131"/>
                  <a:gd name="connsiteX1353" fmla="*/ 558963 w 1085953"/>
                  <a:gd name="connsiteY1353" fmla="*/ 40812 h 1052131"/>
                  <a:gd name="connsiteX1354" fmla="*/ 559439 w 1085953"/>
                  <a:gd name="connsiteY1354" fmla="*/ 41479 h 1052131"/>
                  <a:gd name="connsiteX1355" fmla="*/ 433233 w 1085953"/>
                  <a:gd name="connsiteY1355" fmla="*/ 276175 h 1052131"/>
                  <a:gd name="connsiteX1356" fmla="*/ 433233 w 1085953"/>
                  <a:gd name="connsiteY1356" fmla="*/ 276175 h 1052131"/>
                  <a:gd name="connsiteX1357" fmla="*/ 438948 w 1085953"/>
                  <a:gd name="connsiteY1357" fmla="*/ 272270 h 1052131"/>
                  <a:gd name="connsiteX1358" fmla="*/ 441330 w 1085953"/>
                  <a:gd name="connsiteY1358" fmla="*/ 272270 h 1052131"/>
                  <a:gd name="connsiteX1359" fmla="*/ 447330 w 1085953"/>
                  <a:gd name="connsiteY1359" fmla="*/ 271413 h 1052131"/>
                  <a:gd name="connsiteX1360" fmla="*/ 450378 w 1085953"/>
                  <a:gd name="connsiteY1360" fmla="*/ 265602 h 1052131"/>
                  <a:gd name="connsiteX1361" fmla="*/ 450950 w 1085953"/>
                  <a:gd name="connsiteY1361" fmla="*/ 260268 h 1052131"/>
                  <a:gd name="connsiteX1362" fmla="*/ 450378 w 1085953"/>
                  <a:gd name="connsiteY1362" fmla="*/ 254077 h 1052131"/>
                  <a:gd name="connsiteX1363" fmla="*/ 453617 w 1085953"/>
                  <a:gd name="connsiteY1363" fmla="*/ 251410 h 1052131"/>
                  <a:gd name="connsiteX1364" fmla="*/ 451712 w 1085953"/>
                  <a:gd name="connsiteY1364" fmla="*/ 248838 h 1052131"/>
                  <a:gd name="connsiteX1365" fmla="*/ 452569 w 1085953"/>
                  <a:gd name="connsiteY1365" fmla="*/ 246362 h 1052131"/>
                  <a:gd name="connsiteX1366" fmla="*/ 450473 w 1085953"/>
                  <a:gd name="connsiteY1366" fmla="*/ 244647 h 1052131"/>
                  <a:gd name="connsiteX1367" fmla="*/ 448473 w 1085953"/>
                  <a:gd name="connsiteY1367" fmla="*/ 243885 h 1052131"/>
                  <a:gd name="connsiteX1368" fmla="*/ 445997 w 1085953"/>
                  <a:gd name="connsiteY1368" fmla="*/ 244838 h 1052131"/>
                  <a:gd name="connsiteX1369" fmla="*/ 444568 w 1085953"/>
                  <a:gd name="connsiteY1369" fmla="*/ 245409 h 1052131"/>
                  <a:gd name="connsiteX1370" fmla="*/ 443615 w 1085953"/>
                  <a:gd name="connsiteY1370" fmla="*/ 243980 h 1052131"/>
                  <a:gd name="connsiteX1371" fmla="*/ 441615 w 1085953"/>
                  <a:gd name="connsiteY1371" fmla="*/ 243980 h 1052131"/>
                  <a:gd name="connsiteX1372" fmla="*/ 436567 w 1085953"/>
                  <a:gd name="connsiteY1372" fmla="*/ 246552 h 1052131"/>
                  <a:gd name="connsiteX1373" fmla="*/ 435805 w 1085953"/>
                  <a:gd name="connsiteY1373" fmla="*/ 250362 h 1052131"/>
                  <a:gd name="connsiteX1374" fmla="*/ 435805 w 1085953"/>
                  <a:gd name="connsiteY1374" fmla="*/ 251600 h 1052131"/>
                  <a:gd name="connsiteX1375" fmla="*/ 435329 w 1085953"/>
                  <a:gd name="connsiteY1375" fmla="*/ 253601 h 1052131"/>
                  <a:gd name="connsiteX1376" fmla="*/ 433900 w 1085953"/>
                  <a:gd name="connsiteY1376" fmla="*/ 252648 h 1052131"/>
                  <a:gd name="connsiteX1377" fmla="*/ 431233 w 1085953"/>
                  <a:gd name="connsiteY1377" fmla="*/ 251410 h 1052131"/>
                  <a:gd name="connsiteX1378" fmla="*/ 427137 w 1085953"/>
                  <a:gd name="connsiteY1378" fmla="*/ 252934 h 1052131"/>
                  <a:gd name="connsiteX1379" fmla="*/ 428852 w 1085953"/>
                  <a:gd name="connsiteY1379" fmla="*/ 255125 h 1052131"/>
                  <a:gd name="connsiteX1380" fmla="*/ 428852 w 1085953"/>
                  <a:gd name="connsiteY1380" fmla="*/ 255125 h 1052131"/>
                  <a:gd name="connsiteX1381" fmla="*/ 426280 w 1085953"/>
                  <a:gd name="connsiteY1381" fmla="*/ 255125 h 1052131"/>
                  <a:gd name="connsiteX1382" fmla="*/ 425518 w 1085953"/>
                  <a:gd name="connsiteY1382" fmla="*/ 256268 h 1052131"/>
                  <a:gd name="connsiteX1383" fmla="*/ 427232 w 1085953"/>
                  <a:gd name="connsiteY1383" fmla="*/ 257601 h 1052131"/>
                  <a:gd name="connsiteX1384" fmla="*/ 427232 w 1085953"/>
                  <a:gd name="connsiteY1384" fmla="*/ 258744 h 1052131"/>
                  <a:gd name="connsiteX1385" fmla="*/ 430852 w 1085953"/>
                  <a:gd name="connsiteY1385" fmla="*/ 258744 h 1052131"/>
                  <a:gd name="connsiteX1386" fmla="*/ 429138 w 1085953"/>
                  <a:gd name="connsiteY1386" fmla="*/ 260935 h 1052131"/>
                  <a:gd name="connsiteX1387" fmla="*/ 427804 w 1085953"/>
                  <a:gd name="connsiteY1387" fmla="*/ 261411 h 1052131"/>
                  <a:gd name="connsiteX1388" fmla="*/ 427042 w 1085953"/>
                  <a:gd name="connsiteY1388" fmla="*/ 263983 h 1052131"/>
                  <a:gd name="connsiteX1389" fmla="*/ 423804 w 1085953"/>
                  <a:gd name="connsiteY1389" fmla="*/ 265317 h 1052131"/>
                  <a:gd name="connsiteX1390" fmla="*/ 423327 w 1085953"/>
                  <a:gd name="connsiteY1390" fmla="*/ 265793 h 1052131"/>
                  <a:gd name="connsiteX1391" fmla="*/ 423327 w 1085953"/>
                  <a:gd name="connsiteY1391" fmla="*/ 266650 h 1052131"/>
                  <a:gd name="connsiteX1392" fmla="*/ 422470 w 1085953"/>
                  <a:gd name="connsiteY1392" fmla="*/ 269127 h 1052131"/>
                  <a:gd name="connsiteX1393" fmla="*/ 419422 w 1085953"/>
                  <a:gd name="connsiteY1393" fmla="*/ 272555 h 1052131"/>
                  <a:gd name="connsiteX1394" fmla="*/ 421422 w 1085953"/>
                  <a:gd name="connsiteY1394" fmla="*/ 273317 h 1052131"/>
                  <a:gd name="connsiteX1395" fmla="*/ 419803 w 1085953"/>
                  <a:gd name="connsiteY1395" fmla="*/ 275699 h 1052131"/>
                  <a:gd name="connsiteX1396" fmla="*/ 425899 w 1085953"/>
                  <a:gd name="connsiteY1396" fmla="*/ 273889 h 1052131"/>
                  <a:gd name="connsiteX1397" fmla="*/ 425423 w 1085953"/>
                  <a:gd name="connsiteY1397" fmla="*/ 275889 h 1052131"/>
                  <a:gd name="connsiteX1398" fmla="*/ 432852 w 1085953"/>
                  <a:gd name="connsiteY1398" fmla="*/ 276175 h 1052131"/>
                  <a:gd name="connsiteX1399" fmla="*/ 544390 w 1085953"/>
                  <a:gd name="connsiteY1399" fmla="*/ 51575 h 1052131"/>
                  <a:gd name="connsiteX1400" fmla="*/ 544390 w 1085953"/>
                  <a:gd name="connsiteY1400" fmla="*/ 51004 h 1052131"/>
                  <a:gd name="connsiteX1401" fmla="*/ 544866 w 1085953"/>
                  <a:gd name="connsiteY1401" fmla="*/ 52052 h 1052131"/>
                  <a:gd name="connsiteX1402" fmla="*/ 547057 w 1085953"/>
                  <a:gd name="connsiteY1402" fmla="*/ 53004 h 1052131"/>
                  <a:gd name="connsiteX1403" fmla="*/ 548962 w 1085953"/>
                  <a:gd name="connsiteY1403" fmla="*/ 54909 h 1052131"/>
                  <a:gd name="connsiteX1404" fmla="*/ 548962 w 1085953"/>
                  <a:gd name="connsiteY1404" fmla="*/ 54909 h 1052131"/>
                  <a:gd name="connsiteX1405" fmla="*/ 551057 w 1085953"/>
                  <a:gd name="connsiteY1405" fmla="*/ 53004 h 1052131"/>
                  <a:gd name="connsiteX1406" fmla="*/ 554105 w 1085953"/>
                  <a:gd name="connsiteY1406" fmla="*/ 48242 h 1052131"/>
                  <a:gd name="connsiteX1407" fmla="*/ 554677 w 1085953"/>
                  <a:gd name="connsiteY1407" fmla="*/ 49671 h 1052131"/>
                  <a:gd name="connsiteX1408" fmla="*/ 556296 w 1085953"/>
                  <a:gd name="connsiteY1408" fmla="*/ 49671 h 1052131"/>
                  <a:gd name="connsiteX1409" fmla="*/ 556296 w 1085953"/>
                  <a:gd name="connsiteY1409" fmla="*/ 51575 h 1052131"/>
                  <a:gd name="connsiteX1410" fmla="*/ 554201 w 1085953"/>
                  <a:gd name="connsiteY1410" fmla="*/ 51575 h 1052131"/>
                  <a:gd name="connsiteX1411" fmla="*/ 551439 w 1085953"/>
                  <a:gd name="connsiteY1411" fmla="*/ 53100 h 1052131"/>
                  <a:gd name="connsiteX1412" fmla="*/ 550772 w 1085953"/>
                  <a:gd name="connsiteY1412" fmla="*/ 55957 h 1052131"/>
                  <a:gd name="connsiteX1413" fmla="*/ 550772 w 1085953"/>
                  <a:gd name="connsiteY1413" fmla="*/ 56529 h 1052131"/>
                  <a:gd name="connsiteX1414" fmla="*/ 551820 w 1085953"/>
                  <a:gd name="connsiteY1414" fmla="*/ 57100 h 1052131"/>
                  <a:gd name="connsiteX1415" fmla="*/ 554487 w 1085953"/>
                  <a:gd name="connsiteY1415" fmla="*/ 54719 h 1052131"/>
                  <a:gd name="connsiteX1416" fmla="*/ 555630 w 1085953"/>
                  <a:gd name="connsiteY1416" fmla="*/ 54719 h 1052131"/>
                  <a:gd name="connsiteX1417" fmla="*/ 553153 w 1085953"/>
                  <a:gd name="connsiteY1417" fmla="*/ 58338 h 1052131"/>
                  <a:gd name="connsiteX1418" fmla="*/ 553153 w 1085953"/>
                  <a:gd name="connsiteY1418" fmla="*/ 61482 h 1052131"/>
                  <a:gd name="connsiteX1419" fmla="*/ 554963 w 1085953"/>
                  <a:gd name="connsiteY1419" fmla="*/ 61482 h 1052131"/>
                  <a:gd name="connsiteX1420" fmla="*/ 555820 w 1085953"/>
                  <a:gd name="connsiteY1420" fmla="*/ 63101 h 1052131"/>
                  <a:gd name="connsiteX1421" fmla="*/ 556487 w 1085953"/>
                  <a:gd name="connsiteY1421" fmla="*/ 63101 h 1052131"/>
                  <a:gd name="connsiteX1422" fmla="*/ 559058 w 1085953"/>
                  <a:gd name="connsiteY1422" fmla="*/ 58243 h 1052131"/>
                  <a:gd name="connsiteX1423" fmla="*/ 559058 w 1085953"/>
                  <a:gd name="connsiteY1423" fmla="*/ 58243 h 1052131"/>
                  <a:gd name="connsiteX1424" fmla="*/ 560678 w 1085953"/>
                  <a:gd name="connsiteY1424" fmla="*/ 57576 h 1052131"/>
                  <a:gd name="connsiteX1425" fmla="*/ 561249 w 1085953"/>
                  <a:gd name="connsiteY1425" fmla="*/ 54528 h 1052131"/>
                  <a:gd name="connsiteX1426" fmla="*/ 561249 w 1085953"/>
                  <a:gd name="connsiteY1426" fmla="*/ 54528 h 1052131"/>
                  <a:gd name="connsiteX1427" fmla="*/ 562773 w 1085953"/>
                  <a:gd name="connsiteY1427" fmla="*/ 53671 h 1052131"/>
                  <a:gd name="connsiteX1428" fmla="*/ 563726 w 1085953"/>
                  <a:gd name="connsiteY1428" fmla="*/ 51575 h 1052131"/>
                  <a:gd name="connsiteX1429" fmla="*/ 564773 w 1085953"/>
                  <a:gd name="connsiteY1429" fmla="*/ 49671 h 1052131"/>
                  <a:gd name="connsiteX1430" fmla="*/ 565916 w 1085953"/>
                  <a:gd name="connsiteY1430" fmla="*/ 48051 h 1052131"/>
                  <a:gd name="connsiteX1431" fmla="*/ 565916 w 1085953"/>
                  <a:gd name="connsiteY1431" fmla="*/ 48051 h 1052131"/>
                  <a:gd name="connsiteX1432" fmla="*/ 564392 w 1085953"/>
                  <a:gd name="connsiteY1432" fmla="*/ 46908 h 1052131"/>
                  <a:gd name="connsiteX1433" fmla="*/ 561821 w 1085953"/>
                  <a:gd name="connsiteY1433" fmla="*/ 45861 h 1052131"/>
                  <a:gd name="connsiteX1434" fmla="*/ 558011 w 1085953"/>
                  <a:gd name="connsiteY1434" fmla="*/ 45861 h 1052131"/>
                  <a:gd name="connsiteX1435" fmla="*/ 554772 w 1085953"/>
                  <a:gd name="connsiteY1435" fmla="*/ 43670 h 1052131"/>
                  <a:gd name="connsiteX1436" fmla="*/ 552581 w 1085953"/>
                  <a:gd name="connsiteY1436" fmla="*/ 43670 h 1052131"/>
                  <a:gd name="connsiteX1437" fmla="*/ 553439 w 1085953"/>
                  <a:gd name="connsiteY1437" fmla="*/ 45861 h 1052131"/>
                  <a:gd name="connsiteX1438" fmla="*/ 553439 w 1085953"/>
                  <a:gd name="connsiteY1438" fmla="*/ 45861 h 1052131"/>
                  <a:gd name="connsiteX1439" fmla="*/ 553439 w 1085953"/>
                  <a:gd name="connsiteY1439" fmla="*/ 47099 h 1052131"/>
                  <a:gd name="connsiteX1440" fmla="*/ 551534 w 1085953"/>
                  <a:gd name="connsiteY1440" fmla="*/ 45099 h 1052131"/>
                  <a:gd name="connsiteX1441" fmla="*/ 549438 w 1085953"/>
                  <a:gd name="connsiteY1441" fmla="*/ 45099 h 1052131"/>
                  <a:gd name="connsiteX1442" fmla="*/ 548390 w 1085953"/>
                  <a:gd name="connsiteY1442" fmla="*/ 44527 h 1052131"/>
                  <a:gd name="connsiteX1443" fmla="*/ 548390 w 1085953"/>
                  <a:gd name="connsiteY1443" fmla="*/ 44527 h 1052131"/>
                  <a:gd name="connsiteX1444" fmla="*/ 547438 w 1085953"/>
                  <a:gd name="connsiteY1444" fmla="*/ 45099 h 1052131"/>
                  <a:gd name="connsiteX1445" fmla="*/ 546485 w 1085953"/>
                  <a:gd name="connsiteY1445" fmla="*/ 46242 h 1052131"/>
                  <a:gd name="connsiteX1446" fmla="*/ 545342 w 1085953"/>
                  <a:gd name="connsiteY1446" fmla="*/ 45479 h 1052131"/>
                  <a:gd name="connsiteX1447" fmla="*/ 544485 w 1085953"/>
                  <a:gd name="connsiteY1447" fmla="*/ 44813 h 1052131"/>
                  <a:gd name="connsiteX1448" fmla="*/ 543247 w 1085953"/>
                  <a:gd name="connsiteY1448" fmla="*/ 46337 h 1052131"/>
                  <a:gd name="connsiteX1449" fmla="*/ 542390 w 1085953"/>
                  <a:gd name="connsiteY1449" fmla="*/ 48718 h 1052131"/>
                  <a:gd name="connsiteX1450" fmla="*/ 542866 w 1085953"/>
                  <a:gd name="connsiteY1450" fmla="*/ 52338 h 1052131"/>
                  <a:gd name="connsiteX1451" fmla="*/ 544009 w 1085953"/>
                  <a:gd name="connsiteY1451" fmla="*/ 51575 h 1052131"/>
                  <a:gd name="connsiteX1452" fmla="*/ 430090 w 1085953"/>
                  <a:gd name="connsiteY1452" fmla="*/ 92628 h 1052131"/>
                  <a:gd name="connsiteX1453" fmla="*/ 432185 w 1085953"/>
                  <a:gd name="connsiteY1453" fmla="*/ 92628 h 1052131"/>
                  <a:gd name="connsiteX1454" fmla="*/ 432185 w 1085953"/>
                  <a:gd name="connsiteY1454" fmla="*/ 92628 h 1052131"/>
                  <a:gd name="connsiteX1455" fmla="*/ 434090 w 1085953"/>
                  <a:gd name="connsiteY1455" fmla="*/ 93867 h 1052131"/>
                  <a:gd name="connsiteX1456" fmla="*/ 435805 w 1085953"/>
                  <a:gd name="connsiteY1456" fmla="*/ 93867 h 1052131"/>
                  <a:gd name="connsiteX1457" fmla="*/ 435805 w 1085953"/>
                  <a:gd name="connsiteY1457" fmla="*/ 93867 h 1052131"/>
                  <a:gd name="connsiteX1458" fmla="*/ 434472 w 1085953"/>
                  <a:gd name="connsiteY1458" fmla="*/ 90628 h 1052131"/>
                  <a:gd name="connsiteX1459" fmla="*/ 432090 w 1085953"/>
                  <a:gd name="connsiteY1459" fmla="*/ 90057 h 1052131"/>
                  <a:gd name="connsiteX1460" fmla="*/ 431138 w 1085953"/>
                  <a:gd name="connsiteY1460" fmla="*/ 90057 h 1052131"/>
                  <a:gd name="connsiteX1461" fmla="*/ 426566 w 1085953"/>
                  <a:gd name="connsiteY1461" fmla="*/ 91580 h 1052131"/>
                  <a:gd name="connsiteX1462" fmla="*/ 426566 w 1085953"/>
                  <a:gd name="connsiteY1462" fmla="*/ 92152 h 1052131"/>
                  <a:gd name="connsiteX1463" fmla="*/ 571631 w 1085953"/>
                  <a:gd name="connsiteY1463" fmla="*/ 51099 h 1052131"/>
                  <a:gd name="connsiteX1464" fmla="*/ 572108 w 1085953"/>
                  <a:gd name="connsiteY1464" fmla="*/ 51099 h 1052131"/>
                  <a:gd name="connsiteX1465" fmla="*/ 571346 w 1085953"/>
                  <a:gd name="connsiteY1465" fmla="*/ 50433 h 1052131"/>
                  <a:gd name="connsiteX1466" fmla="*/ 571346 w 1085953"/>
                  <a:gd name="connsiteY1466" fmla="*/ 50433 h 1052131"/>
                  <a:gd name="connsiteX1467" fmla="*/ 571346 w 1085953"/>
                  <a:gd name="connsiteY1467" fmla="*/ 50433 h 1052131"/>
                  <a:gd name="connsiteX1468" fmla="*/ 571346 w 1085953"/>
                  <a:gd name="connsiteY1468" fmla="*/ 50433 h 1052131"/>
                  <a:gd name="connsiteX1469" fmla="*/ 569060 w 1085953"/>
                  <a:gd name="connsiteY1469" fmla="*/ 50433 h 1052131"/>
                  <a:gd name="connsiteX1470" fmla="*/ 567440 w 1085953"/>
                  <a:gd name="connsiteY1470" fmla="*/ 50433 h 1052131"/>
                  <a:gd name="connsiteX1471" fmla="*/ 568012 w 1085953"/>
                  <a:gd name="connsiteY1471" fmla="*/ 51385 h 1052131"/>
                  <a:gd name="connsiteX1472" fmla="*/ 568012 w 1085953"/>
                  <a:gd name="connsiteY1472" fmla="*/ 52147 h 1052131"/>
                  <a:gd name="connsiteX1473" fmla="*/ 568012 w 1085953"/>
                  <a:gd name="connsiteY1473" fmla="*/ 52147 h 1052131"/>
                  <a:gd name="connsiteX1474" fmla="*/ 568964 w 1085953"/>
                  <a:gd name="connsiteY1474" fmla="*/ 52719 h 1052131"/>
                  <a:gd name="connsiteX1475" fmla="*/ 568964 w 1085953"/>
                  <a:gd name="connsiteY1475" fmla="*/ 52719 h 1052131"/>
                  <a:gd name="connsiteX1476" fmla="*/ 570393 w 1085953"/>
                  <a:gd name="connsiteY1476" fmla="*/ 52052 h 1052131"/>
                  <a:gd name="connsiteX1477" fmla="*/ 571631 w 1085953"/>
                  <a:gd name="connsiteY1477" fmla="*/ 51099 h 1052131"/>
                  <a:gd name="connsiteX1478" fmla="*/ 390656 w 1085953"/>
                  <a:gd name="connsiteY1478" fmla="*/ 167400 h 1052131"/>
                  <a:gd name="connsiteX1479" fmla="*/ 390656 w 1085953"/>
                  <a:gd name="connsiteY1479" fmla="*/ 167400 h 1052131"/>
                  <a:gd name="connsiteX1480" fmla="*/ 397038 w 1085953"/>
                  <a:gd name="connsiteY1480" fmla="*/ 168924 h 1052131"/>
                  <a:gd name="connsiteX1481" fmla="*/ 403134 w 1085953"/>
                  <a:gd name="connsiteY1481" fmla="*/ 172638 h 1052131"/>
                  <a:gd name="connsiteX1482" fmla="*/ 407039 w 1085953"/>
                  <a:gd name="connsiteY1482" fmla="*/ 174353 h 1052131"/>
                  <a:gd name="connsiteX1483" fmla="*/ 412088 w 1085953"/>
                  <a:gd name="connsiteY1483" fmla="*/ 171591 h 1052131"/>
                  <a:gd name="connsiteX1484" fmla="*/ 419422 w 1085953"/>
                  <a:gd name="connsiteY1484" fmla="*/ 170352 h 1052131"/>
                  <a:gd name="connsiteX1485" fmla="*/ 423422 w 1085953"/>
                  <a:gd name="connsiteY1485" fmla="*/ 168162 h 1052131"/>
                  <a:gd name="connsiteX1486" fmla="*/ 428661 w 1085953"/>
                  <a:gd name="connsiteY1486" fmla="*/ 166828 h 1052131"/>
                  <a:gd name="connsiteX1487" fmla="*/ 429709 w 1085953"/>
                  <a:gd name="connsiteY1487" fmla="*/ 164256 h 1052131"/>
                  <a:gd name="connsiteX1488" fmla="*/ 432471 w 1085953"/>
                  <a:gd name="connsiteY1488" fmla="*/ 162637 h 1052131"/>
                  <a:gd name="connsiteX1489" fmla="*/ 433233 w 1085953"/>
                  <a:gd name="connsiteY1489" fmla="*/ 161399 h 1052131"/>
                  <a:gd name="connsiteX1490" fmla="*/ 433233 w 1085953"/>
                  <a:gd name="connsiteY1490" fmla="*/ 159017 h 1052131"/>
                  <a:gd name="connsiteX1491" fmla="*/ 434567 w 1085953"/>
                  <a:gd name="connsiteY1491" fmla="*/ 155874 h 1052131"/>
                  <a:gd name="connsiteX1492" fmla="*/ 434567 w 1085953"/>
                  <a:gd name="connsiteY1492" fmla="*/ 155874 h 1052131"/>
                  <a:gd name="connsiteX1493" fmla="*/ 432947 w 1085953"/>
                  <a:gd name="connsiteY1493" fmla="*/ 153969 h 1052131"/>
                  <a:gd name="connsiteX1494" fmla="*/ 431328 w 1085953"/>
                  <a:gd name="connsiteY1494" fmla="*/ 152159 h 1052131"/>
                  <a:gd name="connsiteX1495" fmla="*/ 433709 w 1085953"/>
                  <a:gd name="connsiteY1495" fmla="*/ 148635 h 1052131"/>
                  <a:gd name="connsiteX1496" fmla="*/ 432947 w 1085953"/>
                  <a:gd name="connsiteY1496" fmla="*/ 148635 h 1052131"/>
                  <a:gd name="connsiteX1497" fmla="*/ 433805 w 1085953"/>
                  <a:gd name="connsiteY1497" fmla="*/ 147111 h 1052131"/>
                  <a:gd name="connsiteX1498" fmla="*/ 432471 w 1085953"/>
                  <a:gd name="connsiteY1498" fmla="*/ 147111 h 1052131"/>
                  <a:gd name="connsiteX1499" fmla="*/ 430090 w 1085953"/>
                  <a:gd name="connsiteY1499" fmla="*/ 147969 h 1052131"/>
                  <a:gd name="connsiteX1500" fmla="*/ 428280 w 1085953"/>
                  <a:gd name="connsiteY1500" fmla="*/ 148635 h 1052131"/>
                  <a:gd name="connsiteX1501" fmla="*/ 428280 w 1085953"/>
                  <a:gd name="connsiteY1501" fmla="*/ 147492 h 1052131"/>
                  <a:gd name="connsiteX1502" fmla="*/ 425994 w 1085953"/>
                  <a:gd name="connsiteY1502" fmla="*/ 146825 h 1052131"/>
                  <a:gd name="connsiteX1503" fmla="*/ 425232 w 1085953"/>
                  <a:gd name="connsiteY1503" fmla="*/ 146825 h 1052131"/>
                  <a:gd name="connsiteX1504" fmla="*/ 422851 w 1085953"/>
                  <a:gd name="connsiteY1504" fmla="*/ 150159 h 1052131"/>
                  <a:gd name="connsiteX1505" fmla="*/ 422851 w 1085953"/>
                  <a:gd name="connsiteY1505" fmla="*/ 150921 h 1052131"/>
                  <a:gd name="connsiteX1506" fmla="*/ 417041 w 1085953"/>
                  <a:gd name="connsiteY1506" fmla="*/ 149588 h 1052131"/>
                  <a:gd name="connsiteX1507" fmla="*/ 415517 w 1085953"/>
                  <a:gd name="connsiteY1507" fmla="*/ 153398 h 1052131"/>
                  <a:gd name="connsiteX1508" fmla="*/ 414469 w 1085953"/>
                  <a:gd name="connsiteY1508" fmla="*/ 150731 h 1052131"/>
                  <a:gd name="connsiteX1509" fmla="*/ 411516 w 1085953"/>
                  <a:gd name="connsiteY1509" fmla="*/ 149778 h 1052131"/>
                  <a:gd name="connsiteX1510" fmla="*/ 410849 w 1085953"/>
                  <a:gd name="connsiteY1510" fmla="*/ 151969 h 1052131"/>
                  <a:gd name="connsiteX1511" fmla="*/ 410849 w 1085953"/>
                  <a:gd name="connsiteY1511" fmla="*/ 151969 h 1052131"/>
                  <a:gd name="connsiteX1512" fmla="*/ 408754 w 1085953"/>
                  <a:gd name="connsiteY1512" fmla="*/ 150064 h 1052131"/>
                  <a:gd name="connsiteX1513" fmla="*/ 406468 w 1085953"/>
                  <a:gd name="connsiteY1513" fmla="*/ 156065 h 1052131"/>
                  <a:gd name="connsiteX1514" fmla="*/ 406468 w 1085953"/>
                  <a:gd name="connsiteY1514" fmla="*/ 157589 h 1052131"/>
                  <a:gd name="connsiteX1515" fmla="*/ 402087 w 1085953"/>
                  <a:gd name="connsiteY1515" fmla="*/ 154922 h 1052131"/>
                  <a:gd name="connsiteX1516" fmla="*/ 402087 w 1085953"/>
                  <a:gd name="connsiteY1516" fmla="*/ 154922 h 1052131"/>
                  <a:gd name="connsiteX1517" fmla="*/ 402944 w 1085953"/>
                  <a:gd name="connsiteY1517" fmla="*/ 155398 h 1052131"/>
                  <a:gd name="connsiteX1518" fmla="*/ 403801 w 1085953"/>
                  <a:gd name="connsiteY1518" fmla="*/ 152064 h 1052131"/>
                  <a:gd name="connsiteX1519" fmla="*/ 405134 w 1085953"/>
                  <a:gd name="connsiteY1519" fmla="*/ 149302 h 1052131"/>
                  <a:gd name="connsiteX1520" fmla="*/ 399991 w 1085953"/>
                  <a:gd name="connsiteY1520" fmla="*/ 148540 h 1052131"/>
                  <a:gd name="connsiteX1521" fmla="*/ 399229 w 1085953"/>
                  <a:gd name="connsiteY1521" fmla="*/ 149492 h 1052131"/>
                  <a:gd name="connsiteX1522" fmla="*/ 399896 w 1085953"/>
                  <a:gd name="connsiteY1522" fmla="*/ 150636 h 1052131"/>
                  <a:gd name="connsiteX1523" fmla="*/ 398372 w 1085953"/>
                  <a:gd name="connsiteY1523" fmla="*/ 151874 h 1052131"/>
                  <a:gd name="connsiteX1524" fmla="*/ 397514 w 1085953"/>
                  <a:gd name="connsiteY1524" fmla="*/ 148635 h 1052131"/>
                  <a:gd name="connsiteX1525" fmla="*/ 393895 w 1085953"/>
                  <a:gd name="connsiteY1525" fmla="*/ 150731 h 1052131"/>
                  <a:gd name="connsiteX1526" fmla="*/ 395133 w 1085953"/>
                  <a:gd name="connsiteY1526" fmla="*/ 152921 h 1052131"/>
                  <a:gd name="connsiteX1527" fmla="*/ 392942 w 1085953"/>
                  <a:gd name="connsiteY1527" fmla="*/ 153493 h 1052131"/>
                  <a:gd name="connsiteX1528" fmla="*/ 390180 w 1085953"/>
                  <a:gd name="connsiteY1528" fmla="*/ 154350 h 1052131"/>
                  <a:gd name="connsiteX1529" fmla="*/ 395514 w 1085953"/>
                  <a:gd name="connsiteY1529" fmla="*/ 155208 h 1052131"/>
                  <a:gd name="connsiteX1530" fmla="*/ 395514 w 1085953"/>
                  <a:gd name="connsiteY1530" fmla="*/ 155208 h 1052131"/>
                  <a:gd name="connsiteX1531" fmla="*/ 399800 w 1085953"/>
                  <a:gd name="connsiteY1531" fmla="*/ 155684 h 1052131"/>
                  <a:gd name="connsiteX1532" fmla="*/ 397514 w 1085953"/>
                  <a:gd name="connsiteY1532" fmla="*/ 158160 h 1052131"/>
                  <a:gd name="connsiteX1533" fmla="*/ 399896 w 1085953"/>
                  <a:gd name="connsiteY1533" fmla="*/ 159113 h 1052131"/>
                  <a:gd name="connsiteX1534" fmla="*/ 390371 w 1085953"/>
                  <a:gd name="connsiteY1534" fmla="*/ 160446 h 1052131"/>
                  <a:gd name="connsiteX1535" fmla="*/ 389799 w 1085953"/>
                  <a:gd name="connsiteY1535" fmla="*/ 161970 h 1052131"/>
                  <a:gd name="connsiteX1536" fmla="*/ 392180 w 1085953"/>
                  <a:gd name="connsiteY1536" fmla="*/ 161970 h 1052131"/>
                  <a:gd name="connsiteX1537" fmla="*/ 394847 w 1085953"/>
                  <a:gd name="connsiteY1537" fmla="*/ 161970 h 1052131"/>
                  <a:gd name="connsiteX1538" fmla="*/ 394847 w 1085953"/>
                  <a:gd name="connsiteY1538" fmla="*/ 164066 h 1052131"/>
                  <a:gd name="connsiteX1539" fmla="*/ 397514 w 1085953"/>
                  <a:gd name="connsiteY1539" fmla="*/ 164828 h 1052131"/>
                  <a:gd name="connsiteX1540" fmla="*/ 390656 w 1085953"/>
                  <a:gd name="connsiteY1540" fmla="*/ 167400 h 1052131"/>
                  <a:gd name="connsiteX1541" fmla="*/ 451331 w 1085953"/>
                  <a:gd name="connsiteY1541" fmla="*/ 215977 h 1052131"/>
                  <a:gd name="connsiteX1542" fmla="*/ 450473 w 1085953"/>
                  <a:gd name="connsiteY1542" fmla="*/ 217025 h 1052131"/>
                  <a:gd name="connsiteX1543" fmla="*/ 449235 w 1085953"/>
                  <a:gd name="connsiteY1543" fmla="*/ 219596 h 1052131"/>
                  <a:gd name="connsiteX1544" fmla="*/ 450473 w 1085953"/>
                  <a:gd name="connsiteY1544" fmla="*/ 219596 h 1052131"/>
                  <a:gd name="connsiteX1545" fmla="*/ 453236 w 1085953"/>
                  <a:gd name="connsiteY1545" fmla="*/ 218454 h 1052131"/>
                  <a:gd name="connsiteX1546" fmla="*/ 454283 w 1085953"/>
                  <a:gd name="connsiteY1546" fmla="*/ 217692 h 1052131"/>
                  <a:gd name="connsiteX1547" fmla="*/ 455046 w 1085953"/>
                  <a:gd name="connsiteY1547" fmla="*/ 216644 h 1052131"/>
                  <a:gd name="connsiteX1548" fmla="*/ 455046 w 1085953"/>
                  <a:gd name="connsiteY1548" fmla="*/ 216644 h 1052131"/>
                  <a:gd name="connsiteX1549" fmla="*/ 455903 w 1085953"/>
                  <a:gd name="connsiteY1549" fmla="*/ 214644 h 1052131"/>
                  <a:gd name="connsiteX1550" fmla="*/ 456760 w 1085953"/>
                  <a:gd name="connsiteY1550" fmla="*/ 213120 h 1052131"/>
                  <a:gd name="connsiteX1551" fmla="*/ 456760 w 1085953"/>
                  <a:gd name="connsiteY1551" fmla="*/ 213120 h 1052131"/>
                  <a:gd name="connsiteX1552" fmla="*/ 456760 w 1085953"/>
                  <a:gd name="connsiteY1552" fmla="*/ 213120 h 1052131"/>
                  <a:gd name="connsiteX1553" fmla="*/ 456760 w 1085953"/>
                  <a:gd name="connsiteY1553" fmla="*/ 213120 h 1052131"/>
                  <a:gd name="connsiteX1554" fmla="*/ 455331 w 1085953"/>
                  <a:gd name="connsiteY1554" fmla="*/ 213977 h 1052131"/>
                  <a:gd name="connsiteX1555" fmla="*/ 453998 w 1085953"/>
                  <a:gd name="connsiteY1555" fmla="*/ 214834 h 1052131"/>
                  <a:gd name="connsiteX1556" fmla="*/ 452379 w 1085953"/>
                  <a:gd name="connsiteY1556" fmla="*/ 215596 h 1052131"/>
                  <a:gd name="connsiteX1557" fmla="*/ 451521 w 1085953"/>
                  <a:gd name="connsiteY1557" fmla="*/ 215596 h 1052131"/>
                  <a:gd name="connsiteX1558" fmla="*/ 425042 w 1085953"/>
                  <a:gd name="connsiteY1558" fmla="*/ 94914 h 1052131"/>
                  <a:gd name="connsiteX1559" fmla="*/ 425804 w 1085953"/>
                  <a:gd name="connsiteY1559" fmla="*/ 95962 h 1052131"/>
                  <a:gd name="connsiteX1560" fmla="*/ 428280 w 1085953"/>
                  <a:gd name="connsiteY1560" fmla="*/ 97581 h 1052131"/>
                  <a:gd name="connsiteX1561" fmla="*/ 429423 w 1085953"/>
                  <a:gd name="connsiteY1561" fmla="*/ 99391 h 1052131"/>
                  <a:gd name="connsiteX1562" fmla="*/ 429995 w 1085953"/>
                  <a:gd name="connsiteY1562" fmla="*/ 99391 h 1052131"/>
                  <a:gd name="connsiteX1563" fmla="*/ 436091 w 1085953"/>
                  <a:gd name="connsiteY1563" fmla="*/ 97867 h 1052131"/>
                  <a:gd name="connsiteX1564" fmla="*/ 436091 w 1085953"/>
                  <a:gd name="connsiteY1564" fmla="*/ 97867 h 1052131"/>
                  <a:gd name="connsiteX1565" fmla="*/ 435329 w 1085953"/>
                  <a:gd name="connsiteY1565" fmla="*/ 97867 h 1052131"/>
                  <a:gd name="connsiteX1566" fmla="*/ 431805 w 1085953"/>
                  <a:gd name="connsiteY1566" fmla="*/ 96915 h 1052131"/>
                  <a:gd name="connsiteX1567" fmla="*/ 433709 w 1085953"/>
                  <a:gd name="connsiteY1567" fmla="*/ 96915 h 1052131"/>
                  <a:gd name="connsiteX1568" fmla="*/ 435424 w 1085953"/>
                  <a:gd name="connsiteY1568" fmla="*/ 96915 h 1052131"/>
                  <a:gd name="connsiteX1569" fmla="*/ 434567 w 1085953"/>
                  <a:gd name="connsiteY1569" fmla="*/ 96438 h 1052131"/>
                  <a:gd name="connsiteX1570" fmla="*/ 430947 w 1085953"/>
                  <a:gd name="connsiteY1570" fmla="*/ 95867 h 1052131"/>
                  <a:gd name="connsiteX1571" fmla="*/ 429423 w 1085953"/>
                  <a:gd name="connsiteY1571" fmla="*/ 94724 h 1052131"/>
                  <a:gd name="connsiteX1572" fmla="*/ 428756 w 1085953"/>
                  <a:gd name="connsiteY1572" fmla="*/ 94724 h 1052131"/>
                  <a:gd name="connsiteX1573" fmla="*/ 424756 w 1085953"/>
                  <a:gd name="connsiteY1573" fmla="*/ 94914 h 1052131"/>
                  <a:gd name="connsiteX1574" fmla="*/ 577442 w 1085953"/>
                  <a:gd name="connsiteY1574" fmla="*/ 54528 h 1052131"/>
                  <a:gd name="connsiteX1575" fmla="*/ 575918 w 1085953"/>
                  <a:gd name="connsiteY1575" fmla="*/ 53100 h 1052131"/>
                  <a:gd name="connsiteX1576" fmla="*/ 573537 w 1085953"/>
                  <a:gd name="connsiteY1576" fmla="*/ 53100 h 1052131"/>
                  <a:gd name="connsiteX1577" fmla="*/ 570203 w 1085953"/>
                  <a:gd name="connsiteY1577" fmla="*/ 53957 h 1052131"/>
                  <a:gd name="connsiteX1578" fmla="*/ 570203 w 1085953"/>
                  <a:gd name="connsiteY1578" fmla="*/ 55671 h 1052131"/>
                  <a:gd name="connsiteX1579" fmla="*/ 568679 w 1085953"/>
                  <a:gd name="connsiteY1579" fmla="*/ 56624 h 1052131"/>
                  <a:gd name="connsiteX1580" fmla="*/ 568679 w 1085953"/>
                  <a:gd name="connsiteY1580" fmla="*/ 56624 h 1052131"/>
                  <a:gd name="connsiteX1581" fmla="*/ 570012 w 1085953"/>
                  <a:gd name="connsiteY1581" fmla="*/ 58529 h 1052131"/>
                  <a:gd name="connsiteX1582" fmla="*/ 571822 w 1085953"/>
                  <a:gd name="connsiteY1582" fmla="*/ 58529 h 1052131"/>
                  <a:gd name="connsiteX1583" fmla="*/ 572774 w 1085953"/>
                  <a:gd name="connsiteY1583" fmla="*/ 58529 h 1052131"/>
                  <a:gd name="connsiteX1584" fmla="*/ 574203 w 1085953"/>
                  <a:gd name="connsiteY1584" fmla="*/ 59481 h 1052131"/>
                  <a:gd name="connsiteX1585" fmla="*/ 574203 w 1085953"/>
                  <a:gd name="connsiteY1585" fmla="*/ 59481 h 1052131"/>
                  <a:gd name="connsiteX1586" fmla="*/ 575822 w 1085953"/>
                  <a:gd name="connsiteY1586" fmla="*/ 58148 h 1052131"/>
                  <a:gd name="connsiteX1587" fmla="*/ 575822 w 1085953"/>
                  <a:gd name="connsiteY1587" fmla="*/ 58148 h 1052131"/>
                  <a:gd name="connsiteX1588" fmla="*/ 575822 w 1085953"/>
                  <a:gd name="connsiteY1588" fmla="*/ 58148 h 1052131"/>
                  <a:gd name="connsiteX1589" fmla="*/ 575822 w 1085953"/>
                  <a:gd name="connsiteY1589" fmla="*/ 58148 h 1052131"/>
                  <a:gd name="connsiteX1590" fmla="*/ 576775 w 1085953"/>
                  <a:gd name="connsiteY1590" fmla="*/ 58148 h 1052131"/>
                  <a:gd name="connsiteX1591" fmla="*/ 577918 w 1085953"/>
                  <a:gd name="connsiteY1591" fmla="*/ 58148 h 1052131"/>
                  <a:gd name="connsiteX1592" fmla="*/ 577918 w 1085953"/>
                  <a:gd name="connsiteY1592" fmla="*/ 58148 h 1052131"/>
                  <a:gd name="connsiteX1593" fmla="*/ 577251 w 1085953"/>
                  <a:gd name="connsiteY1593" fmla="*/ 54528 h 1052131"/>
                  <a:gd name="connsiteX1594" fmla="*/ 630591 w 1085953"/>
                  <a:gd name="connsiteY1594" fmla="*/ 32811 h 1052131"/>
                  <a:gd name="connsiteX1595" fmla="*/ 628210 w 1085953"/>
                  <a:gd name="connsiteY1595" fmla="*/ 31573 h 1052131"/>
                  <a:gd name="connsiteX1596" fmla="*/ 628210 w 1085953"/>
                  <a:gd name="connsiteY1596" fmla="*/ 31573 h 1052131"/>
                  <a:gd name="connsiteX1597" fmla="*/ 629639 w 1085953"/>
                  <a:gd name="connsiteY1597" fmla="*/ 33383 h 1052131"/>
                  <a:gd name="connsiteX1598" fmla="*/ 630115 w 1085953"/>
                  <a:gd name="connsiteY1598" fmla="*/ 34145 h 1052131"/>
                  <a:gd name="connsiteX1599" fmla="*/ 630115 w 1085953"/>
                  <a:gd name="connsiteY1599" fmla="*/ 34145 h 1052131"/>
                  <a:gd name="connsiteX1600" fmla="*/ 630115 w 1085953"/>
                  <a:gd name="connsiteY1600" fmla="*/ 33383 h 1052131"/>
                  <a:gd name="connsiteX1601" fmla="*/ 630591 w 1085953"/>
                  <a:gd name="connsiteY1601" fmla="*/ 33383 h 1052131"/>
                  <a:gd name="connsiteX1602" fmla="*/ 384751 w 1085953"/>
                  <a:gd name="connsiteY1602" fmla="*/ 10618 h 1052131"/>
                  <a:gd name="connsiteX1603" fmla="*/ 384751 w 1085953"/>
                  <a:gd name="connsiteY1603" fmla="*/ 10618 h 1052131"/>
                  <a:gd name="connsiteX1604" fmla="*/ 385418 w 1085953"/>
                  <a:gd name="connsiteY1604" fmla="*/ 10618 h 1052131"/>
                  <a:gd name="connsiteX1605" fmla="*/ 385418 w 1085953"/>
                  <a:gd name="connsiteY1605" fmla="*/ 10618 h 1052131"/>
                  <a:gd name="connsiteX1606" fmla="*/ 384941 w 1085953"/>
                  <a:gd name="connsiteY1606" fmla="*/ 10618 h 1052131"/>
                  <a:gd name="connsiteX1607" fmla="*/ 384941 w 1085953"/>
                  <a:gd name="connsiteY1607" fmla="*/ 10618 h 1052131"/>
                  <a:gd name="connsiteX1608" fmla="*/ 387418 w 1085953"/>
                  <a:gd name="connsiteY1608" fmla="*/ 10046 h 1052131"/>
                  <a:gd name="connsiteX1609" fmla="*/ 390847 w 1085953"/>
                  <a:gd name="connsiteY1609" fmla="*/ 8618 h 1052131"/>
                  <a:gd name="connsiteX1610" fmla="*/ 390847 w 1085953"/>
                  <a:gd name="connsiteY1610" fmla="*/ 8618 h 1052131"/>
                  <a:gd name="connsiteX1611" fmla="*/ 385037 w 1085953"/>
                  <a:gd name="connsiteY1611" fmla="*/ 10237 h 1052131"/>
                  <a:gd name="connsiteX1612" fmla="*/ 385037 w 1085953"/>
                  <a:gd name="connsiteY1612" fmla="*/ 10237 h 1052131"/>
                  <a:gd name="connsiteX1613" fmla="*/ 629543 w 1085953"/>
                  <a:gd name="connsiteY1613" fmla="*/ 25001 h 1052131"/>
                  <a:gd name="connsiteX1614" fmla="*/ 629543 w 1085953"/>
                  <a:gd name="connsiteY1614" fmla="*/ 26144 h 1052131"/>
                  <a:gd name="connsiteX1615" fmla="*/ 629543 w 1085953"/>
                  <a:gd name="connsiteY1615" fmla="*/ 26144 h 1052131"/>
                  <a:gd name="connsiteX1616" fmla="*/ 630401 w 1085953"/>
                  <a:gd name="connsiteY1616" fmla="*/ 27287 h 1052131"/>
                  <a:gd name="connsiteX1617" fmla="*/ 630401 w 1085953"/>
                  <a:gd name="connsiteY1617" fmla="*/ 27287 h 1052131"/>
                  <a:gd name="connsiteX1618" fmla="*/ 635544 w 1085953"/>
                  <a:gd name="connsiteY1618" fmla="*/ 27287 h 1052131"/>
                  <a:gd name="connsiteX1619" fmla="*/ 635544 w 1085953"/>
                  <a:gd name="connsiteY1619" fmla="*/ 26525 h 1052131"/>
                  <a:gd name="connsiteX1620" fmla="*/ 635544 w 1085953"/>
                  <a:gd name="connsiteY1620" fmla="*/ 26525 h 1052131"/>
                  <a:gd name="connsiteX1621" fmla="*/ 634878 w 1085953"/>
                  <a:gd name="connsiteY1621" fmla="*/ 26525 h 1052131"/>
                  <a:gd name="connsiteX1622" fmla="*/ 633163 w 1085953"/>
                  <a:gd name="connsiteY1622" fmla="*/ 26525 h 1052131"/>
                  <a:gd name="connsiteX1623" fmla="*/ 630877 w 1085953"/>
                  <a:gd name="connsiteY1623" fmla="*/ 26525 h 1052131"/>
                  <a:gd name="connsiteX1624" fmla="*/ 632115 w 1085953"/>
                  <a:gd name="connsiteY1624" fmla="*/ 32145 h 1052131"/>
                  <a:gd name="connsiteX1625" fmla="*/ 632115 w 1085953"/>
                  <a:gd name="connsiteY1625" fmla="*/ 32145 h 1052131"/>
                  <a:gd name="connsiteX1626" fmla="*/ 634687 w 1085953"/>
                  <a:gd name="connsiteY1626" fmla="*/ 32145 h 1052131"/>
                  <a:gd name="connsiteX1627" fmla="*/ 635258 w 1085953"/>
                  <a:gd name="connsiteY1627" fmla="*/ 32145 h 1052131"/>
                  <a:gd name="connsiteX1628" fmla="*/ 635258 w 1085953"/>
                  <a:gd name="connsiteY1628" fmla="*/ 31287 h 1052131"/>
                  <a:gd name="connsiteX1629" fmla="*/ 634306 w 1085953"/>
                  <a:gd name="connsiteY1629" fmla="*/ 31287 h 1052131"/>
                  <a:gd name="connsiteX1630" fmla="*/ 634306 w 1085953"/>
                  <a:gd name="connsiteY1630" fmla="*/ 31287 h 1052131"/>
                  <a:gd name="connsiteX1631" fmla="*/ 632115 w 1085953"/>
                  <a:gd name="connsiteY1631" fmla="*/ 31287 h 1052131"/>
                  <a:gd name="connsiteX1632" fmla="*/ 631163 w 1085953"/>
                  <a:gd name="connsiteY1632" fmla="*/ 31287 h 1052131"/>
                  <a:gd name="connsiteX1633" fmla="*/ 631163 w 1085953"/>
                  <a:gd name="connsiteY1633" fmla="*/ 31954 h 1052131"/>
                  <a:gd name="connsiteX1634" fmla="*/ 631163 w 1085953"/>
                  <a:gd name="connsiteY1634" fmla="*/ 32525 h 1052131"/>
                  <a:gd name="connsiteX1635" fmla="*/ 626496 w 1085953"/>
                  <a:gd name="connsiteY1635" fmla="*/ 21191 h 1052131"/>
                  <a:gd name="connsiteX1636" fmla="*/ 626496 w 1085953"/>
                  <a:gd name="connsiteY1636" fmla="*/ 21191 h 1052131"/>
                  <a:gd name="connsiteX1637" fmla="*/ 627162 w 1085953"/>
                  <a:gd name="connsiteY1637" fmla="*/ 21191 h 1052131"/>
                  <a:gd name="connsiteX1638" fmla="*/ 628305 w 1085953"/>
                  <a:gd name="connsiteY1638" fmla="*/ 21191 h 1052131"/>
                  <a:gd name="connsiteX1639" fmla="*/ 628305 w 1085953"/>
                  <a:gd name="connsiteY1639" fmla="*/ 21191 h 1052131"/>
                  <a:gd name="connsiteX1640" fmla="*/ 628305 w 1085953"/>
                  <a:gd name="connsiteY1640" fmla="*/ 21191 h 1052131"/>
                  <a:gd name="connsiteX1641" fmla="*/ 628305 w 1085953"/>
                  <a:gd name="connsiteY1641" fmla="*/ 21191 h 1052131"/>
                  <a:gd name="connsiteX1642" fmla="*/ 626210 w 1085953"/>
                  <a:gd name="connsiteY1642" fmla="*/ 21191 h 1052131"/>
                  <a:gd name="connsiteX1643" fmla="*/ 626210 w 1085953"/>
                  <a:gd name="connsiteY1643" fmla="*/ 21191 h 1052131"/>
                  <a:gd name="connsiteX1644" fmla="*/ 626305 w 1085953"/>
                  <a:gd name="connsiteY1644" fmla="*/ 20810 h 1052131"/>
                  <a:gd name="connsiteX1645" fmla="*/ 584490 w 1085953"/>
                  <a:gd name="connsiteY1645" fmla="*/ 48051 h 1052131"/>
                  <a:gd name="connsiteX1646" fmla="*/ 585538 w 1085953"/>
                  <a:gd name="connsiteY1646" fmla="*/ 48051 h 1052131"/>
                  <a:gd name="connsiteX1647" fmla="*/ 586490 w 1085953"/>
                  <a:gd name="connsiteY1647" fmla="*/ 47384 h 1052131"/>
                  <a:gd name="connsiteX1648" fmla="*/ 586490 w 1085953"/>
                  <a:gd name="connsiteY1648" fmla="*/ 47384 h 1052131"/>
                  <a:gd name="connsiteX1649" fmla="*/ 587538 w 1085953"/>
                  <a:gd name="connsiteY1649" fmla="*/ 47384 h 1052131"/>
                  <a:gd name="connsiteX1650" fmla="*/ 588110 w 1085953"/>
                  <a:gd name="connsiteY1650" fmla="*/ 46718 h 1052131"/>
                  <a:gd name="connsiteX1651" fmla="*/ 588110 w 1085953"/>
                  <a:gd name="connsiteY1651" fmla="*/ 46146 h 1052131"/>
                  <a:gd name="connsiteX1652" fmla="*/ 588110 w 1085953"/>
                  <a:gd name="connsiteY1652" fmla="*/ 46146 h 1052131"/>
                  <a:gd name="connsiteX1653" fmla="*/ 588110 w 1085953"/>
                  <a:gd name="connsiteY1653" fmla="*/ 46146 h 1052131"/>
                  <a:gd name="connsiteX1654" fmla="*/ 586300 w 1085953"/>
                  <a:gd name="connsiteY1654" fmla="*/ 46813 h 1052131"/>
                  <a:gd name="connsiteX1655" fmla="*/ 585157 w 1085953"/>
                  <a:gd name="connsiteY1655" fmla="*/ 47480 h 1052131"/>
                  <a:gd name="connsiteX1656" fmla="*/ 585157 w 1085953"/>
                  <a:gd name="connsiteY1656" fmla="*/ 47480 h 1052131"/>
                  <a:gd name="connsiteX1657" fmla="*/ 585157 w 1085953"/>
                  <a:gd name="connsiteY1657" fmla="*/ 47480 h 1052131"/>
                  <a:gd name="connsiteX1658" fmla="*/ 585157 w 1085953"/>
                  <a:gd name="connsiteY1658" fmla="*/ 47480 h 1052131"/>
                  <a:gd name="connsiteX1659" fmla="*/ 624400 w 1085953"/>
                  <a:gd name="connsiteY1659" fmla="*/ 32335 h 1052131"/>
                  <a:gd name="connsiteX1660" fmla="*/ 624400 w 1085953"/>
                  <a:gd name="connsiteY1660" fmla="*/ 32335 h 1052131"/>
                  <a:gd name="connsiteX1661" fmla="*/ 623733 w 1085953"/>
                  <a:gd name="connsiteY1661" fmla="*/ 32335 h 1052131"/>
                  <a:gd name="connsiteX1662" fmla="*/ 624972 w 1085953"/>
                  <a:gd name="connsiteY1662" fmla="*/ 33478 h 1052131"/>
                  <a:gd name="connsiteX1663" fmla="*/ 626400 w 1085953"/>
                  <a:gd name="connsiteY1663" fmla="*/ 32907 h 1052131"/>
                  <a:gd name="connsiteX1664" fmla="*/ 627257 w 1085953"/>
                  <a:gd name="connsiteY1664" fmla="*/ 32907 h 1052131"/>
                  <a:gd name="connsiteX1665" fmla="*/ 627257 w 1085953"/>
                  <a:gd name="connsiteY1665" fmla="*/ 31478 h 1052131"/>
                  <a:gd name="connsiteX1666" fmla="*/ 626400 w 1085953"/>
                  <a:gd name="connsiteY1666" fmla="*/ 30716 h 1052131"/>
                  <a:gd name="connsiteX1667" fmla="*/ 625543 w 1085953"/>
                  <a:gd name="connsiteY1667" fmla="*/ 29954 h 1052131"/>
                  <a:gd name="connsiteX1668" fmla="*/ 626400 w 1085953"/>
                  <a:gd name="connsiteY1668" fmla="*/ 29287 h 1052131"/>
                  <a:gd name="connsiteX1669" fmla="*/ 626400 w 1085953"/>
                  <a:gd name="connsiteY1669" fmla="*/ 29287 h 1052131"/>
                  <a:gd name="connsiteX1670" fmla="*/ 623543 w 1085953"/>
                  <a:gd name="connsiteY1670" fmla="*/ 27668 h 1052131"/>
                  <a:gd name="connsiteX1671" fmla="*/ 623543 w 1085953"/>
                  <a:gd name="connsiteY1671" fmla="*/ 27668 h 1052131"/>
                  <a:gd name="connsiteX1672" fmla="*/ 623543 w 1085953"/>
                  <a:gd name="connsiteY1672" fmla="*/ 28334 h 1052131"/>
                  <a:gd name="connsiteX1673" fmla="*/ 623543 w 1085953"/>
                  <a:gd name="connsiteY1673" fmla="*/ 28334 h 1052131"/>
                  <a:gd name="connsiteX1674" fmla="*/ 623543 w 1085953"/>
                  <a:gd name="connsiteY1674" fmla="*/ 28334 h 1052131"/>
                  <a:gd name="connsiteX1675" fmla="*/ 623543 w 1085953"/>
                  <a:gd name="connsiteY1675" fmla="*/ 28334 h 1052131"/>
                  <a:gd name="connsiteX1676" fmla="*/ 623543 w 1085953"/>
                  <a:gd name="connsiteY1676" fmla="*/ 29763 h 1052131"/>
                  <a:gd name="connsiteX1677" fmla="*/ 622781 w 1085953"/>
                  <a:gd name="connsiteY1677" fmla="*/ 29763 h 1052131"/>
                  <a:gd name="connsiteX1678" fmla="*/ 622781 w 1085953"/>
                  <a:gd name="connsiteY1678" fmla="*/ 29763 h 1052131"/>
                  <a:gd name="connsiteX1679" fmla="*/ 624209 w 1085953"/>
                  <a:gd name="connsiteY1679" fmla="*/ 32335 h 1052131"/>
                  <a:gd name="connsiteX1680" fmla="*/ 570107 w 1085953"/>
                  <a:gd name="connsiteY1680" fmla="*/ 40908 h 1052131"/>
                  <a:gd name="connsiteX1681" fmla="*/ 569346 w 1085953"/>
                  <a:gd name="connsiteY1681" fmla="*/ 40908 h 1052131"/>
                  <a:gd name="connsiteX1682" fmla="*/ 568774 w 1085953"/>
                  <a:gd name="connsiteY1682" fmla="*/ 41860 h 1052131"/>
                  <a:gd name="connsiteX1683" fmla="*/ 568774 w 1085953"/>
                  <a:gd name="connsiteY1683" fmla="*/ 41860 h 1052131"/>
                  <a:gd name="connsiteX1684" fmla="*/ 565535 w 1085953"/>
                  <a:gd name="connsiteY1684" fmla="*/ 43194 h 1052131"/>
                  <a:gd name="connsiteX1685" fmla="*/ 565535 w 1085953"/>
                  <a:gd name="connsiteY1685" fmla="*/ 44432 h 1052131"/>
                  <a:gd name="connsiteX1686" fmla="*/ 566107 w 1085953"/>
                  <a:gd name="connsiteY1686" fmla="*/ 44432 h 1052131"/>
                  <a:gd name="connsiteX1687" fmla="*/ 568488 w 1085953"/>
                  <a:gd name="connsiteY1687" fmla="*/ 43955 h 1052131"/>
                  <a:gd name="connsiteX1688" fmla="*/ 569441 w 1085953"/>
                  <a:gd name="connsiteY1688" fmla="*/ 44432 h 1052131"/>
                  <a:gd name="connsiteX1689" fmla="*/ 574108 w 1085953"/>
                  <a:gd name="connsiteY1689" fmla="*/ 44432 h 1052131"/>
                  <a:gd name="connsiteX1690" fmla="*/ 574680 w 1085953"/>
                  <a:gd name="connsiteY1690" fmla="*/ 43575 h 1052131"/>
                  <a:gd name="connsiteX1691" fmla="*/ 575918 w 1085953"/>
                  <a:gd name="connsiteY1691" fmla="*/ 43575 h 1052131"/>
                  <a:gd name="connsiteX1692" fmla="*/ 579061 w 1085953"/>
                  <a:gd name="connsiteY1692" fmla="*/ 43575 h 1052131"/>
                  <a:gd name="connsiteX1693" fmla="*/ 579061 w 1085953"/>
                  <a:gd name="connsiteY1693" fmla="*/ 42813 h 1052131"/>
                  <a:gd name="connsiteX1694" fmla="*/ 580109 w 1085953"/>
                  <a:gd name="connsiteY1694" fmla="*/ 42336 h 1052131"/>
                  <a:gd name="connsiteX1695" fmla="*/ 581728 w 1085953"/>
                  <a:gd name="connsiteY1695" fmla="*/ 40241 h 1052131"/>
                  <a:gd name="connsiteX1696" fmla="*/ 580014 w 1085953"/>
                  <a:gd name="connsiteY1696" fmla="*/ 38526 h 1052131"/>
                  <a:gd name="connsiteX1697" fmla="*/ 575060 w 1085953"/>
                  <a:gd name="connsiteY1697" fmla="*/ 36907 h 1052131"/>
                  <a:gd name="connsiteX1698" fmla="*/ 575060 w 1085953"/>
                  <a:gd name="connsiteY1698" fmla="*/ 37764 h 1052131"/>
                  <a:gd name="connsiteX1699" fmla="*/ 573251 w 1085953"/>
                  <a:gd name="connsiteY1699" fmla="*/ 37764 h 1052131"/>
                  <a:gd name="connsiteX1700" fmla="*/ 571250 w 1085953"/>
                  <a:gd name="connsiteY1700" fmla="*/ 37764 h 1052131"/>
                  <a:gd name="connsiteX1701" fmla="*/ 569631 w 1085953"/>
                  <a:gd name="connsiteY1701" fmla="*/ 36907 h 1052131"/>
                  <a:gd name="connsiteX1702" fmla="*/ 568774 w 1085953"/>
                  <a:gd name="connsiteY1702" fmla="*/ 37383 h 1052131"/>
                  <a:gd name="connsiteX1703" fmla="*/ 569726 w 1085953"/>
                  <a:gd name="connsiteY1703" fmla="*/ 39383 h 1052131"/>
                  <a:gd name="connsiteX1704" fmla="*/ 569917 w 1085953"/>
                  <a:gd name="connsiteY1704" fmla="*/ 40908 h 1052131"/>
                  <a:gd name="connsiteX1705" fmla="*/ 453331 w 1085953"/>
                  <a:gd name="connsiteY1705" fmla="*/ 77103 h 1052131"/>
                  <a:gd name="connsiteX1706" fmla="*/ 454474 w 1085953"/>
                  <a:gd name="connsiteY1706" fmla="*/ 75864 h 1052131"/>
                  <a:gd name="connsiteX1707" fmla="*/ 453617 w 1085953"/>
                  <a:gd name="connsiteY1707" fmla="*/ 74817 h 1052131"/>
                  <a:gd name="connsiteX1708" fmla="*/ 452569 w 1085953"/>
                  <a:gd name="connsiteY1708" fmla="*/ 76055 h 1052131"/>
                  <a:gd name="connsiteX1709" fmla="*/ 451902 w 1085953"/>
                  <a:gd name="connsiteY1709" fmla="*/ 76912 h 1052131"/>
                  <a:gd name="connsiteX1710" fmla="*/ 453140 w 1085953"/>
                  <a:gd name="connsiteY1710" fmla="*/ 77103 h 1052131"/>
                  <a:gd name="connsiteX1711" fmla="*/ 620590 w 1085953"/>
                  <a:gd name="connsiteY1711" fmla="*/ 30811 h 1052131"/>
                  <a:gd name="connsiteX1712" fmla="*/ 620590 w 1085953"/>
                  <a:gd name="connsiteY1712" fmla="*/ 30811 h 1052131"/>
                  <a:gd name="connsiteX1713" fmla="*/ 620590 w 1085953"/>
                  <a:gd name="connsiteY1713" fmla="*/ 30811 h 1052131"/>
                  <a:gd name="connsiteX1714" fmla="*/ 620590 w 1085953"/>
                  <a:gd name="connsiteY1714" fmla="*/ 30811 h 1052131"/>
                  <a:gd name="connsiteX1715" fmla="*/ 622685 w 1085953"/>
                  <a:gd name="connsiteY1715" fmla="*/ 32525 h 1052131"/>
                  <a:gd name="connsiteX1716" fmla="*/ 622685 w 1085953"/>
                  <a:gd name="connsiteY1716" fmla="*/ 32525 h 1052131"/>
                  <a:gd name="connsiteX1717" fmla="*/ 622114 w 1085953"/>
                  <a:gd name="connsiteY1717" fmla="*/ 31383 h 1052131"/>
                  <a:gd name="connsiteX1718" fmla="*/ 621638 w 1085953"/>
                  <a:gd name="connsiteY1718" fmla="*/ 29858 h 1052131"/>
                  <a:gd name="connsiteX1719" fmla="*/ 622400 w 1085953"/>
                  <a:gd name="connsiteY1719" fmla="*/ 29287 h 1052131"/>
                  <a:gd name="connsiteX1720" fmla="*/ 622400 w 1085953"/>
                  <a:gd name="connsiteY1720" fmla="*/ 29287 h 1052131"/>
                  <a:gd name="connsiteX1721" fmla="*/ 622400 w 1085953"/>
                  <a:gd name="connsiteY1721" fmla="*/ 28334 h 1052131"/>
                  <a:gd name="connsiteX1722" fmla="*/ 622400 w 1085953"/>
                  <a:gd name="connsiteY1722" fmla="*/ 28334 h 1052131"/>
                  <a:gd name="connsiteX1723" fmla="*/ 622400 w 1085953"/>
                  <a:gd name="connsiteY1723" fmla="*/ 28334 h 1052131"/>
                  <a:gd name="connsiteX1724" fmla="*/ 620590 w 1085953"/>
                  <a:gd name="connsiteY1724" fmla="*/ 28334 h 1052131"/>
                  <a:gd name="connsiteX1725" fmla="*/ 619828 w 1085953"/>
                  <a:gd name="connsiteY1725" fmla="*/ 28811 h 1052131"/>
                  <a:gd name="connsiteX1726" fmla="*/ 620399 w 1085953"/>
                  <a:gd name="connsiteY1726" fmla="*/ 30811 h 1052131"/>
                  <a:gd name="connsiteX1727" fmla="*/ 1024450 w 1085953"/>
                  <a:gd name="connsiteY1727" fmla="*/ 778524 h 1052131"/>
                  <a:gd name="connsiteX1728" fmla="*/ 1024450 w 1085953"/>
                  <a:gd name="connsiteY1728" fmla="*/ 778524 h 1052131"/>
                  <a:gd name="connsiteX1729" fmla="*/ 1025022 w 1085953"/>
                  <a:gd name="connsiteY1729" fmla="*/ 776238 h 1052131"/>
                  <a:gd name="connsiteX1730" fmla="*/ 1023688 w 1085953"/>
                  <a:gd name="connsiteY1730" fmla="*/ 778428 h 1052131"/>
                  <a:gd name="connsiteX1731" fmla="*/ 1023688 w 1085953"/>
                  <a:gd name="connsiteY1731" fmla="*/ 778428 h 1052131"/>
                  <a:gd name="connsiteX1732" fmla="*/ 1023688 w 1085953"/>
                  <a:gd name="connsiteY1732" fmla="*/ 777571 h 1052131"/>
                  <a:gd name="connsiteX1733" fmla="*/ 1023688 w 1085953"/>
                  <a:gd name="connsiteY1733" fmla="*/ 777095 h 1052131"/>
                  <a:gd name="connsiteX1734" fmla="*/ 1023688 w 1085953"/>
                  <a:gd name="connsiteY1734" fmla="*/ 775952 h 1052131"/>
                  <a:gd name="connsiteX1735" fmla="*/ 1024736 w 1085953"/>
                  <a:gd name="connsiteY1735" fmla="*/ 773285 h 1052131"/>
                  <a:gd name="connsiteX1736" fmla="*/ 1024736 w 1085953"/>
                  <a:gd name="connsiteY1736" fmla="*/ 769951 h 1052131"/>
                  <a:gd name="connsiteX1737" fmla="*/ 1023593 w 1085953"/>
                  <a:gd name="connsiteY1737" fmla="*/ 771284 h 1052131"/>
                  <a:gd name="connsiteX1738" fmla="*/ 1021402 w 1085953"/>
                  <a:gd name="connsiteY1738" fmla="*/ 775285 h 1052131"/>
                  <a:gd name="connsiteX1739" fmla="*/ 1019878 w 1085953"/>
                  <a:gd name="connsiteY1739" fmla="*/ 776904 h 1052131"/>
                  <a:gd name="connsiteX1740" fmla="*/ 1019878 w 1085953"/>
                  <a:gd name="connsiteY1740" fmla="*/ 777571 h 1052131"/>
                  <a:gd name="connsiteX1741" fmla="*/ 1019878 w 1085953"/>
                  <a:gd name="connsiteY1741" fmla="*/ 777571 h 1052131"/>
                  <a:gd name="connsiteX1742" fmla="*/ 1021021 w 1085953"/>
                  <a:gd name="connsiteY1742" fmla="*/ 777571 h 1052131"/>
                  <a:gd name="connsiteX1743" fmla="*/ 1018925 w 1085953"/>
                  <a:gd name="connsiteY1743" fmla="*/ 780619 h 1052131"/>
                  <a:gd name="connsiteX1744" fmla="*/ 1018925 w 1085953"/>
                  <a:gd name="connsiteY1744" fmla="*/ 780619 h 1052131"/>
                  <a:gd name="connsiteX1745" fmla="*/ 1019973 w 1085953"/>
                  <a:gd name="connsiteY1745" fmla="*/ 779667 h 1052131"/>
                  <a:gd name="connsiteX1746" fmla="*/ 1019973 w 1085953"/>
                  <a:gd name="connsiteY1746" fmla="*/ 783953 h 1052131"/>
                  <a:gd name="connsiteX1747" fmla="*/ 1019973 w 1085953"/>
                  <a:gd name="connsiteY1747" fmla="*/ 785191 h 1052131"/>
                  <a:gd name="connsiteX1748" fmla="*/ 1017973 w 1085953"/>
                  <a:gd name="connsiteY1748" fmla="*/ 789477 h 1052131"/>
                  <a:gd name="connsiteX1749" fmla="*/ 1017973 w 1085953"/>
                  <a:gd name="connsiteY1749" fmla="*/ 791668 h 1052131"/>
                  <a:gd name="connsiteX1750" fmla="*/ 1016068 w 1085953"/>
                  <a:gd name="connsiteY1750" fmla="*/ 795288 h 1052131"/>
                  <a:gd name="connsiteX1751" fmla="*/ 1017687 w 1085953"/>
                  <a:gd name="connsiteY1751" fmla="*/ 793002 h 1052131"/>
                  <a:gd name="connsiteX1752" fmla="*/ 1017687 w 1085953"/>
                  <a:gd name="connsiteY1752" fmla="*/ 793002 h 1052131"/>
                  <a:gd name="connsiteX1753" fmla="*/ 1019497 w 1085953"/>
                  <a:gd name="connsiteY1753" fmla="*/ 789763 h 1052131"/>
                  <a:gd name="connsiteX1754" fmla="*/ 1017782 w 1085953"/>
                  <a:gd name="connsiteY1754" fmla="*/ 792525 h 1052131"/>
                  <a:gd name="connsiteX1755" fmla="*/ 1021021 w 1085953"/>
                  <a:gd name="connsiteY1755" fmla="*/ 786334 h 1052131"/>
                  <a:gd name="connsiteX1756" fmla="*/ 1019497 w 1085953"/>
                  <a:gd name="connsiteY1756" fmla="*/ 788906 h 1052131"/>
                  <a:gd name="connsiteX1757" fmla="*/ 1022069 w 1085953"/>
                  <a:gd name="connsiteY1757" fmla="*/ 783953 h 1052131"/>
                  <a:gd name="connsiteX1758" fmla="*/ 1024259 w 1085953"/>
                  <a:gd name="connsiteY1758" fmla="*/ 778524 h 1052131"/>
                  <a:gd name="connsiteX1759" fmla="*/ 1042262 w 1085953"/>
                  <a:gd name="connsiteY1759" fmla="*/ 728517 h 1052131"/>
                  <a:gd name="connsiteX1760" fmla="*/ 1042262 w 1085953"/>
                  <a:gd name="connsiteY1760" fmla="*/ 728517 h 1052131"/>
                  <a:gd name="connsiteX1761" fmla="*/ 1041309 w 1085953"/>
                  <a:gd name="connsiteY1761" fmla="*/ 730422 h 1052131"/>
                  <a:gd name="connsiteX1762" fmla="*/ 1040262 w 1085953"/>
                  <a:gd name="connsiteY1762" fmla="*/ 731470 h 1052131"/>
                  <a:gd name="connsiteX1763" fmla="*/ 1039499 w 1085953"/>
                  <a:gd name="connsiteY1763" fmla="*/ 733661 h 1052131"/>
                  <a:gd name="connsiteX1764" fmla="*/ 1039499 w 1085953"/>
                  <a:gd name="connsiteY1764" fmla="*/ 733661 h 1052131"/>
                  <a:gd name="connsiteX1765" fmla="*/ 1039499 w 1085953"/>
                  <a:gd name="connsiteY1765" fmla="*/ 733661 h 1052131"/>
                  <a:gd name="connsiteX1766" fmla="*/ 1038356 w 1085953"/>
                  <a:gd name="connsiteY1766" fmla="*/ 737280 h 1052131"/>
                  <a:gd name="connsiteX1767" fmla="*/ 1037785 w 1085953"/>
                  <a:gd name="connsiteY1767" fmla="*/ 740424 h 1052131"/>
                  <a:gd name="connsiteX1768" fmla="*/ 1038738 w 1085953"/>
                  <a:gd name="connsiteY1768" fmla="*/ 738614 h 1052131"/>
                  <a:gd name="connsiteX1769" fmla="*/ 1038738 w 1085953"/>
                  <a:gd name="connsiteY1769" fmla="*/ 737757 h 1052131"/>
                  <a:gd name="connsiteX1770" fmla="*/ 1039690 w 1085953"/>
                  <a:gd name="connsiteY1770" fmla="*/ 734518 h 1052131"/>
                  <a:gd name="connsiteX1771" fmla="*/ 1041309 w 1085953"/>
                  <a:gd name="connsiteY1771" fmla="*/ 730232 h 1052131"/>
                  <a:gd name="connsiteX1772" fmla="*/ 1042071 w 1085953"/>
                  <a:gd name="connsiteY1772" fmla="*/ 728517 h 1052131"/>
                  <a:gd name="connsiteX1773" fmla="*/ 1037404 w 1085953"/>
                  <a:gd name="connsiteY1773" fmla="*/ 699180 h 1052131"/>
                  <a:gd name="connsiteX1774" fmla="*/ 1037975 w 1085953"/>
                  <a:gd name="connsiteY1774" fmla="*/ 693846 h 1052131"/>
                  <a:gd name="connsiteX1775" fmla="*/ 1037023 w 1085953"/>
                  <a:gd name="connsiteY1775" fmla="*/ 696609 h 1052131"/>
                  <a:gd name="connsiteX1776" fmla="*/ 1037023 w 1085953"/>
                  <a:gd name="connsiteY1776" fmla="*/ 699371 h 1052131"/>
                  <a:gd name="connsiteX1777" fmla="*/ 1037023 w 1085953"/>
                  <a:gd name="connsiteY1777" fmla="*/ 699371 h 1052131"/>
                  <a:gd name="connsiteX1778" fmla="*/ 1037214 w 1085953"/>
                  <a:gd name="connsiteY1778" fmla="*/ 699180 h 1052131"/>
                  <a:gd name="connsiteX1779" fmla="*/ 1036261 w 1085953"/>
                  <a:gd name="connsiteY1779" fmla="*/ 711468 h 1052131"/>
                  <a:gd name="connsiteX1780" fmla="*/ 1036261 w 1085953"/>
                  <a:gd name="connsiteY1780" fmla="*/ 711468 h 1052131"/>
                  <a:gd name="connsiteX1781" fmla="*/ 1037118 w 1085953"/>
                  <a:gd name="connsiteY1781" fmla="*/ 709944 h 1052131"/>
                  <a:gd name="connsiteX1782" fmla="*/ 1037118 w 1085953"/>
                  <a:gd name="connsiteY1782" fmla="*/ 708038 h 1052131"/>
                  <a:gd name="connsiteX1783" fmla="*/ 1037118 w 1085953"/>
                  <a:gd name="connsiteY1783" fmla="*/ 708038 h 1052131"/>
                  <a:gd name="connsiteX1784" fmla="*/ 1037118 w 1085953"/>
                  <a:gd name="connsiteY1784" fmla="*/ 706610 h 1052131"/>
                  <a:gd name="connsiteX1785" fmla="*/ 1037118 w 1085953"/>
                  <a:gd name="connsiteY1785" fmla="*/ 706134 h 1052131"/>
                  <a:gd name="connsiteX1786" fmla="*/ 1037118 w 1085953"/>
                  <a:gd name="connsiteY1786" fmla="*/ 704609 h 1052131"/>
                  <a:gd name="connsiteX1787" fmla="*/ 1036261 w 1085953"/>
                  <a:gd name="connsiteY1787" fmla="*/ 707181 h 1052131"/>
                  <a:gd name="connsiteX1788" fmla="*/ 1036261 w 1085953"/>
                  <a:gd name="connsiteY1788" fmla="*/ 707181 h 1052131"/>
                  <a:gd name="connsiteX1789" fmla="*/ 1036261 w 1085953"/>
                  <a:gd name="connsiteY1789" fmla="*/ 709753 h 1052131"/>
                  <a:gd name="connsiteX1790" fmla="*/ 1031022 w 1085953"/>
                  <a:gd name="connsiteY1790" fmla="*/ 733756 h 1052131"/>
                  <a:gd name="connsiteX1791" fmla="*/ 1029498 w 1085953"/>
                  <a:gd name="connsiteY1791" fmla="*/ 738138 h 1052131"/>
                  <a:gd name="connsiteX1792" fmla="*/ 1030355 w 1085953"/>
                  <a:gd name="connsiteY1792" fmla="*/ 737090 h 1052131"/>
                  <a:gd name="connsiteX1793" fmla="*/ 1030832 w 1085953"/>
                  <a:gd name="connsiteY1793" fmla="*/ 733756 h 1052131"/>
                  <a:gd name="connsiteX1794" fmla="*/ 1038261 w 1085953"/>
                  <a:gd name="connsiteY1794" fmla="*/ 737376 h 1052131"/>
                  <a:gd name="connsiteX1795" fmla="*/ 1038261 w 1085953"/>
                  <a:gd name="connsiteY1795" fmla="*/ 737376 h 1052131"/>
                  <a:gd name="connsiteX1796" fmla="*/ 1045691 w 1085953"/>
                  <a:gd name="connsiteY1796" fmla="*/ 704895 h 1052131"/>
                  <a:gd name="connsiteX1797" fmla="*/ 1045691 w 1085953"/>
                  <a:gd name="connsiteY1797" fmla="*/ 704895 h 1052131"/>
                  <a:gd name="connsiteX1798" fmla="*/ 1046929 w 1085953"/>
                  <a:gd name="connsiteY1798" fmla="*/ 699180 h 1052131"/>
                  <a:gd name="connsiteX1799" fmla="*/ 1046453 w 1085953"/>
                  <a:gd name="connsiteY1799" fmla="*/ 699180 h 1052131"/>
                  <a:gd name="connsiteX1800" fmla="*/ 1046453 w 1085953"/>
                  <a:gd name="connsiteY1800" fmla="*/ 696037 h 1052131"/>
                  <a:gd name="connsiteX1801" fmla="*/ 1047596 w 1085953"/>
                  <a:gd name="connsiteY1801" fmla="*/ 671272 h 1052131"/>
                  <a:gd name="connsiteX1802" fmla="*/ 1046167 w 1085953"/>
                  <a:gd name="connsiteY1802" fmla="*/ 671272 h 1052131"/>
                  <a:gd name="connsiteX1803" fmla="*/ 1045596 w 1085953"/>
                  <a:gd name="connsiteY1803" fmla="*/ 671272 h 1052131"/>
                  <a:gd name="connsiteX1804" fmla="*/ 1044453 w 1085953"/>
                  <a:gd name="connsiteY1804" fmla="*/ 668510 h 1052131"/>
                  <a:gd name="connsiteX1805" fmla="*/ 1042547 w 1085953"/>
                  <a:gd name="connsiteY1805" fmla="*/ 673272 h 1052131"/>
                  <a:gd name="connsiteX1806" fmla="*/ 1041309 w 1085953"/>
                  <a:gd name="connsiteY1806" fmla="*/ 701180 h 1052131"/>
                  <a:gd name="connsiteX1807" fmla="*/ 1037880 w 1085953"/>
                  <a:gd name="connsiteY1807" fmla="*/ 719373 h 1052131"/>
                  <a:gd name="connsiteX1808" fmla="*/ 1037880 w 1085953"/>
                  <a:gd name="connsiteY1808" fmla="*/ 720516 h 1052131"/>
                  <a:gd name="connsiteX1809" fmla="*/ 1025688 w 1085953"/>
                  <a:gd name="connsiteY1809" fmla="*/ 766903 h 1052131"/>
                  <a:gd name="connsiteX1810" fmla="*/ 1025117 w 1085953"/>
                  <a:gd name="connsiteY1810" fmla="*/ 768522 h 1052131"/>
                  <a:gd name="connsiteX1811" fmla="*/ 1037975 w 1085953"/>
                  <a:gd name="connsiteY1811" fmla="*/ 742614 h 1052131"/>
                  <a:gd name="connsiteX1812" fmla="*/ 1037975 w 1085953"/>
                  <a:gd name="connsiteY1812" fmla="*/ 742614 h 1052131"/>
                  <a:gd name="connsiteX1813" fmla="*/ 1038356 w 1085953"/>
                  <a:gd name="connsiteY1813" fmla="*/ 737376 h 1052131"/>
                  <a:gd name="connsiteX1814" fmla="*/ 1032165 w 1085953"/>
                  <a:gd name="connsiteY1814" fmla="*/ 725946 h 1052131"/>
                  <a:gd name="connsiteX1815" fmla="*/ 1032165 w 1085953"/>
                  <a:gd name="connsiteY1815" fmla="*/ 725946 h 1052131"/>
                  <a:gd name="connsiteX1816" fmla="*/ 1032165 w 1085953"/>
                  <a:gd name="connsiteY1816" fmla="*/ 725946 h 1052131"/>
                  <a:gd name="connsiteX1817" fmla="*/ 1032165 w 1085953"/>
                  <a:gd name="connsiteY1817" fmla="*/ 725946 h 1052131"/>
                  <a:gd name="connsiteX1818" fmla="*/ 1032165 w 1085953"/>
                  <a:gd name="connsiteY1818" fmla="*/ 725946 h 1052131"/>
                  <a:gd name="connsiteX1819" fmla="*/ 1032165 w 1085953"/>
                  <a:gd name="connsiteY1819" fmla="*/ 727374 h 1052131"/>
                  <a:gd name="connsiteX1820" fmla="*/ 1032165 w 1085953"/>
                  <a:gd name="connsiteY1820" fmla="*/ 728041 h 1052131"/>
                  <a:gd name="connsiteX1821" fmla="*/ 1033213 w 1085953"/>
                  <a:gd name="connsiteY1821" fmla="*/ 725946 h 1052131"/>
                  <a:gd name="connsiteX1822" fmla="*/ 1033213 w 1085953"/>
                  <a:gd name="connsiteY1822" fmla="*/ 725946 h 1052131"/>
                  <a:gd name="connsiteX1823" fmla="*/ 1033975 w 1085953"/>
                  <a:gd name="connsiteY1823" fmla="*/ 723088 h 1052131"/>
                  <a:gd name="connsiteX1824" fmla="*/ 1031975 w 1085953"/>
                  <a:gd name="connsiteY1824" fmla="*/ 725660 h 1052131"/>
                  <a:gd name="connsiteX1825" fmla="*/ 1067598 w 1085953"/>
                  <a:gd name="connsiteY1825" fmla="*/ 671844 h 1052131"/>
                  <a:gd name="connsiteX1826" fmla="*/ 1071408 w 1085953"/>
                  <a:gd name="connsiteY1826" fmla="*/ 657651 h 1052131"/>
                  <a:gd name="connsiteX1827" fmla="*/ 1067408 w 1085953"/>
                  <a:gd name="connsiteY1827" fmla="*/ 671844 h 1052131"/>
                  <a:gd name="connsiteX1828" fmla="*/ 1083981 w 1085953"/>
                  <a:gd name="connsiteY1828" fmla="*/ 530778 h 1052131"/>
                  <a:gd name="connsiteX1829" fmla="*/ 1082457 w 1085953"/>
                  <a:gd name="connsiteY1829" fmla="*/ 538970 h 1052131"/>
                  <a:gd name="connsiteX1830" fmla="*/ 1082457 w 1085953"/>
                  <a:gd name="connsiteY1830" fmla="*/ 547447 h 1052131"/>
                  <a:gd name="connsiteX1831" fmla="*/ 1083315 w 1085953"/>
                  <a:gd name="connsiteY1831" fmla="*/ 549733 h 1052131"/>
                  <a:gd name="connsiteX1832" fmla="*/ 1084267 w 1085953"/>
                  <a:gd name="connsiteY1832" fmla="*/ 538208 h 1052131"/>
                  <a:gd name="connsiteX1833" fmla="*/ 1084267 w 1085953"/>
                  <a:gd name="connsiteY1833" fmla="*/ 538208 h 1052131"/>
                  <a:gd name="connsiteX1834" fmla="*/ 1083791 w 1085953"/>
                  <a:gd name="connsiteY1834" fmla="*/ 530778 h 1052131"/>
                  <a:gd name="connsiteX1835" fmla="*/ 1055406 w 1085953"/>
                  <a:gd name="connsiteY1835" fmla="*/ 705753 h 1052131"/>
                  <a:gd name="connsiteX1836" fmla="*/ 1054930 w 1085953"/>
                  <a:gd name="connsiteY1836" fmla="*/ 705753 h 1052131"/>
                  <a:gd name="connsiteX1837" fmla="*/ 1040738 w 1085953"/>
                  <a:gd name="connsiteY1837" fmla="*/ 744519 h 1052131"/>
                  <a:gd name="connsiteX1838" fmla="*/ 1042071 w 1085953"/>
                  <a:gd name="connsiteY1838" fmla="*/ 742519 h 1052131"/>
                  <a:gd name="connsiteX1839" fmla="*/ 1040642 w 1085953"/>
                  <a:gd name="connsiteY1839" fmla="*/ 746424 h 1052131"/>
                  <a:gd name="connsiteX1840" fmla="*/ 1041595 w 1085953"/>
                  <a:gd name="connsiteY1840" fmla="*/ 745091 h 1052131"/>
                  <a:gd name="connsiteX1841" fmla="*/ 1037690 w 1085953"/>
                  <a:gd name="connsiteY1841" fmla="*/ 754616 h 1052131"/>
                  <a:gd name="connsiteX1842" fmla="*/ 1037690 w 1085953"/>
                  <a:gd name="connsiteY1842" fmla="*/ 754616 h 1052131"/>
                  <a:gd name="connsiteX1843" fmla="*/ 1041690 w 1085953"/>
                  <a:gd name="connsiteY1843" fmla="*/ 745853 h 1052131"/>
                  <a:gd name="connsiteX1844" fmla="*/ 1059883 w 1085953"/>
                  <a:gd name="connsiteY1844" fmla="*/ 698799 h 1052131"/>
                  <a:gd name="connsiteX1845" fmla="*/ 1067693 w 1085953"/>
                  <a:gd name="connsiteY1845" fmla="*/ 672891 h 1052131"/>
                  <a:gd name="connsiteX1846" fmla="*/ 1055025 w 1085953"/>
                  <a:gd name="connsiteY1846" fmla="*/ 707467 h 1052131"/>
                  <a:gd name="connsiteX1847" fmla="*/ 1040166 w 1085953"/>
                  <a:gd name="connsiteY1847" fmla="*/ 738614 h 1052131"/>
                  <a:gd name="connsiteX1848" fmla="*/ 1038738 w 1085953"/>
                  <a:gd name="connsiteY1848" fmla="*/ 741948 h 1052131"/>
                  <a:gd name="connsiteX1849" fmla="*/ 1038738 w 1085953"/>
                  <a:gd name="connsiteY1849" fmla="*/ 741948 h 1052131"/>
                  <a:gd name="connsiteX1850" fmla="*/ 1038738 w 1085953"/>
                  <a:gd name="connsiteY1850" fmla="*/ 741948 h 1052131"/>
                  <a:gd name="connsiteX1851" fmla="*/ 1038738 w 1085953"/>
                  <a:gd name="connsiteY1851" fmla="*/ 741948 h 1052131"/>
                  <a:gd name="connsiteX1852" fmla="*/ 1039785 w 1085953"/>
                  <a:gd name="connsiteY1852" fmla="*/ 739947 h 1052131"/>
                  <a:gd name="connsiteX1853" fmla="*/ 1040452 w 1085953"/>
                  <a:gd name="connsiteY1853" fmla="*/ 737852 h 1052131"/>
                  <a:gd name="connsiteX1854" fmla="*/ 1039595 w 1085953"/>
                  <a:gd name="connsiteY1854" fmla="*/ 738614 h 1052131"/>
                  <a:gd name="connsiteX1855" fmla="*/ 426375 w 1085953"/>
                  <a:gd name="connsiteY1855" fmla="*/ 1049510 h 1052131"/>
                  <a:gd name="connsiteX1856" fmla="*/ 426947 w 1085953"/>
                  <a:gd name="connsiteY1856" fmla="*/ 1049510 h 1052131"/>
                  <a:gd name="connsiteX1857" fmla="*/ 428852 w 1085953"/>
                  <a:gd name="connsiteY1857" fmla="*/ 1049986 h 1052131"/>
                  <a:gd name="connsiteX1858" fmla="*/ 428852 w 1085953"/>
                  <a:gd name="connsiteY1858" fmla="*/ 1049986 h 1052131"/>
                  <a:gd name="connsiteX1859" fmla="*/ 427804 w 1085953"/>
                  <a:gd name="connsiteY1859" fmla="*/ 1049510 h 1052131"/>
                  <a:gd name="connsiteX1860" fmla="*/ 426375 w 1085953"/>
                  <a:gd name="connsiteY1860" fmla="*/ 1049510 h 1052131"/>
                  <a:gd name="connsiteX1861" fmla="*/ 804613 w 1085953"/>
                  <a:gd name="connsiteY1861" fmla="*/ 812909 h 1052131"/>
                  <a:gd name="connsiteX1862" fmla="*/ 798422 w 1085953"/>
                  <a:gd name="connsiteY1862" fmla="*/ 817767 h 1052131"/>
                  <a:gd name="connsiteX1863" fmla="*/ 794802 w 1085953"/>
                  <a:gd name="connsiteY1863" fmla="*/ 823958 h 1052131"/>
                  <a:gd name="connsiteX1864" fmla="*/ 793469 w 1085953"/>
                  <a:gd name="connsiteY1864" fmla="*/ 823101 h 1052131"/>
                  <a:gd name="connsiteX1865" fmla="*/ 789373 w 1085953"/>
                  <a:gd name="connsiteY1865" fmla="*/ 828149 h 1052131"/>
                  <a:gd name="connsiteX1866" fmla="*/ 782420 w 1085953"/>
                  <a:gd name="connsiteY1866" fmla="*/ 832054 h 1052131"/>
                  <a:gd name="connsiteX1867" fmla="*/ 773942 w 1085953"/>
                  <a:gd name="connsiteY1867" fmla="*/ 833197 h 1052131"/>
                  <a:gd name="connsiteX1868" fmla="*/ 766989 w 1085953"/>
                  <a:gd name="connsiteY1868" fmla="*/ 841579 h 1052131"/>
                  <a:gd name="connsiteX1869" fmla="*/ 766322 w 1085953"/>
                  <a:gd name="connsiteY1869" fmla="*/ 842532 h 1052131"/>
                  <a:gd name="connsiteX1870" fmla="*/ 763655 w 1085953"/>
                  <a:gd name="connsiteY1870" fmla="*/ 851390 h 1052131"/>
                  <a:gd name="connsiteX1871" fmla="*/ 759750 w 1085953"/>
                  <a:gd name="connsiteY1871" fmla="*/ 862153 h 1052131"/>
                  <a:gd name="connsiteX1872" fmla="*/ 748415 w 1085953"/>
                  <a:gd name="connsiteY1872" fmla="*/ 872821 h 1052131"/>
                  <a:gd name="connsiteX1873" fmla="*/ 742796 w 1085953"/>
                  <a:gd name="connsiteY1873" fmla="*/ 893586 h 1052131"/>
                  <a:gd name="connsiteX1874" fmla="*/ 755655 w 1085953"/>
                  <a:gd name="connsiteY1874" fmla="*/ 893586 h 1052131"/>
                  <a:gd name="connsiteX1875" fmla="*/ 769751 w 1085953"/>
                  <a:gd name="connsiteY1875" fmla="*/ 875679 h 1052131"/>
                  <a:gd name="connsiteX1876" fmla="*/ 781372 w 1085953"/>
                  <a:gd name="connsiteY1876" fmla="*/ 864249 h 1052131"/>
                  <a:gd name="connsiteX1877" fmla="*/ 793659 w 1085953"/>
                  <a:gd name="connsiteY1877" fmla="*/ 847294 h 1052131"/>
                  <a:gd name="connsiteX1878" fmla="*/ 797374 w 1085953"/>
                  <a:gd name="connsiteY1878" fmla="*/ 838436 h 1052131"/>
                  <a:gd name="connsiteX1879" fmla="*/ 805756 w 1085953"/>
                  <a:gd name="connsiteY1879" fmla="*/ 833959 h 1052131"/>
                  <a:gd name="connsiteX1880" fmla="*/ 810042 w 1085953"/>
                  <a:gd name="connsiteY1880" fmla="*/ 806051 h 1052131"/>
                  <a:gd name="connsiteX1881" fmla="*/ 804613 w 1085953"/>
                  <a:gd name="connsiteY1881" fmla="*/ 812623 h 1052131"/>
                  <a:gd name="connsiteX1882" fmla="*/ 806899 w 1085953"/>
                  <a:gd name="connsiteY1882" fmla="*/ 871869 h 1052131"/>
                  <a:gd name="connsiteX1883" fmla="*/ 805947 w 1085953"/>
                  <a:gd name="connsiteY1883" fmla="*/ 871869 h 1052131"/>
                  <a:gd name="connsiteX1884" fmla="*/ 804994 w 1085953"/>
                  <a:gd name="connsiteY1884" fmla="*/ 872630 h 1052131"/>
                  <a:gd name="connsiteX1885" fmla="*/ 804518 w 1085953"/>
                  <a:gd name="connsiteY1885" fmla="*/ 873488 h 1052131"/>
                  <a:gd name="connsiteX1886" fmla="*/ 803660 w 1085953"/>
                  <a:gd name="connsiteY1886" fmla="*/ 874631 h 1052131"/>
                  <a:gd name="connsiteX1887" fmla="*/ 803660 w 1085953"/>
                  <a:gd name="connsiteY1887" fmla="*/ 875393 h 1052131"/>
                  <a:gd name="connsiteX1888" fmla="*/ 804518 w 1085953"/>
                  <a:gd name="connsiteY1888" fmla="*/ 876059 h 1052131"/>
                  <a:gd name="connsiteX1889" fmla="*/ 804518 w 1085953"/>
                  <a:gd name="connsiteY1889" fmla="*/ 876059 h 1052131"/>
                  <a:gd name="connsiteX1890" fmla="*/ 805661 w 1085953"/>
                  <a:gd name="connsiteY1890" fmla="*/ 875298 h 1052131"/>
                  <a:gd name="connsiteX1891" fmla="*/ 806613 w 1085953"/>
                  <a:gd name="connsiteY1891" fmla="*/ 875298 h 1052131"/>
                  <a:gd name="connsiteX1892" fmla="*/ 806613 w 1085953"/>
                  <a:gd name="connsiteY1892" fmla="*/ 875298 h 1052131"/>
                  <a:gd name="connsiteX1893" fmla="*/ 806613 w 1085953"/>
                  <a:gd name="connsiteY1893" fmla="*/ 874345 h 1052131"/>
                  <a:gd name="connsiteX1894" fmla="*/ 806613 w 1085953"/>
                  <a:gd name="connsiteY1894" fmla="*/ 873583 h 1052131"/>
                  <a:gd name="connsiteX1895" fmla="*/ 806899 w 1085953"/>
                  <a:gd name="connsiteY1895" fmla="*/ 871583 h 1052131"/>
                  <a:gd name="connsiteX1896" fmla="*/ 430376 w 1085953"/>
                  <a:gd name="connsiteY1896" fmla="*/ 1050939 h 1052131"/>
                  <a:gd name="connsiteX1897" fmla="*/ 429899 w 1085953"/>
                  <a:gd name="connsiteY1897" fmla="*/ 1050939 h 1052131"/>
                  <a:gd name="connsiteX1898" fmla="*/ 429899 w 1085953"/>
                  <a:gd name="connsiteY1898" fmla="*/ 1050939 h 1052131"/>
                  <a:gd name="connsiteX1899" fmla="*/ 429899 w 1085953"/>
                  <a:gd name="connsiteY1899" fmla="*/ 1050939 h 1052131"/>
                  <a:gd name="connsiteX1900" fmla="*/ 432947 w 1085953"/>
                  <a:gd name="connsiteY1900" fmla="*/ 1051796 h 1052131"/>
                  <a:gd name="connsiteX1901" fmla="*/ 432947 w 1085953"/>
                  <a:gd name="connsiteY1901" fmla="*/ 1051796 h 1052131"/>
                  <a:gd name="connsiteX1902" fmla="*/ 430471 w 1085953"/>
                  <a:gd name="connsiteY1902" fmla="*/ 1050843 h 1052131"/>
                  <a:gd name="connsiteX1903" fmla="*/ 427804 w 1085953"/>
                  <a:gd name="connsiteY1903" fmla="*/ 1050272 h 1052131"/>
                  <a:gd name="connsiteX1904" fmla="*/ 427804 w 1085953"/>
                  <a:gd name="connsiteY1904" fmla="*/ 1050272 h 1052131"/>
                  <a:gd name="connsiteX1905" fmla="*/ 426471 w 1085953"/>
                  <a:gd name="connsiteY1905" fmla="*/ 1050272 h 1052131"/>
                  <a:gd name="connsiteX1906" fmla="*/ 426471 w 1085953"/>
                  <a:gd name="connsiteY1906" fmla="*/ 1050272 h 1052131"/>
                  <a:gd name="connsiteX1907" fmla="*/ 427232 w 1085953"/>
                  <a:gd name="connsiteY1907" fmla="*/ 1050748 h 1052131"/>
                  <a:gd name="connsiteX1908" fmla="*/ 427232 w 1085953"/>
                  <a:gd name="connsiteY1908" fmla="*/ 1050748 h 1052131"/>
                  <a:gd name="connsiteX1909" fmla="*/ 430947 w 1085953"/>
                  <a:gd name="connsiteY1909" fmla="*/ 1052082 h 1052131"/>
                  <a:gd name="connsiteX1910" fmla="*/ 429614 w 1085953"/>
                  <a:gd name="connsiteY1910" fmla="*/ 1051415 h 1052131"/>
                  <a:gd name="connsiteX1911" fmla="*/ 819948 w 1085953"/>
                  <a:gd name="connsiteY1911" fmla="*/ 867297 h 1052131"/>
                  <a:gd name="connsiteX1912" fmla="*/ 816996 w 1085953"/>
                  <a:gd name="connsiteY1912" fmla="*/ 867297 h 1052131"/>
                  <a:gd name="connsiteX1913" fmla="*/ 815757 w 1085953"/>
                  <a:gd name="connsiteY1913" fmla="*/ 867773 h 1052131"/>
                  <a:gd name="connsiteX1914" fmla="*/ 814995 w 1085953"/>
                  <a:gd name="connsiteY1914" fmla="*/ 870630 h 1052131"/>
                  <a:gd name="connsiteX1915" fmla="*/ 814995 w 1085953"/>
                  <a:gd name="connsiteY1915" fmla="*/ 870630 h 1052131"/>
                  <a:gd name="connsiteX1916" fmla="*/ 814995 w 1085953"/>
                  <a:gd name="connsiteY1916" fmla="*/ 870630 h 1052131"/>
                  <a:gd name="connsiteX1917" fmla="*/ 816233 w 1085953"/>
                  <a:gd name="connsiteY1917" fmla="*/ 869963 h 1052131"/>
                  <a:gd name="connsiteX1918" fmla="*/ 817948 w 1085953"/>
                  <a:gd name="connsiteY1918" fmla="*/ 869392 h 1052131"/>
                  <a:gd name="connsiteX1919" fmla="*/ 818805 w 1085953"/>
                  <a:gd name="connsiteY1919" fmla="*/ 869392 h 1052131"/>
                  <a:gd name="connsiteX1920" fmla="*/ 819758 w 1085953"/>
                  <a:gd name="connsiteY1920" fmla="*/ 867963 h 1052131"/>
                  <a:gd name="connsiteX1921" fmla="*/ 819758 w 1085953"/>
                  <a:gd name="connsiteY1921" fmla="*/ 867963 h 1052131"/>
                  <a:gd name="connsiteX1922" fmla="*/ 819948 w 1085953"/>
                  <a:gd name="connsiteY1922" fmla="*/ 867011 h 1052131"/>
                  <a:gd name="connsiteX1923" fmla="*/ 1018449 w 1085953"/>
                  <a:gd name="connsiteY1923" fmla="*/ 791097 h 1052131"/>
                  <a:gd name="connsiteX1924" fmla="*/ 1016544 w 1085953"/>
                  <a:gd name="connsiteY1924" fmla="*/ 794526 h 1052131"/>
                  <a:gd name="connsiteX1925" fmla="*/ 1016544 w 1085953"/>
                  <a:gd name="connsiteY1925" fmla="*/ 793954 h 1052131"/>
                  <a:gd name="connsiteX1926" fmla="*/ 1016544 w 1085953"/>
                  <a:gd name="connsiteY1926" fmla="*/ 793954 h 1052131"/>
                  <a:gd name="connsiteX1927" fmla="*/ 1015020 w 1085953"/>
                  <a:gd name="connsiteY1927" fmla="*/ 796526 h 1052131"/>
                  <a:gd name="connsiteX1928" fmla="*/ 1015020 w 1085953"/>
                  <a:gd name="connsiteY1928" fmla="*/ 796526 h 1052131"/>
                  <a:gd name="connsiteX1929" fmla="*/ 1017306 w 1085953"/>
                  <a:gd name="connsiteY1929" fmla="*/ 792525 h 1052131"/>
                  <a:gd name="connsiteX1930" fmla="*/ 1017306 w 1085953"/>
                  <a:gd name="connsiteY1930" fmla="*/ 792525 h 1052131"/>
                  <a:gd name="connsiteX1931" fmla="*/ 1017306 w 1085953"/>
                  <a:gd name="connsiteY1931" fmla="*/ 791573 h 1052131"/>
                  <a:gd name="connsiteX1932" fmla="*/ 1017306 w 1085953"/>
                  <a:gd name="connsiteY1932" fmla="*/ 791573 h 1052131"/>
                  <a:gd name="connsiteX1933" fmla="*/ 1016735 w 1085953"/>
                  <a:gd name="connsiteY1933" fmla="*/ 792525 h 1052131"/>
                  <a:gd name="connsiteX1934" fmla="*/ 1018449 w 1085953"/>
                  <a:gd name="connsiteY1934" fmla="*/ 790716 h 1052131"/>
                  <a:gd name="connsiteX1935" fmla="*/ 1005590 w 1085953"/>
                  <a:gd name="connsiteY1935" fmla="*/ 636220 h 1052131"/>
                  <a:gd name="connsiteX1936" fmla="*/ 1004829 w 1085953"/>
                  <a:gd name="connsiteY1936" fmla="*/ 639649 h 1052131"/>
                  <a:gd name="connsiteX1937" fmla="*/ 1003209 w 1085953"/>
                  <a:gd name="connsiteY1937" fmla="*/ 642507 h 1052131"/>
                  <a:gd name="connsiteX1938" fmla="*/ 1003876 w 1085953"/>
                  <a:gd name="connsiteY1938" fmla="*/ 644316 h 1052131"/>
                  <a:gd name="connsiteX1939" fmla="*/ 1002828 w 1085953"/>
                  <a:gd name="connsiteY1939" fmla="*/ 647936 h 1052131"/>
                  <a:gd name="connsiteX1940" fmla="*/ 1001685 w 1085953"/>
                  <a:gd name="connsiteY1940" fmla="*/ 652032 h 1052131"/>
                  <a:gd name="connsiteX1941" fmla="*/ 999495 w 1085953"/>
                  <a:gd name="connsiteY1941" fmla="*/ 667176 h 1052131"/>
                  <a:gd name="connsiteX1942" fmla="*/ 1007876 w 1085953"/>
                  <a:gd name="connsiteY1942" fmla="*/ 659366 h 1052131"/>
                  <a:gd name="connsiteX1943" fmla="*/ 1005590 w 1085953"/>
                  <a:gd name="connsiteY1943" fmla="*/ 635839 h 1052131"/>
                  <a:gd name="connsiteX1944" fmla="*/ 1025783 w 1085953"/>
                  <a:gd name="connsiteY1944" fmla="*/ 777000 h 1052131"/>
                  <a:gd name="connsiteX1945" fmla="*/ 1025117 w 1085953"/>
                  <a:gd name="connsiteY1945" fmla="*/ 777762 h 1052131"/>
                  <a:gd name="connsiteX1946" fmla="*/ 1023879 w 1085953"/>
                  <a:gd name="connsiteY1946" fmla="*/ 780238 h 1052131"/>
                  <a:gd name="connsiteX1947" fmla="*/ 1025688 w 1085953"/>
                  <a:gd name="connsiteY1947" fmla="*/ 777380 h 1052131"/>
                  <a:gd name="connsiteX1948" fmla="*/ 1025688 w 1085953"/>
                  <a:gd name="connsiteY1948" fmla="*/ 777380 h 1052131"/>
                  <a:gd name="connsiteX1949" fmla="*/ 1025688 w 1085953"/>
                  <a:gd name="connsiteY1949" fmla="*/ 777380 h 1052131"/>
                  <a:gd name="connsiteX1950" fmla="*/ 1025688 w 1085953"/>
                  <a:gd name="connsiteY1950" fmla="*/ 777380 h 1052131"/>
                  <a:gd name="connsiteX1951" fmla="*/ 710315 w 1085953"/>
                  <a:gd name="connsiteY1951" fmla="*/ 29001 h 1052131"/>
                  <a:gd name="connsiteX1952" fmla="*/ 710315 w 1085953"/>
                  <a:gd name="connsiteY1952" fmla="*/ 29001 h 1052131"/>
                  <a:gd name="connsiteX1953" fmla="*/ 710315 w 1085953"/>
                  <a:gd name="connsiteY1953" fmla="*/ 29001 h 1052131"/>
                  <a:gd name="connsiteX1954" fmla="*/ 710315 w 1085953"/>
                  <a:gd name="connsiteY1954" fmla="*/ 29001 h 1052131"/>
                  <a:gd name="connsiteX1955" fmla="*/ 710315 w 1085953"/>
                  <a:gd name="connsiteY1955" fmla="*/ 29001 h 1052131"/>
                  <a:gd name="connsiteX1956" fmla="*/ 710315 w 1085953"/>
                  <a:gd name="connsiteY1956" fmla="*/ 29001 h 1052131"/>
                  <a:gd name="connsiteX1957" fmla="*/ 708887 w 1085953"/>
                  <a:gd name="connsiteY1957" fmla="*/ 28430 h 1052131"/>
                  <a:gd name="connsiteX1958" fmla="*/ 708887 w 1085953"/>
                  <a:gd name="connsiteY1958" fmla="*/ 29192 h 1052131"/>
                  <a:gd name="connsiteX1959" fmla="*/ 708887 w 1085953"/>
                  <a:gd name="connsiteY1959" fmla="*/ 29192 h 1052131"/>
                  <a:gd name="connsiteX1960" fmla="*/ 708887 w 1085953"/>
                  <a:gd name="connsiteY1960" fmla="*/ 29192 h 1052131"/>
                  <a:gd name="connsiteX1961" fmla="*/ 710315 w 1085953"/>
                  <a:gd name="connsiteY1961" fmla="*/ 28620 h 1052131"/>
                  <a:gd name="connsiteX1962" fmla="*/ 722222 w 1085953"/>
                  <a:gd name="connsiteY1962" fmla="*/ 61672 h 1052131"/>
                  <a:gd name="connsiteX1963" fmla="*/ 724127 w 1085953"/>
                  <a:gd name="connsiteY1963" fmla="*/ 61672 h 1052131"/>
                  <a:gd name="connsiteX1964" fmla="*/ 724127 w 1085953"/>
                  <a:gd name="connsiteY1964" fmla="*/ 61672 h 1052131"/>
                  <a:gd name="connsiteX1965" fmla="*/ 724127 w 1085953"/>
                  <a:gd name="connsiteY1965" fmla="*/ 61672 h 1052131"/>
                  <a:gd name="connsiteX1966" fmla="*/ 724127 w 1085953"/>
                  <a:gd name="connsiteY1966" fmla="*/ 61672 h 1052131"/>
                  <a:gd name="connsiteX1967" fmla="*/ 722317 w 1085953"/>
                  <a:gd name="connsiteY1967" fmla="*/ 60720 h 1052131"/>
                  <a:gd name="connsiteX1968" fmla="*/ 722317 w 1085953"/>
                  <a:gd name="connsiteY1968" fmla="*/ 60720 h 1052131"/>
                  <a:gd name="connsiteX1969" fmla="*/ 722317 w 1085953"/>
                  <a:gd name="connsiteY1969" fmla="*/ 60720 h 1052131"/>
                  <a:gd name="connsiteX1970" fmla="*/ 722317 w 1085953"/>
                  <a:gd name="connsiteY1970" fmla="*/ 60720 h 1052131"/>
                  <a:gd name="connsiteX1971" fmla="*/ 711078 w 1085953"/>
                  <a:gd name="connsiteY1971" fmla="*/ 64053 h 1052131"/>
                  <a:gd name="connsiteX1972" fmla="*/ 711078 w 1085953"/>
                  <a:gd name="connsiteY1972" fmla="*/ 64720 h 1052131"/>
                  <a:gd name="connsiteX1973" fmla="*/ 711078 w 1085953"/>
                  <a:gd name="connsiteY1973" fmla="*/ 65292 h 1052131"/>
                  <a:gd name="connsiteX1974" fmla="*/ 711078 w 1085953"/>
                  <a:gd name="connsiteY1974" fmla="*/ 65768 h 1052131"/>
                  <a:gd name="connsiteX1975" fmla="*/ 712316 w 1085953"/>
                  <a:gd name="connsiteY1975" fmla="*/ 67006 h 1052131"/>
                  <a:gd name="connsiteX1976" fmla="*/ 712316 w 1085953"/>
                  <a:gd name="connsiteY1976" fmla="*/ 67006 h 1052131"/>
                  <a:gd name="connsiteX1977" fmla="*/ 713745 w 1085953"/>
                  <a:gd name="connsiteY1977" fmla="*/ 67578 h 1052131"/>
                  <a:gd name="connsiteX1978" fmla="*/ 713745 w 1085953"/>
                  <a:gd name="connsiteY1978" fmla="*/ 67578 h 1052131"/>
                  <a:gd name="connsiteX1979" fmla="*/ 715745 w 1085953"/>
                  <a:gd name="connsiteY1979" fmla="*/ 67578 h 1052131"/>
                  <a:gd name="connsiteX1980" fmla="*/ 716697 w 1085953"/>
                  <a:gd name="connsiteY1980" fmla="*/ 67578 h 1052131"/>
                  <a:gd name="connsiteX1981" fmla="*/ 716697 w 1085953"/>
                  <a:gd name="connsiteY1981" fmla="*/ 66434 h 1052131"/>
                  <a:gd name="connsiteX1982" fmla="*/ 714221 w 1085953"/>
                  <a:gd name="connsiteY1982" fmla="*/ 65673 h 1052131"/>
                  <a:gd name="connsiteX1983" fmla="*/ 714221 w 1085953"/>
                  <a:gd name="connsiteY1983" fmla="*/ 65673 h 1052131"/>
                  <a:gd name="connsiteX1984" fmla="*/ 712506 w 1085953"/>
                  <a:gd name="connsiteY1984" fmla="*/ 64244 h 1052131"/>
                  <a:gd name="connsiteX1985" fmla="*/ 711078 w 1085953"/>
                  <a:gd name="connsiteY1985" fmla="*/ 63672 h 1052131"/>
                  <a:gd name="connsiteX1986" fmla="*/ 711078 w 1085953"/>
                  <a:gd name="connsiteY1986" fmla="*/ 64244 h 1052131"/>
                  <a:gd name="connsiteX1987" fmla="*/ 711078 w 1085953"/>
                  <a:gd name="connsiteY1987" fmla="*/ 64244 h 1052131"/>
                  <a:gd name="connsiteX1988" fmla="*/ 709554 w 1085953"/>
                  <a:gd name="connsiteY1988" fmla="*/ 96724 h 1052131"/>
                  <a:gd name="connsiteX1989" fmla="*/ 709077 w 1085953"/>
                  <a:gd name="connsiteY1989" fmla="*/ 96724 h 1052131"/>
                  <a:gd name="connsiteX1990" fmla="*/ 709554 w 1085953"/>
                  <a:gd name="connsiteY1990" fmla="*/ 97772 h 1052131"/>
                  <a:gd name="connsiteX1991" fmla="*/ 713459 w 1085953"/>
                  <a:gd name="connsiteY1991" fmla="*/ 98343 h 1052131"/>
                  <a:gd name="connsiteX1992" fmla="*/ 715649 w 1085953"/>
                  <a:gd name="connsiteY1992" fmla="*/ 99867 h 1052131"/>
                  <a:gd name="connsiteX1993" fmla="*/ 715649 w 1085953"/>
                  <a:gd name="connsiteY1993" fmla="*/ 99867 h 1052131"/>
                  <a:gd name="connsiteX1994" fmla="*/ 717078 w 1085953"/>
                  <a:gd name="connsiteY1994" fmla="*/ 99867 h 1052131"/>
                  <a:gd name="connsiteX1995" fmla="*/ 718697 w 1085953"/>
                  <a:gd name="connsiteY1995" fmla="*/ 99867 h 1052131"/>
                  <a:gd name="connsiteX1996" fmla="*/ 719555 w 1085953"/>
                  <a:gd name="connsiteY1996" fmla="*/ 99867 h 1052131"/>
                  <a:gd name="connsiteX1997" fmla="*/ 717935 w 1085953"/>
                  <a:gd name="connsiteY1997" fmla="*/ 98915 h 1052131"/>
                  <a:gd name="connsiteX1998" fmla="*/ 710792 w 1085953"/>
                  <a:gd name="connsiteY1998" fmla="*/ 95200 h 1052131"/>
                  <a:gd name="connsiteX1999" fmla="*/ 709458 w 1085953"/>
                  <a:gd name="connsiteY1999" fmla="*/ 95200 h 1052131"/>
                  <a:gd name="connsiteX2000" fmla="*/ 708410 w 1085953"/>
                  <a:gd name="connsiteY2000" fmla="*/ 95200 h 1052131"/>
                  <a:gd name="connsiteX2001" fmla="*/ 709554 w 1085953"/>
                  <a:gd name="connsiteY2001" fmla="*/ 96343 h 1052131"/>
                  <a:gd name="connsiteX2002" fmla="*/ 424851 w 1085953"/>
                  <a:gd name="connsiteY2002" fmla="*/ 1048081 h 1052131"/>
                  <a:gd name="connsiteX2003" fmla="*/ 426280 w 1085953"/>
                  <a:gd name="connsiteY2003" fmla="*/ 1048653 h 1052131"/>
                  <a:gd name="connsiteX2004" fmla="*/ 424661 w 1085953"/>
                  <a:gd name="connsiteY2004" fmla="*/ 1047795 h 1052131"/>
                  <a:gd name="connsiteX2005" fmla="*/ 424661 w 1085953"/>
                  <a:gd name="connsiteY2005" fmla="*/ 1047795 h 1052131"/>
                  <a:gd name="connsiteX2006" fmla="*/ 424661 w 1085953"/>
                  <a:gd name="connsiteY2006" fmla="*/ 1047795 h 1052131"/>
                  <a:gd name="connsiteX2007" fmla="*/ 424661 w 1085953"/>
                  <a:gd name="connsiteY2007" fmla="*/ 1047795 h 1052131"/>
                  <a:gd name="connsiteX2008" fmla="*/ 424661 w 1085953"/>
                  <a:gd name="connsiteY2008" fmla="*/ 1047795 h 1052131"/>
                  <a:gd name="connsiteX2009" fmla="*/ 732604 w 1085953"/>
                  <a:gd name="connsiteY2009" fmla="*/ 416574 h 1052131"/>
                  <a:gd name="connsiteX2010" fmla="*/ 733556 w 1085953"/>
                  <a:gd name="connsiteY2010" fmla="*/ 415050 h 1052131"/>
                  <a:gd name="connsiteX2011" fmla="*/ 733556 w 1085953"/>
                  <a:gd name="connsiteY2011" fmla="*/ 415050 h 1052131"/>
                  <a:gd name="connsiteX2012" fmla="*/ 728794 w 1085953"/>
                  <a:gd name="connsiteY2012" fmla="*/ 417526 h 1052131"/>
                  <a:gd name="connsiteX2013" fmla="*/ 725555 w 1085953"/>
                  <a:gd name="connsiteY2013" fmla="*/ 418098 h 1052131"/>
                  <a:gd name="connsiteX2014" fmla="*/ 720793 w 1085953"/>
                  <a:gd name="connsiteY2014" fmla="*/ 419145 h 1052131"/>
                  <a:gd name="connsiteX2015" fmla="*/ 720031 w 1085953"/>
                  <a:gd name="connsiteY2015" fmla="*/ 419145 h 1052131"/>
                  <a:gd name="connsiteX2016" fmla="*/ 720031 w 1085953"/>
                  <a:gd name="connsiteY2016" fmla="*/ 423717 h 1052131"/>
                  <a:gd name="connsiteX2017" fmla="*/ 727365 w 1085953"/>
                  <a:gd name="connsiteY2017" fmla="*/ 424670 h 1052131"/>
                  <a:gd name="connsiteX2018" fmla="*/ 729270 w 1085953"/>
                  <a:gd name="connsiteY2018" fmla="*/ 423717 h 1052131"/>
                  <a:gd name="connsiteX2019" fmla="*/ 731461 w 1085953"/>
                  <a:gd name="connsiteY2019" fmla="*/ 422860 h 1052131"/>
                  <a:gd name="connsiteX2020" fmla="*/ 731461 w 1085953"/>
                  <a:gd name="connsiteY2020" fmla="*/ 422860 h 1052131"/>
                  <a:gd name="connsiteX2021" fmla="*/ 731461 w 1085953"/>
                  <a:gd name="connsiteY2021" fmla="*/ 419241 h 1052131"/>
                  <a:gd name="connsiteX2022" fmla="*/ 732604 w 1085953"/>
                  <a:gd name="connsiteY2022" fmla="*/ 416192 h 1052131"/>
                  <a:gd name="connsiteX2023" fmla="*/ 858429 w 1085953"/>
                  <a:gd name="connsiteY2023" fmla="*/ 621837 h 1052131"/>
                  <a:gd name="connsiteX2024" fmla="*/ 858429 w 1085953"/>
                  <a:gd name="connsiteY2024" fmla="*/ 621837 h 1052131"/>
                  <a:gd name="connsiteX2025" fmla="*/ 737843 w 1085953"/>
                  <a:gd name="connsiteY2025" fmla="*/ 31287 h 1052131"/>
                  <a:gd name="connsiteX2026" fmla="*/ 738986 w 1085953"/>
                  <a:gd name="connsiteY2026" fmla="*/ 31287 h 1052131"/>
                  <a:gd name="connsiteX2027" fmla="*/ 738986 w 1085953"/>
                  <a:gd name="connsiteY2027" fmla="*/ 31287 h 1052131"/>
                  <a:gd name="connsiteX2028" fmla="*/ 738509 w 1085953"/>
                  <a:gd name="connsiteY2028" fmla="*/ 30716 h 1052131"/>
                  <a:gd name="connsiteX2029" fmla="*/ 736128 w 1085953"/>
                  <a:gd name="connsiteY2029" fmla="*/ 29382 h 1052131"/>
                  <a:gd name="connsiteX2030" fmla="*/ 736128 w 1085953"/>
                  <a:gd name="connsiteY2030" fmla="*/ 29382 h 1052131"/>
                  <a:gd name="connsiteX2031" fmla="*/ 734604 w 1085953"/>
                  <a:gd name="connsiteY2031" fmla="*/ 29382 h 1052131"/>
                  <a:gd name="connsiteX2032" fmla="*/ 734604 w 1085953"/>
                  <a:gd name="connsiteY2032" fmla="*/ 29382 h 1052131"/>
                  <a:gd name="connsiteX2033" fmla="*/ 735080 w 1085953"/>
                  <a:gd name="connsiteY2033" fmla="*/ 29954 h 1052131"/>
                  <a:gd name="connsiteX2034" fmla="*/ 752321 w 1085953"/>
                  <a:gd name="connsiteY2034" fmla="*/ 29287 h 1052131"/>
                  <a:gd name="connsiteX2035" fmla="*/ 750987 w 1085953"/>
                  <a:gd name="connsiteY2035" fmla="*/ 28716 h 1052131"/>
                  <a:gd name="connsiteX2036" fmla="*/ 750987 w 1085953"/>
                  <a:gd name="connsiteY2036" fmla="*/ 28716 h 1052131"/>
                  <a:gd name="connsiteX2037" fmla="*/ 749654 w 1085953"/>
                  <a:gd name="connsiteY2037" fmla="*/ 28144 h 1052131"/>
                  <a:gd name="connsiteX2038" fmla="*/ 748511 w 1085953"/>
                  <a:gd name="connsiteY2038" fmla="*/ 28144 h 1052131"/>
                  <a:gd name="connsiteX2039" fmla="*/ 748511 w 1085953"/>
                  <a:gd name="connsiteY2039" fmla="*/ 28144 h 1052131"/>
                  <a:gd name="connsiteX2040" fmla="*/ 756321 w 1085953"/>
                  <a:gd name="connsiteY2040" fmla="*/ 31478 h 1052131"/>
                  <a:gd name="connsiteX2041" fmla="*/ 754702 w 1085953"/>
                  <a:gd name="connsiteY2041" fmla="*/ 30716 h 1052131"/>
                  <a:gd name="connsiteX2042" fmla="*/ 754035 w 1085953"/>
                  <a:gd name="connsiteY2042" fmla="*/ 30716 h 1052131"/>
                  <a:gd name="connsiteX2043" fmla="*/ 755369 w 1085953"/>
                  <a:gd name="connsiteY2043" fmla="*/ 30716 h 1052131"/>
                  <a:gd name="connsiteX2044" fmla="*/ 752130 w 1085953"/>
                  <a:gd name="connsiteY2044" fmla="*/ 29287 h 1052131"/>
                  <a:gd name="connsiteX2045" fmla="*/ 752130 w 1085953"/>
                  <a:gd name="connsiteY2045" fmla="*/ 29287 h 1052131"/>
                  <a:gd name="connsiteX2046" fmla="*/ 723270 w 1085953"/>
                  <a:gd name="connsiteY2046" fmla="*/ 52147 h 1052131"/>
                  <a:gd name="connsiteX2047" fmla="*/ 721746 w 1085953"/>
                  <a:gd name="connsiteY2047" fmla="*/ 51290 h 1052131"/>
                  <a:gd name="connsiteX2048" fmla="*/ 720317 w 1085953"/>
                  <a:gd name="connsiteY2048" fmla="*/ 50337 h 1052131"/>
                  <a:gd name="connsiteX2049" fmla="*/ 719364 w 1085953"/>
                  <a:gd name="connsiteY2049" fmla="*/ 50337 h 1052131"/>
                  <a:gd name="connsiteX2050" fmla="*/ 719364 w 1085953"/>
                  <a:gd name="connsiteY2050" fmla="*/ 50337 h 1052131"/>
                  <a:gd name="connsiteX2051" fmla="*/ 720603 w 1085953"/>
                  <a:gd name="connsiteY2051" fmla="*/ 51575 h 1052131"/>
                  <a:gd name="connsiteX2052" fmla="*/ 720603 w 1085953"/>
                  <a:gd name="connsiteY2052" fmla="*/ 51575 h 1052131"/>
                  <a:gd name="connsiteX2053" fmla="*/ 721174 w 1085953"/>
                  <a:gd name="connsiteY2053" fmla="*/ 51575 h 1052131"/>
                  <a:gd name="connsiteX2054" fmla="*/ 722222 w 1085953"/>
                  <a:gd name="connsiteY2054" fmla="*/ 51575 h 1052131"/>
                  <a:gd name="connsiteX2055" fmla="*/ 724222 w 1085953"/>
                  <a:gd name="connsiteY2055" fmla="*/ 52338 h 1052131"/>
                  <a:gd name="connsiteX2056" fmla="*/ 724793 w 1085953"/>
                  <a:gd name="connsiteY2056" fmla="*/ 52338 h 1052131"/>
                  <a:gd name="connsiteX2057" fmla="*/ 724793 w 1085953"/>
                  <a:gd name="connsiteY2057" fmla="*/ 52338 h 1052131"/>
                  <a:gd name="connsiteX2058" fmla="*/ 732795 w 1085953"/>
                  <a:gd name="connsiteY2058" fmla="*/ 63958 h 1052131"/>
                  <a:gd name="connsiteX2059" fmla="*/ 732795 w 1085953"/>
                  <a:gd name="connsiteY2059" fmla="*/ 63482 h 1052131"/>
                  <a:gd name="connsiteX2060" fmla="*/ 732795 w 1085953"/>
                  <a:gd name="connsiteY2060" fmla="*/ 62910 h 1052131"/>
                  <a:gd name="connsiteX2061" fmla="*/ 730699 w 1085953"/>
                  <a:gd name="connsiteY2061" fmla="*/ 61196 h 1052131"/>
                  <a:gd name="connsiteX2062" fmla="*/ 729270 w 1085953"/>
                  <a:gd name="connsiteY2062" fmla="*/ 61196 h 1052131"/>
                  <a:gd name="connsiteX2063" fmla="*/ 729270 w 1085953"/>
                  <a:gd name="connsiteY2063" fmla="*/ 61196 h 1052131"/>
                  <a:gd name="connsiteX2064" fmla="*/ 729270 w 1085953"/>
                  <a:gd name="connsiteY2064" fmla="*/ 62053 h 1052131"/>
                  <a:gd name="connsiteX2065" fmla="*/ 730889 w 1085953"/>
                  <a:gd name="connsiteY2065" fmla="*/ 63291 h 1052131"/>
                  <a:gd name="connsiteX2066" fmla="*/ 733556 w 1085953"/>
                  <a:gd name="connsiteY2066" fmla="*/ 63672 h 1052131"/>
                  <a:gd name="connsiteX2067" fmla="*/ 724508 w 1085953"/>
                  <a:gd name="connsiteY2067" fmla="*/ 66625 h 1052131"/>
                  <a:gd name="connsiteX2068" fmla="*/ 724508 w 1085953"/>
                  <a:gd name="connsiteY2068" fmla="*/ 66625 h 1052131"/>
                  <a:gd name="connsiteX2069" fmla="*/ 724508 w 1085953"/>
                  <a:gd name="connsiteY2069" fmla="*/ 66625 h 1052131"/>
                  <a:gd name="connsiteX2070" fmla="*/ 724508 w 1085953"/>
                  <a:gd name="connsiteY2070" fmla="*/ 65958 h 1052131"/>
                  <a:gd name="connsiteX2071" fmla="*/ 724508 w 1085953"/>
                  <a:gd name="connsiteY2071" fmla="*/ 65482 h 1052131"/>
                  <a:gd name="connsiteX2072" fmla="*/ 724508 w 1085953"/>
                  <a:gd name="connsiteY2072" fmla="*/ 65482 h 1052131"/>
                  <a:gd name="connsiteX2073" fmla="*/ 724508 w 1085953"/>
                  <a:gd name="connsiteY2073" fmla="*/ 65482 h 1052131"/>
                  <a:gd name="connsiteX2074" fmla="*/ 723841 w 1085953"/>
                  <a:gd name="connsiteY2074" fmla="*/ 65482 h 1052131"/>
                  <a:gd name="connsiteX2075" fmla="*/ 723174 w 1085953"/>
                  <a:gd name="connsiteY2075" fmla="*/ 65482 h 1052131"/>
                  <a:gd name="connsiteX2076" fmla="*/ 723174 w 1085953"/>
                  <a:gd name="connsiteY2076" fmla="*/ 65482 h 1052131"/>
                  <a:gd name="connsiteX2077" fmla="*/ 723174 w 1085953"/>
                  <a:gd name="connsiteY2077" fmla="*/ 66244 h 1052131"/>
                  <a:gd name="connsiteX2078" fmla="*/ 724793 w 1085953"/>
                  <a:gd name="connsiteY2078" fmla="*/ 66339 h 1052131"/>
                  <a:gd name="connsiteX2079" fmla="*/ 726603 w 1085953"/>
                  <a:gd name="connsiteY2079" fmla="*/ 15000 h 1052131"/>
                  <a:gd name="connsiteX2080" fmla="*/ 726603 w 1085953"/>
                  <a:gd name="connsiteY2080" fmla="*/ 15000 h 1052131"/>
                  <a:gd name="connsiteX2081" fmla="*/ 737843 w 1085953"/>
                  <a:gd name="connsiteY2081" fmla="*/ 19191 h 1052131"/>
                  <a:gd name="connsiteX2082" fmla="*/ 739081 w 1085953"/>
                  <a:gd name="connsiteY2082" fmla="*/ 19191 h 1052131"/>
                  <a:gd name="connsiteX2083" fmla="*/ 948345 w 1085953"/>
                  <a:gd name="connsiteY2083" fmla="*/ 163685 h 1052131"/>
                  <a:gd name="connsiteX2084" fmla="*/ 948345 w 1085953"/>
                  <a:gd name="connsiteY2084" fmla="*/ 163685 h 1052131"/>
                  <a:gd name="connsiteX2085" fmla="*/ 1076456 w 1085953"/>
                  <a:gd name="connsiteY2085" fmla="*/ 419431 h 1052131"/>
                  <a:gd name="connsiteX2086" fmla="*/ 1076456 w 1085953"/>
                  <a:gd name="connsiteY2086" fmla="*/ 419431 h 1052131"/>
                  <a:gd name="connsiteX2087" fmla="*/ 539437 w 1085953"/>
                  <a:gd name="connsiteY2087" fmla="*/ 376759 h 1052131"/>
                  <a:gd name="connsiteX2088" fmla="*/ 539437 w 1085953"/>
                  <a:gd name="connsiteY2088" fmla="*/ 380664 h 1052131"/>
                  <a:gd name="connsiteX2089" fmla="*/ 540771 w 1085953"/>
                  <a:gd name="connsiteY2089" fmla="*/ 384665 h 1052131"/>
                  <a:gd name="connsiteX2090" fmla="*/ 541532 w 1085953"/>
                  <a:gd name="connsiteY2090" fmla="*/ 385998 h 1052131"/>
                  <a:gd name="connsiteX2091" fmla="*/ 539818 w 1085953"/>
                  <a:gd name="connsiteY2091" fmla="*/ 390666 h 1052131"/>
                  <a:gd name="connsiteX2092" fmla="*/ 539818 w 1085953"/>
                  <a:gd name="connsiteY2092" fmla="*/ 391713 h 1052131"/>
                  <a:gd name="connsiteX2093" fmla="*/ 542009 w 1085953"/>
                  <a:gd name="connsiteY2093" fmla="*/ 392856 h 1052131"/>
                  <a:gd name="connsiteX2094" fmla="*/ 548772 w 1085953"/>
                  <a:gd name="connsiteY2094" fmla="*/ 389904 h 1052131"/>
                  <a:gd name="connsiteX2095" fmla="*/ 548772 w 1085953"/>
                  <a:gd name="connsiteY2095" fmla="*/ 386855 h 1052131"/>
                  <a:gd name="connsiteX2096" fmla="*/ 548772 w 1085953"/>
                  <a:gd name="connsiteY2096" fmla="*/ 384570 h 1052131"/>
                  <a:gd name="connsiteX2097" fmla="*/ 549914 w 1085953"/>
                  <a:gd name="connsiteY2097" fmla="*/ 380474 h 1052131"/>
                  <a:gd name="connsiteX2098" fmla="*/ 549914 w 1085953"/>
                  <a:gd name="connsiteY2098" fmla="*/ 380474 h 1052131"/>
                  <a:gd name="connsiteX2099" fmla="*/ 546390 w 1085953"/>
                  <a:gd name="connsiteY2099" fmla="*/ 372378 h 1052131"/>
                  <a:gd name="connsiteX2100" fmla="*/ 544866 w 1085953"/>
                  <a:gd name="connsiteY2100" fmla="*/ 372949 h 1052131"/>
                  <a:gd name="connsiteX2101" fmla="*/ 541818 w 1085953"/>
                  <a:gd name="connsiteY2101" fmla="*/ 374949 h 1052131"/>
                  <a:gd name="connsiteX2102" fmla="*/ 539723 w 1085953"/>
                  <a:gd name="connsiteY2102" fmla="*/ 376759 h 1052131"/>
                  <a:gd name="connsiteX2103" fmla="*/ 544771 w 1085953"/>
                  <a:gd name="connsiteY2103" fmla="*/ 368758 h 1052131"/>
                  <a:gd name="connsiteX2104" fmla="*/ 546200 w 1085953"/>
                  <a:gd name="connsiteY2104" fmla="*/ 366377 h 1052131"/>
                  <a:gd name="connsiteX2105" fmla="*/ 546200 w 1085953"/>
                  <a:gd name="connsiteY2105" fmla="*/ 366377 h 1052131"/>
                  <a:gd name="connsiteX2106" fmla="*/ 546200 w 1085953"/>
                  <a:gd name="connsiteY2106" fmla="*/ 365043 h 1052131"/>
                  <a:gd name="connsiteX2107" fmla="*/ 546200 w 1085953"/>
                  <a:gd name="connsiteY2107" fmla="*/ 362853 h 1052131"/>
                  <a:gd name="connsiteX2108" fmla="*/ 545533 w 1085953"/>
                  <a:gd name="connsiteY2108" fmla="*/ 360186 h 1052131"/>
                  <a:gd name="connsiteX2109" fmla="*/ 545533 w 1085953"/>
                  <a:gd name="connsiteY2109" fmla="*/ 357233 h 1052131"/>
                  <a:gd name="connsiteX2110" fmla="*/ 545057 w 1085953"/>
                  <a:gd name="connsiteY2110" fmla="*/ 356090 h 1052131"/>
                  <a:gd name="connsiteX2111" fmla="*/ 540580 w 1085953"/>
                  <a:gd name="connsiteY2111" fmla="*/ 364091 h 1052131"/>
                  <a:gd name="connsiteX2112" fmla="*/ 541723 w 1085953"/>
                  <a:gd name="connsiteY2112" fmla="*/ 368282 h 1052131"/>
                  <a:gd name="connsiteX2113" fmla="*/ 545057 w 1085953"/>
                  <a:gd name="connsiteY2113" fmla="*/ 368758 h 1052131"/>
                  <a:gd name="connsiteX2114" fmla="*/ 589539 w 1085953"/>
                  <a:gd name="connsiteY2114" fmla="*/ 397333 h 1052131"/>
                  <a:gd name="connsiteX2115" fmla="*/ 588491 w 1085953"/>
                  <a:gd name="connsiteY2115" fmla="*/ 396285 h 1052131"/>
                  <a:gd name="connsiteX2116" fmla="*/ 579442 w 1085953"/>
                  <a:gd name="connsiteY2116" fmla="*/ 399524 h 1052131"/>
                  <a:gd name="connsiteX2117" fmla="*/ 570774 w 1085953"/>
                  <a:gd name="connsiteY2117" fmla="*/ 398952 h 1052131"/>
                  <a:gd name="connsiteX2118" fmla="*/ 569346 w 1085953"/>
                  <a:gd name="connsiteY2118" fmla="*/ 400857 h 1052131"/>
                  <a:gd name="connsiteX2119" fmla="*/ 571441 w 1085953"/>
                  <a:gd name="connsiteY2119" fmla="*/ 402286 h 1052131"/>
                  <a:gd name="connsiteX2120" fmla="*/ 577347 w 1085953"/>
                  <a:gd name="connsiteY2120" fmla="*/ 403429 h 1052131"/>
                  <a:gd name="connsiteX2121" fmla="*/ 578394 w 1085953"/>
                  <a:gd name="connsiteY2121" fmla="*/ 404286 h 1052131"/>
                  <a:gd name="connsiteX2122" fmla="*/ 581823 w 1085953"/>
                  <a:gd name="connsiteY2122" fmla="*/ 408096 h 1052131"/>
                  <a:gd name="connsiteX2123" fmla="*/ 582395 w 1085953"/>
                  <a:gd name="connsiteY2123" fmla="*/ 408096 h 1052131"/>
                  <a:gd name="connsiteX2124" fmla="*/ 586681 w 1085953"/>
                  <a:gd name="connsiteY2124" fmla="*/ 408668 h 1052131"/>
                  <a:gd name="connsiteX2125" fmla="*/ 590300 w 1085953"/>
                  <a:gd name="connsiteY2125" fmla="*/ 410954 h 1052131"/>
                  <a:gd name="connsiteX2126" fmla="*/ 590300 w 1085953"/>
                  <a:gd name="connsiteY2126" fmla="*/ 410954 h 1052131"/>
                  <a:gd name="connsiteX2127" fmla="*/ 589443 w 1085953"/>
                  <a:gd name="connsiteY2127" fmla="*/ 404858 h 1052131"/>
                  <a:gd name="connsiteX2128" fmla="*/ 589443 w 1085953"/>
                  <a:gd name="connsiteY2128" fmla="*/ 398952 h 1052131"/>
                  <a:gd name="connsiteX2129" fmla="*/ 589824 w 1085953"/>
                  <a:gd name="connsiteY2129" fmla="*/ 396952 h 1052131"/>
                  <a:gd name="connsiteX2130" fmla="*/ 662690 w 1085953"/>
                  <a:gd name="connsiteY2130" fmla="*/ 425908 h 1052131"/>
                  <a:gd name="connsiteX2131" fmla="*/ 665929 w 1085953"/>
                  <a:gd name="connsiteY2131" fmla="*/ 426765 h 1052131"/>
                  <a:gd name="connsiteX2132" fmla="*/ 670120 w 1085953"/>
                  <a:gd name="connsiteY2132" fmla="*/ 425432 h 1052131"/>
                  <a:gd name="connsiteX2133" fmla="*/ 675359 w 1085953"/>
                  <a:gd name="connsiteY2133" fmla="*/ 424575 h 1052131"/>
                  <a:gd name="connsiteX2134" fmla="*/ 676692 w 1085953"/>
                  <a:gd name="connsiteY2134" fmla="*/ 422670 h 1052131"/>
                  <a:gd name="connsiteX2135" fmla="*/ 674882 w 1085953"/>
                  <a:gd name="connsiteY2135" fmla="*/ 420193 h 1052131"/>
                  <a:gd name="connsiteX2136" fmla="*/ 673739 w 1085953"/>
                  <a:gd name="connsiteY2136" fmla="*/ 420193 h 1052131"/>
                  <a:gd name="connsiteX2137" fmla="*/ 668882 w 1085953"/>
                  <a:gd name="connsiteY2137" fmla="*/ 421336 h 1052131"/>
                  <a:gd name="connsiteX2138" fmla="*/ 663548 w 1085953"/>
                  <a:gd name="connsiteY2138" fmla="*/ 420003 h 1052131"/>
                  <a:gd name="connsiteX2139" fmla="*/ 661547 w 1085953"/>
                  <a:gd name="connsiteY2139" fmla="*/ 419145 h 1052131"/>
                  <a:gd name="connsiteX2140" fmla="*/ 660976 w 1085953"/>
                  <a:gd name="connsiteY2140" fmla="*/ 419145 h 1052131"/>
                  <a:gd name="connsiteX2141" fmla="*/ 656023 w 1085953"/>
                  <a:gd name="connsiteY2141" fmla="*/ 421812 h 1052131"/>
                  <a:gd name="connsiteX2142" fmla="*/ 662976 w 1085953"/>
                  <a:gd name="connsiteY2142" fmla="*/ 426003 h 1052131"/>
                  <a:gd name="connsiteX2143" fmla="*/ 291215 w 1085953"/>
                  <a:gd name="connsiteY2143" fmla="*/ 45575 h 1052131"/>
                  <a:gd name="connsiteX2144" fmla="*/ 291215 w 1085953"/>
                  <a:gd name="connsiteY2144" fmla="*/ 45575 h 1052131"/>
                  <a:gd name="connsiteX2145" fmla="*/ 292263 w 1085953"/>
                  <a:gd name="connsiteY2145" fmla="*/ 45003 h 1052131"/>
                  <a:gd name="connsiteX2146" fmla="*/ 390656 w 1085953"/>
                  <a:gd name="connsiteY2146" fmla="*/ 1039413 h 1052131"/>
                  <a:gd name="connsiteX2147" fmla="*/ 390656 w 1085953"/>
                  <a:gd name="connsiteY2147" fmla="*/ 1039413 h 1052131"/>
                  <a:gd name="connsiteX2148" fmla="*/ 391990 w 1085953"/>
                  <a:gd name="connsiteY2148" fmla="*/ 1039890 h 1052131"/>
                  <a:gd name="connsiteX2149" fmla="*/ 393895 w 1085953"/>
                  <a:gd name="connsiteY2149" fmla="*/ 1040556 h 1052131"/>
                  <a:gd name="connsiteX2150" fmla="*/ 390656 w 1085953"/>
                  <a:gd name="connsiteY2150" fmla="*/ 1039413 h 1052131"/>
                  <a:gd name="connsiteX2151" fmla="*/ 414374 w 1085953"/>
                  <a:gd name="connsiteY2151" fmla="*/ 1046938 h 1052131"/>
                  <a:gd name="connsiteX2152" fmla="*/ 414374 w 1085953"/>
                  <a:gd name="connsiteY2152" fmla="*/ 1046938 h 1052131"/>
                  <a:gd name="connsiteX2153" fmla="*/ 418374 w 1085953"/>
                  <a:gd name="connsiteY2153" fmla="*/ 1048272 h 1052131"/>
                  <a:gd name="connsiteX2154" fmla="*/ 416564 w 1085953"/>
                  <a:gd name="connsiteY2154" fmla="*/ 1047605 h 1052131"/>
                  <a:gd name="connsiteX2155" fmla="*/ 360557 w 1085953"/>
                  <a:gd name="connsiteY2155" fmla="*/ 1027888 h 1052131"/>
                  <a:gd name="connsiteX2156" fmla="*/ 360557 w 1085953"/>
                  <a:gd name="connsiteY2156" fmla="*/ 1027888 h 1052131"/>
                  <a:gd name="connsiteX2157" fmla="*/ 363605 w 1085953"/>
                  <a:gd name="connsiteY2157" fmla="*/ 1029317 h 1052131"/>
                  <a:gd name="connsiteX2158" fmla="*/ 362367 w 1085953"/>
                  <a:gd name="connsiteY2158" fmla="*/ 1028650 h 1052131"/>
                  <a:gd name="connsiteX2159" fmla="*/ 362843 w 1085953"/>
                  <a:gd name="connsiteY2159" fmla="*/ 1028745 h 1052131"/>
                  <a:gd name="connsiteX2160" fmla="*/ 362843 w 1085953"/>
                  <a:gd name="connsiteY2160" fmla="*/ 1028745 h 1052131"/>
                  <a:gd name="connsiteX2161" fmla="*/ 368273 w 1085953"/>
                  <a:gd name="connsiteY2161" fmla="*/ 1031127 h 1052131"/>
                  <a:gd name="connsiteX2162" fmla="*/ 368273 w 1085953"/>
                  <a:gd name="connsiteY2162" fmla="*/ 1031127 h 1052131"/>
                  <a:gd name="connsiteX2163" fmla="*/ 362748 w 1085953"/>
                  <a:gd name="connsiteY2163" fmla="*/ 1028555 h 1052131"/>
                  <a:gd name="connsiteX2164" fmla="*/ 399324 w 1085953"/>
                  <a:gd name="connsiteY2164" fmla="*/ 1042652 h 1052131"/>
                  <a:gd name="connsiteX2165" fmla="*/ 395895 w 1085953"/>
                  <a:gd name="connsiteY2165" fmla="*/ 1041509 h 1052131"/>
                  <a:gd name="connsiteX2166" fmla="*/ 395895 w 1085953"/>
                  <a:gd name="connsiteY2166" fmla="*/ 1041509 h 1052131"/>
                  <a:gd name="connsiteX2167" fmla="*/ 397610 w 1085953"/>
                  <a:gd name="connsiteY2167" fmla="*/ 1042176 h 1052131"/>
                  <a:gd name="connsiteX2168" fmla="*/ 399515 w 1085953"/>
                  <a:gd name="connsiteY2168" fmla="*/ 1042176 h 1052131"/>
                  <a:gd name="connsiteX2169" fmla="*/ 379703 w 1085953"/>
                  <a:gd name="connsiteY2169" fmla="*/ 1035889 h 1052131"/>
                  <a:gd name="connsiteX2170" fmla="*/ 379703 w 1085953"/>
                  <a:gd name="connsiteY2170" fmla="*/ 1035889 h 1052131"/>
                  <a:gd name="connsiteX2171" fmla="*/ 383798 w 1085953"/>
                  <a:gd name="connsiteY2171" fmla="*/ 1037508 h 1052131"/>
                  <a:gd name="connsiteX2172" fmla="*/ 382655 w 1085953"/>
                  <a:gd name="connsiteY2172" fmla="*/ 1037032 h 1052131"/>
                  <a:gd name="connsiteX2173" fmla="*/ 401420 w 1085953"/>
                  <a:gd name="connsiteY2173" fmla="*/ 1043509 h 1052131"/>
                  <a:gd name="connsiteX2174" fmla="*/ 401420 w 1085953"/>
                  <a:gd name="connsiteY2174" fmla="*/ 1043509 h 1052131"/>
                  <a:gd name="connsiteX2175" fmla="*/ 403325 w 1085953"/>
                  <a:gd name="connsiteY2175" fmla="*/ 1044271 h 1052131"/>
                  <a:gd name="connsiteX2176" fmla="*/ 408849 w 1085953"/>
                  <a:gd name="connsiteY2176" fmla="*/ 1045890 h 1052131"/>
                  <a:gd name="connsiteX2177" fmla="*/ 408849 w 1085953"/>
                  <a:gd name="connsiteY2177" fmla="*/ 1045890 h 1052131"/>
                  <a:gd name="connsiteX2178" fmla="*/ 401324 w 1085953"/>
                  <a:gd name="connsiteY2178" fmla="*/ 1043319 h 1052131"/>
                  <a:gd name="connsiteX2179" fmla="*/ 407135 w 1085953"/>
                  <a:gd name="connsiteY2179" fmla="*/ 1045033 h 1052131"/>
                  <a:gd name="connsiteX2180" fmla="*/ 407135 w 1085953"/>
                  <a:gd name="connsiteY2180" fmla="*/ 1045033 h 1052131"/>
                  <a:gd name="connsiteX2181" fmla="*/ 400467 w 1085953"/>
                  <a:gd name="connsiteY2181" fmla="*/ 1042842 h 1052131"/>
                  <a:gd name="connsiteX2182" fmla="*/ 407039 w 1085953"/>
                  <a:gd name="connsiteY2182" fmla="*/ 1044843 h 1052131"/>
                  <a:gd name="connsiteX2183" fmla="*/ 409421 w 1085953"/>
                  <a:gd name="connsiteY2183" fmla="*/ 1045890 h 1052131"/>
                  <a:gd name="connsiteX2184" fmla="*/ 415993 w 1085953"/>
                  <a:gd name="connsiteY2184" fmla="*/ 1047891 h 1052131"/>
                  <a:gd name="connsiteX2185" fmla="*/ 415326 w 1085953"/>
                  <a:gd name="connsiteY2185" fmla="*/ 1047891 h 1052131"/>
                  <a:gd name="connsiteX2186" fmla="*/ 409706 w 1085953"/>
                  <a:gd name="connsiteY2186" fmla="*/ 1045700 h 1052131"/>
                  <a:gd name="connsiteX2187" fmla="*/ 407421 w 1085953"/>
                  <a:gd name="connsiteY2187" fmla="*/ 1044652 h 1052131"/>
                  <a:gd name="connsiteX2188" fmla="*/ 405992 w 1085953"/>
                  <a:gd name="connsiteY2188" fmla="*/ 1044652 h 1052131"/>
                  <a:gd name="connsiteX2189" fmla="*/ 405992 w 1085953"/>
                  <a:gd name="connsiteY2189" fmla="*/ 1044652 h 1052131"/>
                  <a:gd name="connsiteX2190" fmla="*/ 409802 w 1085953"/>
                  <a:gd name="connsiteY2190" fmla="*/ 1046081 h 1052131"/>
                  <a:gd name="connsiteX2191" fmla="*/ 407325 w 1085953"/>
                  <a:gd name="connsiteY2191" fmla="*/ 1044462 h 1052131"/>
                  <a:gd name="connsiteX2192" fmla="*/ 390656 w 1085953"/>
                  <a:gd name="connsiteY2192" fmla="*/ 1039985 h 1052131"/>
                  <a:gd name="connsiteX2193" fmla="*/ 393609 w 1085953"/>
                  <a:gd name="connsiteY2193" fmla="*/ 1041128 h 1052131"/>
                  <a:gd name="connsiteX2194" fmla="*/ 392466 w 1085953"/>
                  <a:gd name="connsiteY2194" fmla="*/ 1040652 h 1052131"/>
                  <a:gd name="connsiteX2195" fmla="*/ 340936 w 1085953"/>
                  <a:gd name="connsiteY2195" fmla="*/ 26811 h 1052131"/>
                  <a:gd name="connsiteX2196" fmla="*/ 344651 w 1085953"/>
                  <a:gd name="connsiteY2196" fmla="*/ 25572 h 1052131"/>
                  <a:gd name="connsiteX2197" fmla="*/ 340174 w 1085953"/>
                  <a:gd name="connsiteY2197" fmla="*/ 27668 h 1052131"/>
                  <a:gd name="connsiteX2198" fmla="*/ 340746 w 1085953"/>
                  <a:gd name="connsiteY2198" fmla="*/ 27668 h 1052131"/>
                  <a:gd name="connsiteX2199" fmla="*/ 339126 w 1085953"/>
                  <a:gd name="connsiteY2199" fmla="*/ 28620 h 1052131"/>
                  <a:gd name="connsiteX2200" fmla="*/ 339793 w 1085953"/>
                  <a:gd name="connsiteY2200" fmla="*/ 28620 h 1052131"/>
                  <a:gd name="connsiteX2201" fmla="*/ 336173 w 1085953"/>
                  <a:gd name="connsiteY2201" fmla="*/ 29858 h 1052131"/>
                  <a:gd name="connsiteX2202" fmla="*/ 337221 w 1085953"/>
                  <a:gd name="connsiteY2202" fmla="*/ 29096 h 1052131"/>
                  <a:gd name="connsiteX2203" fmla="*/ 328172 w 1085953"/>
                  <a:gd name="connsiteY2203" fmla="*/ 33859 h 1052131"/>
                  <a:gd name="connsiteX2204" fmla="*/ 334840 w 1085953"/>
                  <a:gd name="connsiteY2204" fmla="*/ 31573 h 1052131"/>
                  <a:gd name="connsiteX2205" fmla="*/ 333506 w 1085953"/>
                  <a:gd name="connsiteY2205" fmla="*/ 32525 h 1052131"/>
                  <a:gd name="connsiteX2206" fmla="*/ 334268 w 1085953"/>
                  <a:gd name="connsiteY2206" fmla="*/ 32525 h 1052131"/>
                  <a:gd name="connsiteX2207" fmla="*/ 332745 w 1085953"/>
                  <a:gd name="connsiteY2207" fmla="*/ 33669 h 1052131"/>
                  <a:gd name="connsiteX2208" fmla="*/ 344937 w 1085953"/>
                  <a:gd name="connsiteY2208" fmla="*/ 28620 h 1052131"/>
                  <a:gd name="connsiteX2209" fmla="*/ 350461 w 1085953"/>
                  <a:gd name="connsiteY2209" fmla="*/ 25763 h 1052131"/>
                  <a:gd name="connsiteX2210" fmla="*/ 345032 w 1085953"/>
                  <a:gd name="connsiteY2210" fmla="*/ 27954 h 1052131"/>
                  <a:gd name="connsiteX2211" fmla="*/ 343984 w 1085953"/>
                  <a:gd name="connsiteY2211" fmla="*/ 27954 h 1052131"/>
                  <a:gd name="connsiteX2212" fmla="*/ 353509 w 1085953"/>
                  <a:gd name="connsiteY2212" fmla="*/ 23382 h 1052131"/>
                  <a:gd name="connsiteX2213" fmla="*/ 361129 w 1085953"/>
                  <a:gd name="connsiteY2213" fmla="*/ 20238 h 1052131"/>
                  <a:gd name="connsiteX2214" fmla="*/ 361129 w 1085953"/>
                  <a:gd name="connsiteY2214" fmla="*/ 20238 h 1052131"/>
                  <a:gd name="connsiteX2215" fmla="*/ 353318 w 1085953"/>
                  <a:gd name="connsiteY2215" fmla="*/ 23096 h 1052131"/>
                  <a:gd name="connsiteX2216" fmla="*/ 343031 w 1085953"/>
                  <a:gd name="connsiteY2216" fmla="*/ 27668 h 1052131"/>
                  <a:gd name="connsiteX2217" fmla="*/ 344174 w 1085953"/>
                  <a:gd name="connsiteY2217" fmla="*/ 26620 h 1052131"/>
                  <a:gd name="connsiteX2218" fmla="*/ 342841 w 1085953"/>
                  <a:gd name="connsiteY2218" fmla="*/ 26620 h 1052131"/>
                  <a:gd name="connsiteX2219" fmla="*/ 361891 w 1085953"/>
                  <a:gd name="connsiteY2219" fmla="*/ 17762 h 1052131"/>
                  <a:gd name="connsiteX2220" fmla="*/ 351699 w 1085953"/>
                  <a:gd name="connsiteY2220" fmla="*/ 21286 h 1052131"/>
                  <a:gd name="connsiteX2221" fmla="*/ 349699 w 1085953"/>
                  <a:gd name="connsiteY2221" fmla="*/ 22238 h 1052131"/>
                  <a:gd name="connsiteX2222" fmla="*/ 349699 w 1085953"/>
                  <a:gd name="connsiteY2222" fmla="*/ 22238 h 1052131"/>
                  <a:gd name="connsiteX2223" fmla="*/ 350366 w 1085953"/>
                  <a:gd name="connsiteY2223" fmla="*/ 22238 h 1052131"/>
                  <a:gd name="connsiteX2224" fmla="*/ 344270 w 1085953"/>
                  <a:gd name="connsiteY2224" fmla="*/ 24810 h 1052131"/>
                  <a:gd name="connsiteX2225" fmla="*/ 344270 w 1085953"/>
                  <a:gd name="connsiteY2225" fmla="*/ 24810 h 1052131"/>
                  <a:gd name="connsiteX2226" fmla="*/ 340746 w 1085953"/>
                  <a:gd name="connsiteY2226" fmla="*/ 26429 h 1052131"/>
                  <a:gd name="connsiteX2227" fmla="*/ 294073 w 1085953"/>
                  <a:gd name="connsiteY2227" fmla="*/ 45861 h 1052131"/>
                  <a:gd name="connsiteX2228" fmla="*/ 296835 w 1085953"/>
                  <a:gd name="connsiteY2228" fmla="*/ 44622 h 1052131"/>
                  <a:gd name="connsiteX2229" fmla="*/ 296835 w 1085953"/>
                  <a:gd name="connsiteY2229" fmla="*/ 44622 h 1052131"/>
                  <a:gd name="connsiteX2230" fmla="*/ 300074 w 1085953"/>
                  <a:gd name="connsiteY2230" fmla="*/ 43003 h 1052131"/>
                  <a:gd name="connsiteX2231" fmla="*/ 297978 w 1085953"/>
                  <a:gd name="connsiteY2231" fmla="*/ 44337 h 1052131"/>
                  <a:gd name="connsiteX2232" fmla="*/ 297978 w 1085953"/>
                  <a:gd name="connsiteY2232" fmla="*/ 44337 h 1052131"/>
                  <a:gd name="connsiteX2233" fmla="*/ 310361 w 1085953"/>
                  <a:gd name="connsiteY2233" fmla="*/ 38812 h 1052131"/>
                  <a:gd name="connsiteX2234" fmla="*/ 322172 w 1085953"/>
                  <a:gd name="connsiteY2234" fmla="*/ 34335 h 1052131"/>
                  <a:gd name="connsiteX2235" fmla="*/ 334078 w 1085953"/>
                  <a:gd name="connsiteY2235" fmla="*/ 28334 h 1052131"/>
                  <a:gd name="connsiteX2236" fmla="*/ 329982 w 1085953"/>
                  <a:gd name="connsiteY2236" fmla="*/ 29858 h 1052131"/>
                  <a:gd name="connsiteX2237" fmla="*/ 334935 w 1085953"/>
                  <a:gd name="connsiteY2237" fmla="*/ 27668 h 1052131"/>
                  <a:gd name="connsiteX2238" fmla="*/ 328934 w 1085953"/>
                  <a:gd name="connsiteY2238" fmla="*/ 30144 h 1052131"/>
                  <a:gd name="connsiteX2239" fmla="*/ 341317 w 1085953"/>
                  <a:gd name="connsiteY2239" fmla="*/ 23953 h 1052131"/>
                  <a:gd name="connsiteX2240" fmla="*/ 326363 w 1085953"/>
                  <a:gd name="connsiteY2240" fmla="*/ 30430 h 1052131"/>
                  <a:gd name="connsiteX2241" fmla="*/ 328268 w 1085953"/>
                  <a:gd name="connsiteY2241" fmla="*/ 29478 h 1052131"/>
                  <a:gd name="connsiteX2242" fmla="*/ 293882 w 1085953"/>
                  <a:gd name="connsiteY2242" fmla="*/ 45670 h 1052131"/>
                  <a:gd name="connsiteX2243" fmla="*/ 357509 w 1085953"/>
                  <a:gd name="connsiteY2243" fmla="*/ 19286 h 1052131"/>
                  <a:gd name="connsiteX2244" fmla="*/ 359129 w 1085953"/>
                  <a:gd name="connsiteY2244" fmla="*/ 18619 h 1052131"/>
                  <a:gd name="connsiteX2245" fmla="*/ 351985 w 1085953"/>
                  <a:gd name="connsiteY2245" fmla="*/ 21096 h 1052131"/>
                  <a:gd name="connsiteX2246" fmla="*/ 357509 w 1085953"/>
                  <a:gd name="connsiteY2246" fmla="*/ 19286 h 1052131"/>
                  <a:gd name="connsiteX2247" fmla="*/ 359319 w 1085953"/>
                  <a:gd name="connsiteY2247" fmla="*/ 18333 h 1052131"/>
                  <a:gd name="connsiteX2248" fmla="*/ 361510 w 1085953"/>
                  <a:gd name="connsiteY2248" fmla="*/ 17286 h 1052131"/>
                  <a:gd name="connsiteX2249" fmla="*/ 359414 w 1085953"/>
                  <a:gd name="connsiteY2249" fmla="*/ 17952 h 1052131"/>
                  <a:gd name="connsiteX2250" fmla="*/ 362843 w 1085953"/>
                  <a:gd name="connsiteY2250" fmla="*/ 16524 h 1052131"/>
                  <a:gd name="connsiteX2251" fmla="*/ 361129 w 1085953"/>
                  <a:gd name="connsiteY2251" fmla="*/ 17000 h 1052131"/>
                  <a:gd name="connsiteX2252" fmla="*/ 371511 w 1085953"/>
                  <a:gd name="connsiteY2252" fmla="*/ 13190 h 1052131"/>
                  <a:gd name="connsiteX2253" fmla="*/ 369987 w 1085953"/>
                  <a:gd name="connsiteY2253" fmla="*/ 13857 h 1052131"/>
                  <a:gd name="connsiteX2254" fmla="*/ 373416 w 1085953"/>
                  <a:gd name="connsiteY2254" fmla="*/ 12904 h 1052131"/>
                  <a:gd name="connsiteX2255" fmla="*/ 373416 w 1085953"/>
                  <a:gd name="connsiteY2255" fmla="*/ 12904 h 1052131"/>
                  <a:gd name="connsiteX2256" fmla="*/ 380655 w 1085953"/>
                  <a:gd name="connsiteY2256" fmla="*/ 10713 h 1052131"/>
                  <a:gd name="connsiteX2257" fmla="*/ 378274 w 1085953"/>
                  <a:gd name="connsiteY2257" fmla="*/ 11761 h 1052131"/>
                  <a:gd name="connsiteX2258" fmla="*/ 380274 w 1085953"/>
                  <a:gd name="connsiteY2258" fmla="*/ 11190 h 1052131"/>
                  <a:gd name="connsiteX2259" fmla="*/ 376179 w 1085953"/>
                  <a:gd name="connsiteY2259" fmla="*/ 13095 h 1052131"/>
                  <a:gd name="connsiteX2260" fmla="*/ 368749 w 1085953"/>
                  <a:gd name="connsiteY2260" fmla="*/ 15476 h 1052131"/>
                  <a:gd name="connsiteX2261" fmla="*/ 362558 w 1085953"/>
                  <a:gd name="connsiteY2261" fmla="*/ 17381 h 1052131"/>
                  <a:gd name="connsiteX2262" fmla="*/ 365891 w 1085953"/>
                  <a:gd name="connsiteY2262" fmla="*/ 15857 h 1052131"/>
                  <a:gd name="connsiteX2263" fmla="*/ 365891 w 1085953"/>
                  <a:gd name="connsiteY2263" fmla="*/ 15857 h 1052131"/>
                  <a:gd name="connsiteX2264" fmla="*/ 364748 w 1085953"/>
                  <a:gd name="connsiteY2264" fmla="*/ 15857 h 1052131"/>
                  <a:gd name="connsiteX2265" fmla="*/ 367320 w 1085953"/>
                  <a:gd name="connsiteY2265" fmla="*/ 15476 h 1052131"/>
                  <a:gd name="connsiteX2266" fmla="*/ 371130 w 1085953"/>
                  <a:gd name="connsiteY2266" fmla="*/ 14238 h 1052131"/>
                  <a:gd name="connsiteX2267" fmla="*/ 367130 w 1085953"/>
                  <a:gd name="connsiteY2267" fmla="*/ 15285 h 1052131"/>
                  <a:gd name="connsiteX2268" fmla="*/ 405420 w 1085953"/>
                  <a:gd name="connsiteY2268" fmla="*/ 1037223 h 1052131"/>
                  <a:gd name="connsiteX2269" fmla="*/ 406373 w 1085953"/>
                  <a:gd name="connsiteY2269" fmla="*/ 1038080 h 1052131"/>
                  <a:gd name="connsiteX2270" fmla="*/ 406373 w 1085953"/>
                  <a:gd name="connsiteY2270" fmla="*/ 1038080 h 1052131"/>
                  <a:gd name="connsiteX2271" fmla="*/ 406373 w 1085953"/>
                  <a:gd name="connsiteY2271" fmla="*/ 1038080 h 1052131"/>
                  <a:gd name="connsiteX2272" fmla="*/ 407230 w 1085953"/>
                  <a:gd name="connsiteY2272" fmla="*/ 1038080 h 1052131"/>
                  <a:gd name="connsiteX2273" fmla="*/ 407230 w 1085953"/>
                  <a:gd name="connsiteY2273" fmla="*/ 1038080 h 1052131"/>
                  <a:gd name="connsiteX2274" fmla="*/ 406754 w 1085953"/>
                  <a:gd name="connsiteY2274" fmla="*/ 1037127 h 1052131"/>
                  <a:gd name="connsiteX2275" fmla="*/ 404468 w 1085953"/>
                  <a:gd name="connsiteY2275" fmla="*/ 1035794 h 1052131"/>
                  <a:gd name="connsiteX2276" fmla="*/ 401991 w 1085953"/>
                  <a:gd name="connsiteY2276" fmla="*/ 1035032 h 1052131"/>
                  <a:gd name="connsiteX2277" fmla="*/ 401991 w 1085953"/>
                  <a:gd name="connsiteY2277" fmla="*/ 1035032 h 1052131"/>
                  <a:gd name="connsiteX2278" fmla="*/ 402848 w 1085953"/>
                  <a:gd name="connsiteY2278" fmla="*/ 1035032 h 1052131"/>
                  <a:gd name="connsiteX2279" fmla="*/ 405515 w 1085953"/>
                  <a:gd name="connsiteY2279" fmla="*/ 1037032 h 1052131"/>
                  <a:gd name="connsiteX2280" fmla="*/ 323981 w 1085953"/>
                  <a:gd name="connsiteY2280" fmla="*/ 1008648 h 1052131"/>
                  <a:gd name="connsiteX2281" fmla="*/ 321981 w 1085953"/>
                  <a:gd name="connsiteY2281" fmla="*/ 1007695 h 1052131"/>
                  <a:gd name="connsiteX2282" fmla="*/ 321981 w 1085953"/>
                  <a:gd name="connsiteY2282" fmla="*/ 1007695 h 1052131"/>
                  <a:gd name="connsiteX2283" fmla="*/ 324363 w 1085953"/>
                  <a:gd name="connsiteY2283" fmla="*/ 1009029 h 1052131"/>
                  <a:gd name="connsiteX2284" fmla="*/ 324363 w 1085953"/>
                  <a:gd name="connsiteY2284" fmla="*/ 1009029 h 1052131"/>
                  <a:gd name="connsiteX2285" fmla="*/ 323981 w 1085953"/>
                  <a:gd name="connsiteY2285" fmla="*/ 1008362 h 1052131"/>
                  <a:gd name="connsiteX2286" fmla="*/ 327220 w 1085953"/>
                  <a:gd name="connsiteY2286" fmla="*/ 1010553 h 1052131"/>
                  <a:gd name="connsiteX2287" fmla="*/ 331982 w 1085953"/>
                  <a:gd name="connsiteY2287" fmla="*/ 1013220 h 1052131"/>
                  <a:gd name="connsiteX2288" fmla="*/ 330744 w 1085953"/>
                  <a:gd name="connsiteY2288" fmla="*/ 1012458 h 1052131"/>
                  <a:gd name="connsiteX2289" fmla="*/ 352938 w 1085953"/>
                  <a:gd name="connsiteY2289" fmla="*/ 1024459 h 1052131"/>
                  <a:gd name="connsiteX2290" fmla="*/ 352938 w 1085953"/>
                  <a:gd name="connsiteY2290" fmla="*/ 1024459 h 1052131"/>
                  <a:gd name="connsiteX2291" fmla="*/ 356366 w 1085953"/>
                  <a:gd name="connsiteY2291" fmla="*/ 1026174 h 1052131"/>
                  <a:gd name="connsiteX2292" fmla="*/ 354652 w 1085953"/>
                  <a:gd name="connsiteY2292" fmla="*/ 1025221 h 1052131"/>
                  <a:gd name="connsiteX2293" fmla="*/ 295406 w 1085953"/>
                  <a:gd name="connsiteY2293" fmla="*/ 43670 h 1052131"/>
                  <a:gd name="connsiteX2294" fmla="*/ 295406 w 1085953"/>
                  <a:gd name="connsiteY2294" fmla="*/ 43670 h 1052131"/>
                  <a:gd name="connsiteX2295" fmla="*/ 291215 w 1085953"/>
                  <a:gd name="connsiteY2295" fmla="*/ 45765 h 1052131"/>
                  <a:gd name="connsiteX2296" fmla="*/ 284167 w 1085953"/>
                  <a:gd name="connsiteY2296" fmla="*/ 49480 h 1052131"/>
                  <a:gd name="connsiteX2297" fmla="*/ 295406 w 1085953"/>
                  <a:gd name="connsiteY2297" fmla="*/ 43670 h 1052131"/>
                  <a:gd name="connsiteX2298" fmla="*/ 311885 w 1085953"/>
                  <a:gd name="connsiteY2298" fmla="*/ 1001885 h 1052131"/>
                  <a:gd name="connsiteX2299" fmla="*/ 310170 w 1085953"/>
                  <a:gd name="connsiteY2299" fmla="*/ 1000551 h 1052131"/>
                  <a:gd name="connsiteX2300" fmla="*/ 304931 w 1085953"/>
                  <a:gd name="connsiteY2300" fmla="*/ 997789 h 1052131"/>
                  <a:gd name="connsiteX2301" fmla="*/ 306265 w 1085953"/>
                  <a:gd name="connsiteY2301" fmla="*/ 998932 h 1052131"/>
                  <a:gd name="connsiteX2302" fmla="*/ 317790 w 1085953"/>
                  <a:gd name="connsiteY2302" fmla="*/ 1005504 h 1052131"/>
                  <a:gd name="connsiteX2303" fmla="*/ 317790 w 1085953"/>
                  <a:gd name="connsiteY2303" fmla="*/ 1005504 h 1052131"/>
                  <a:gd name="connsiteX2304" fmla="*/ 314171 w 1085953"/>
                  <a:gd name="connsiteY2304" fmla="*/ 1003313 h 1052131"/>
                  <a:gd name="connsiteX2305" fmla="*/ 373512 w 1085953"/>
                  <a:gd name="connsiteY2305" fmla="*/ 14714 h 1052131"/>
                  <a:gd name="connsiteX2306" fmla="*/ 373512 w 1085953"/>
                  <a:gd name="connsiteY2306" fmla="*/ 14714 h 1052131"/>
                  <a:gd name="connsiteX2307" fmla="*/ 372559 w 1085953"/>
                  <a:gd name="connsiteY2307" fmla="*/ 15380 h 1052131"/>
                  <a:gd name="connsiteX2308" fmla="*/ 372559 w 1085953"/>
                  <a:gd name="connsiteY2308" fmla="*/ 15380 h 1052131"/>
                  <a:gd name="connsiteX2309" fmla="*/ 379893 w 1085953"/>
                  <a:gd name="connsiteY2309" fmla="*/ 12904 h 1052131"/>
                  <a:gd name="connsiteX2310" fmla="*/ 379893 w 1085953"/>
                  <a:gd name="connsiteY2310" fmla="*/ 12904 h 1052131"/>
                  <a:gd name="connsiteX2311" fmla="*/ 382465 w 1085953"/>
                  <a:gd name="connsiteY2311" fmla="*/ 11761 h 1052131"/>
                  <a:gd name="connsiteX2312" fmla="*/ 382465 w 1085953"/>
                  <a:gd name="connsiteY2312" fmla="*/ 11761 h 1052131"/>
                  <a:gd name="connsiteX2313" fmla="*/ 377512 w 1085953"/>
                  <a:gd name="connsiteY2313" fmla="*/ 12904 h 1052131"/>
                  <a:gd name="connsiteX2314" fmla="*/ 22706 w 1085953"/>
                  <a:gd name="connsiteY2314" fmla="*/ 529064 h 1052131"/>
                  <a:gd name="connsiteX2315" fmla="*/ 22706 w 1085953"/>
                  <a:gd name="connsiteY2315" fmla="*/ 530588 h 1052131"/>
                  <a:gd name="connsiteX2316" fmla="*/ 22706 w 1085953"/>
                  <a:gd name="connsiteY2316" fmla="*/ 530588 h 1052131"/>
                  <a:gd name="connsiteX2317" fmla="*/ 22706 w 1085953"/>
                  <a:gd name="connsiteY2317" fmla="*/ 530588 h 1052131"/>
                  <a:gd name="connsiteX2318" fmla="*/ 22706 w 1085953"/>
                  <a:gd name="connsiteY2318" fmla="*/ 530588 h 1052131"/>
                  <a:gd name="connsiteX2319" fmla="*/ 22706 w 1085953"/>
                  <a:gd name="connsiteY2319" fmla="*/ 529445 h 1052131"/>
                  <a:gd name="connsiteX2320" fmla="*/ 22706 w 1085953"/>
                  <a:gd name="connsiteY2320" fmla="*/ 528873 h 1052131"/>
                  <a:gd name="connsiteX2321" fmla="*/ 22039 w 1085953"/>
                  <a:gd name="connsiteY2321" fmla="*/ 527730 h 1052131"/>
                  <a:gd name="connsiteX2322" fmla="*/ 22706 w 1085953"/>
                  <a:gd name="connsiteY2322" fmla="*/ 528873 h 1052131"/>
                  <a:gd name="connsiteX2323" fmla="*/ 35755 w 1085953"/>
                  <a:gd name="connsiteY2323" fmla="*/ 561354 h 1052131"/>
                  <a:gd name="connsiteX2324" fmla="*/ 35755 w 1085953"/>
                  <a:gd name="connsiteY2324" fmla="*/ 561354 h 1052131"/>
                  <a:gd name="connsiteX2325" fmla="*/ 33659 w 1085953"/>
                  <a:gd name="connsiteY2325" fmla="*/ 561925 h 1052131"/>
                  <a:gd name="connsiteX2326" fmla="*/ 33659 w 1085953"/>
                  <a:gd name="connsiteY2326" fmla="*/ 562782 h 1052131"/>
                  <a:gd name="connsiteX2327" fmla="*/ 35469 w 1085953"/>
                  <a:gd name="connsiteY2327" fmla="*/ 566497 h 1052131"/>
                  <a:gd name="connsiteX2328" fmla="*/ 37184 w 1085953"/>
                  <a:gd name="connsiteY2328" fmla="*/ 567545 h 1052131"/>
                  <a:gd name="connsiteX2329" fmla="*/ 37184 w 1085953"/>
                  <a:gd name="connsiteY2329" fmla="*/ 566497 h 1052131"/>
                  <a:gd name="connsiteX2330" fmla="*/ 37946 w 1085953"/>
                  <a:gd name="connsiteY2330" fmla="*/ 566497 h 1052131"/>
                  <a:gd name="connsiteX2331" fmla="*/ 38612 w 1085953"/>
                  <a:gd name="connsiteY2331" fmla="*/ 566497 h 1052131"/>
                  <a:gd name="connsiteX2332" fmla="*/ 39374 w 1085953"/>
                  <a:gd name="connsiteY2332" fmla="*/ 566497 h 1052131"/>
                  <a:gd name="connsiteX2333" fmla="*/ 40041 w 1085953"/>
                  <a:gd name="connsiteY2333" fmla="*/ 566497 h 1052131"/>
                  <a:gd name="connsiteX2334" fmla="*/ 38231 w 1085953"/>
                  <a:gd name="connsiteY2334" fmla="*/ 562973 h 1052131"/>
                  <a:gd name="connsiteX2335" fmla="*/ 35755 w 1085953"/>
                  <a:gd name="connsiteY2335" fmla="*/ 561163 h 1052131"/>
                  <a:gd name="connsiteX2336" fmla="*/ 44327 w 1085953"/>
                  <a:gd name="connsiteY2336" fmla="*/ 548780 h 1052131"/>
                  <a:gd name="connsiteX2337" fmla="*/ 45185 w 1085953"/>
                  <a:gd name="connsiteY2337" fmla="*/ 547161 h 1052131"/>
                  <a:gd name="connsiteX2338" fmla="*/ 45185 w 1085953"/>
                  <a:gd name="connsiteY2338" fmla="*/ 546495 h 1052131"/>
                  <a:gd name="connsiteX2339" fmla="*/ 42899 w 1085953"/>
                  <a:gd name="connsiteY2339" fmla="*/ 544113 h 1052131"/>
                  <a:gd name="connsiteX2340" fmla="*/ 40898 w 1085953"/>
                  <a:gd name="connsiteY2340" fmla="*/ 538208 h 1052131"/>
                  <a:gd name="connsiteX2341" fmla="*/ 38993 w 1085953"/>
                  <a:gd name="connsiteY2341" fmla="*/ 536398 h 1052131"/>
                  <a:gd name="connsiteX2342" fmla="*/ 37469 w 1085953"/>
                  <a:gd name="connsiteY2342" fmla="*/ 533159 h 1052131"/>
                  <a:gd name="connsiteX2343" fmla="*/ 33850 w 1085953"/>
                  <a:gd name="connsiteY2343" fmla="*/ 525349 h 1052131"/>
                  <a:gd name="connsiteX2344" fmla="*/ 33850 w 1085953"/>
                  <a:gd name="connsiteY2344" fmla="*/ 525349 h 1052131"/>
                  <a:gd name="connsiteX2345" fmla="*/ 33850 w 1085953"/>
                  <a:gd name="connsiteY2345" fmla="*/ 527349 h 1052131"/>
                  <a:gd name="connsiteX2346" fmla="*/ 30992 w 1085953"/>
                  <a:gd name="connsiteY2346" fmla="*/ 522111 h 1052131"/>
                  <a:gd name="connsiteX2347" fmla="*/ 29278 w 1085953"/>
                  <a:gd name="connsiteY2347" fmla="*/ 519253 h 1052131"/>
                  <a:gd name="connsiteX2348" fmla="*/ 25087 w 1085953"/>
                  <a:gd name="connsiteY2348" fmla="*/ 516586 h 1052131"/>
                  <a:gd name="connsiteX2349" fmla="*/ 22230 w 1085953"/>
                  <a:gd name="connsiteY2349" fmla="*/ 520587 h 1052131"/>
                  <a:gd name="connsiteX2350" fmla="*/ 19943 w 1085953"/>
                  <a:gd name="connsiteY2350" fmla="*/ 524587 h 1052131"/>
                  <a:gd name="connsiteX2351" fmla="*/ 21753 w 1085953"/>
                  <a:gd name="connsiteY2351" fmla="*/ 526302 h 1052131"/>
                  <a:gd name="connsiteX2352" fmla="*/ 22991 w 1085953"/>
                  <a:gd name="connsiteY2352" fmla="*/ 523063 h 1052131"/>
                  <a:gd name="connsiteX2353" fmla="*/ 24896 w 1085953"/>
                  <a:gd name="connsiteY2353" fmla="*/ 522587 h 1052131"/>
                  <a:gd name="connsiteX2354" fmla="*/ 26230 w 1085953"/>
                  <a:gd name="connsiteY2354" fmla="*/ 523254 h 1052131"/>
                  <a:gd name="connsiteX2355" fmla="*/ 25754 w 1085953"/>
                  <a:gd name="connsiteY2355" fmla="*/ 523254 h 1052131"/>
                  <a:gd name="connsiteX2356" fmla="*/ 26706 w 1085953"/>
                  <a:gd name="connsiteY2356" fmla="*/ 527349 h 1052131"/>
                  <a:gd name="connsiteX2357" fmla="*/ 28230 w 1085953"/>
                  <a:gd name="connsiteY2357" fmla="*/ 527826 h 1052131"/>
                  <a:gd name="connsiteX2358" fmla="*/ 28992 w 1085953"/>
                  <a:gd name="connsiteY2358" fmla="*/ 527826 h 1052131"/>
                  <a:gd name="connsiteX2359" fmla="*/ 29468 w 1085953"/>
                  <a:gd name="connsiteY2359" fmla="*/ 531445 h 1052131"/>
                  <a:gd name="connsiteX2360" fmla="*/ 32707 w 1085953"/>
                  <a:gd name="connsiteY2360" fmla="*/ 534207 h 1052131"/>
                  <a:gd name="connsiteX2361" fmla="*/ 33850 w 1085953"/>
                  <a:gd name="connsiteY2361" fmla="*/ 537732 h 1052131"/>
                  <a:gd name="connsiteX2362" fmla="*/ 35279 w 1085953"/>
                  <a:gd name="connsiteY2362" fmla="*/ 538589 h 1052131"/>
                  <a:gd name="connsiteX2363" fmla="*/ 35279 w 1085953"/>
                  <a:gd name="connsiteY2363" fmla="*/ 541161 h 1052131"/>
                  <a:gd name="connsiteX2364" fmla="*/ 36231 w 1085953"/>
                  <a:gd name="connsiteY2364" fmla="*/ 543447 h 1052131"/>
                  <a:gd name="connsiteX2365" fmla="*/ 35374 w 1085953"/>
                  <a:gd name="connsiteY2365" fmla="*/ 545923 h 1052131"/>
                  <a:gd name="connsiteX2366" fmla="*/ 35374 w 1085953"/>
                  <a:gd name="connsiteY2366" fmla="*/ 548495 h 1052131"/>
                  <a:gd name="connsiteX2367" fmla="*/ 39089 w 1085953"/>
                  <a:gd name="connsiteY2367" fmla="*/ 549543 h 1052131"/>
                  <a:gd name="connsiteX2368" fmla="*/ 41375 w 1085953"/>
                  <a:gd name="connsiteY2368" fmla="*/ 548876 h 1052131"/>
                  <a:gd name="connsiteX2369" fmla="*/ 44327 w 1085953"/>
                  <a:gd name="connsiteY2369" fmla="*/ 548590 h 1052131"/>
                  <a:gd name="connsiteX2370" fmla="*/ 415803 w 1085953"/>
                  <a:gd name="connsiteY2370" fmla="*/ 1047129 h 1052131"/>
                  <a:gd name="connsiteX2371" fmla="*/ 415803 w 1085953"/>
                  <a:gd name="connsiteY2371" fmla="*/ 1047129 h 1052131"/>
                  <a:gd name="connsiteX2372" fmla="*/ 410849 w 1085953"/>
                  <a:gd name="connsiteY2372" fmla="*/ 1045700 h 1052131"/>
                  <a:gd name="connsiteX2373" fmla="*/ 410849 w 1085953"/>
                  <a:gd name="connsiteY2373" fmla="*/ 1045700 h 1052131"/>
                  <a:gd name="connsiteX2374" fmla="*/ 411612 w 1085953"/>
                  <a:gd name="connsiteY2374" fmla="*/ 1045700 h 1052131"/>
                  <a:gd name="connsiteX2375" fmla="*/ 415422 w 1085953"/>
                  <a:gd name="connsiteY2375" fmla="*/ 1047033 h 1052131"/>
                  <a:gd name="connsiteX2376" fmla="*/ 416183 w 1085953"/>
                  <a:gd name="connsiteY2376" fmla="*/ 1046938 h 1052131"/>
                  <a:gd name="connsiteX2377" fmla="*/ 38327 w 1085953"/>
                  <a:gd name="connsiteY2377" fmla="*/ 484487 h 1052131"/>
                  <a:gd name="connsiteX2378" fmla="*/ 37565 w 1085953"/>
                  <a:gd name="connsiteY2378" fmla="*/ 484963 h 1052131"/>
                  <a:gd name="connsiteX2379" fmla="*/ 36803 w 1085953"/>
                  <a:gd name="connsiteY2379" fmla="*/ 485820 h 1052131"/>
                  <a:gd name="connsiteX2380" fmla="*/ 36803 w 1085953"/>
                  <a:gd name="connsiteY2380" fmla="*/ 485820 h 1052131"/>
                  <a:gd name="connsiteX2381" fmla="*/ 36803 w 1085953"/>
                  <a:gd name="connsiteY2381" fmla="*/ 485820 h 1052131"/>
                  <a:gd name="connsiteX2382" fmla="*/ 36803 w 1085953"/>
                  <a:gd name="connsiteY2382" fmla="*/ 487725 h 1052131"/>
                  <a:gd name="connsiteX2383" fmla="*/ 36803 w 1085953"/>
                  <a:gd name="connsiteY2383" fmla="*/ 487725 h 1052131"/>
                  <a:gd name="connsiteX2384" fmla="*/ 36803 w 1085953"/>
                  <a:gd name="connsiteY2384" fmla="*/ 487725 h 1052131"/>
                  <a:gd name="connsiteX2385" fmla="*/ 37374 w 1085953"/>
                  <a:gd name="connsiteY2385" fmla="*/ 487725 h 1052131"/>
                  <a:gd name="connsiteX2386" fmla="*/ 38231 w 1085953"/>
                  <a:gd name="connsiteY2386" fmla="*/ 487535 h 1052131"/>
                  <a:gd name="connsiteX2387" fmla="*/ 39184 w 1085953"/>
                  <a:gd name="connsiteY2387" fmla="*/ 485249 h 1052131"/>
                  <a:gd name="connsiteX2388" fmla="*/ 39184 w 1085953"/>
                  <a:gd name="connsiteY2388" fmla="*/ 485249 h 1052131"/>
                  <a:gd name="connsiteX2389" fmla="*/ 38708 w 1085953"/>
                  <a:gd name="connsiteY2389" fmla="*/ 484296 h 1052131"/>
                  <a:gd name="connsiteX2390" fmla="*/ 34993 w 1085953"/>
                  <a:gd name="connsiteY2390" fmla="*/ 504108 h 1052131"/>
                  <a:gd name="connsiteX2391" fmla="*/ 34993 w 1085953"/>
                  <a:gd name="connsiteY2391" fmla="*/ 505251 h 1052131"/>
                  <a:gd name="connsiteX2392" fmla="*/ 35564 w 1085953"/>
                  <a:gd name="connsiteY2392" fmla="*/ 506585 h 1052131"/>
                  <a:gd name="connsiteX2393" fmla="*/ 35564 w 1085953"/>
                  <a:gd name="connsiteY2393" fmla="*/ 508013 h 1052131"/>
                  <a:gd name="connsiteX2394" fmla="*/ 35564 w 1085953"/>
                  <a:gd name="connsiteY2394" fmla="*/ 508013 h 1052131"/>
                  <a:gd name="connsiteX2395" fmla="*/ 35564 w 1085953"/>
                  <a:gd name="connsiteY2395" fmla="*/ 508013 h 1052131"/>
                  <a:gd name="connsiteX2396" fmla="*/ 35564 w 1085953"/>
                  <a:gd name="connsiteY2396" fmla="*/ 505061 h 1052131"/>
                  <a:gd name="connsiteX2397" fmla="*/ 35564 w 1085953"/>
                  <a:gd name="connsiteY2397" fmla="*/ 503442 h 1052131"/>
                  <a:gd name="connsiteX2398" fmla="*/ 34136 w 1085953"/>
                  <a:gd name="connsiteY2398" fmla="*/ 501441 h 1052131"/>
                  <a:gd name="connsiteX2399" fmla="*/ 35374 w 1085953"/>
                  <a:gd name="connsiteY2399" fmla="*/ 503918 h 1052131"/>
                  <a:gd name="connsiteX2400" fmla="*/ 73950 w 1085953"/>
                  <a:gd name="connsiteY2400" fmla="*/ 566878 h 1052131"/>
                  <a:gd name="connsiteX2401" fmla="*/ 72807 w 1085953"/>
                  <a:gd name="connsiteY2401" fmla="*/ 565354 h 1052131"/>
                  <a:gd name="connsiteX2402" fmla="*/ 72807 w 1085953"/>
                  <a:gd name="connsiteY2402" fmla="*/ 565354 h 1052131"/>
                  <a:gd name="connsiteX2403" fmla="*/ 72807 w 1085953"/>
                  <a:gd name="connsiteY2403" fmla="*/ 565354 h 1052131"/>
                  <a:gd name="connsiteX2404" fmla="*/ 70426 w 1085953"/>
                  <a:gd name="connsiteY2404" fmla="*/ 565354 h 1052131"/>
                  <a:gd name="connsiteX2405" fmla="*/ 68711 w 1085953"/>
                  <a:gd name="connsiteY2405" fmla="*/ 566116 h 1052131"/>
                  <a:gd name="connsiteX2406" fmla="*/ 69378 w 1085953"/>
                  <a:gd name="connsiteY2406" fmla="*/ 570498 h 1052131"/>
                  <a:gd name="connsiteX2407" fmla="*/ 70807 w 1085953"/>
                  <a:gd name="connsiteY2407" fmla="*/ 571164 h 1052131"/>
                  <a:gd name="connsiteX2408" fmla="*/ 73855 w 1085953"/>
                  <a:gd name="connsiteY2408" fmla="*/ 571164 h 1052131"/>
                  <a:gd name="connsiteX2409" fmla="*/ 75093 w 1085953"/>
                  <a:gd name="connsiteY2409" fmla="*/ 571736 h 1052131"/>
                  <a:gd name="connsiteX2410" fmla="*/ 75093 w 1085953"/>
                  <a:gd name="connsiteY2410" fmla="*/ 571736 h 1052131"/>
                  <a:gd name="connsiteX2411" fmla="*/ 76331 w 1085953"/>
                  <a:gd name="connsiteY2411" fmla="*/ 569736 h 1052131"/>
                  <a:gd name="connsiteX2412" fmla="*/ 75474 w 1085953"/>
                  <a:gd name="connsiteY2412" fmla="*/ 568593 h 1052131"/>
                  <a:gd name="connsiteX2413" fmla="*/ 74331 w 1085953"/>
                  <a:gd name="connsiteY2413" fmla="*/ 566688 h 1052131"/>
                  <a:gd name="connsiteX2414" fmla="*/ 43089 w 1085953"/>
                  <a:gd name="connsiteY2414" fmla="*/ 507537 h 1052131"/>
                  <a:gd name="connsiteX2415" fmla="*/ 41946 w 1085953"/>
                  <a:gd name="connsiteY2415" fmla="*/ 502108 h 1052131"/>
                  <a:gd name="connsiteX2416" fmla="*/ 41280 w 1085953"/>
                  <a:gd name="connsiteY2416" fmla="*/ 495821 h 1052131"/>
                  <a:gd name="connsiteX2417" fmla="*/ 41280 w 1085953"/>
                  <a:gd name="connsiteY2417" fmla="*/ 495821 h 1052131"/>
                  <a:gd name="connsiteX2418" fmla="*/ 41280 w 1085953"/>
                  <a:gd name="connsiteY2418" fmla="*/ 495059 h 1052131"/>
                  <a:gd name="connsiteX2419" fmla="*/ 41280 w 1085953"/>
                  <a:gd name="connsiteY2419" fmla="*/ 504584 h 1052131"/>
                  <a:gd name="connsiteX2420" fmla="*/ 42708 w 1085953"/>
                  <a:gd name="connsiteY2420" fmla="*/ 507918 h 1052131"/>
                  <a:gd name="connsiteX2421" fmla="*/ 400563 w 1085953"/>
                  <a:gd name="connsiteY2421" fmla="*/ 1036270 h 1052131"/>
                  <a:gd name="connsiteX2422" fmla="*/ 400563 w 1085953"/>
                  <a:gd name="connsiteY2422" fmla="*/ 1036270 h 1052131"/>
                  <a:gd name="connsiteX2423" fmla="*/ 401801 w 1085953"/>
                  <a:gd name="connsiteY2423" fmla="*/ 1036842 h 1052131"/>
                  <a:gd name="connsiteX2424" fmla="*/ 403325 w 1085953"/>
                  <a:gd name="connsiteY2424" fmla="*/ 1037699 h 1052131"/>
                  <a:gd name="connsiteX2425" fmla="*/ 405515 w 1085953"/>
                  <a:gd name="connsiteY2425" fmla="*/ 1038556 h 1052131"/>
                  <a:gd name="connsiteX2426" fmla="*/ 404658 w 1085953"/>
                  <a:gd name="connsiteY2426" fmla="*/ 1037604 h 1052131"/>
                  <a:gd name="connsiteX2427" fmla="*/ 404658 w 1085953"/>
                  <a:gd name="connsiteY2427" fmla="*/ 1037604 h 1052131"/>
                  <a:gd name="connsiteX2428" fmla="*/ 404658 w 1085953"/>
                  <a:gd name="connsiteY2428" fmla="*/ 1037604 h 1052131"/>
                  <a:gd name="connsiteX2429" fmla="*/ 403230 w 1085953"/>
                  <a:gd name="connsiteY2429" fmla="*/ 1036746 h 1052131"/>
                  <a:gd name="connsiteX2430" fmla="*/ 402658 w 1085953"/>
                  <a:gd name="connsiteY2430" fmla="*/ 1036746 h 1052131"/>
                  <a:gd name="connsiteX2431" fmla="*/ 400467 w 1085953"/>
                  <a:gd name="connsiteY2431" fmla="*/ 1036746 h 1052131"/>
                  <a:gd name="connsiteX2432" fmla="*/ 39660 w 1085953"/>
                  <a:gd name="connsiteY2432" fmla="*/ 492107 h 1052131"/>
                  <a:gd name="connsiteX2433" fmla="*/ 39660 w 1085953"/>
                  <a:gd name="connsiteY2433" fmla="*/ 492107 h 1052131"/>
                  <a:gd name="connsiteX2434" fmla="*/ 40613 w 1085953"/>
                  <a:gd name="connsiteY2434" fmla="*/ 487059 h 1052131"/>
                  <a:gd name="connsiteX2435" fmla="*/ 39755 w 1085953"/>
                  <a:gd name="connsiteY2435" fmla="*/ 483630 h 1052131"/>
                  <a:gd name="connsiteX2436" fmla="*/ 39755 w 1085953"/>
                  <a:gd name="connsiteY2436" fmla="*/ 485058 h 1052131"/>
                  <a:gd name="connsiteX2437" fmla="*/ 39755 w 1085953"/>
                  <a:gd name="connsiteY2437" fmla="*/ 485820 h 1052131"/>
                  <a:gd name="connsiteX2438" fmla="*/ 39755 w 1085953"/>
                  <a:gd name="connsiteY2438" fmla="*/ 488868 h 1052131"/>
                  <a:gd name="connsiteX2439" fmla="*/ 40041 w 1085953"/>
                  <a:gd name="connsiteY2439" fmla="*/ 491916 h 1052131"/>
                  <a:gd name="connsiteX2440" fmla="*/ 48518 w 1085953"/>
                  <a:gd name="connsiteY2440" fmla="*/ 562878 h 1052131"/>
                  <a:gd name="connsiteX2441" fmla="*/ 47566 w 1085953"/>
                  <a:gd name="connsiteY2441" fmla="*/ 560973 h 1052131"/>
                  <a:gd name="connsiteX2442" fmla="*/ 47566 w 1085953"/>
                  <a:gd name="connsiteY2442" fmla="*/ 560973 h 1052131"/>
                  <a:gd name="connsiteX2443" fmla="*/ 45661 w 1085953"/>
                  <a:gd name="connsiteY2443" fmla="*/ 562687 h 1052131"/>
                  <a:gd name="connsiteX2444" fmla="*/ 45661 w 1085953"/>
                  <a:gd name="connsiteY2444" fmla="*/ 562687 h 1052131"/>
                  <a:gd name="connsiteX2445" fmla="*/ 47661 w 1085953"/>
                  <a:gd name="connsiteY2445" fmla="*/ 567545 h 1052131"/>
                  <a:gd name="connsiteX2446" fmla="*/ 48995 w 1085953"/>
                  <a:gd name="connsiteY2446" fmla="*/ 564783 h 1052131"/>
                  <a:gd name="connsiteX2447" fmla="*/ 50995 w 1085953"/>
                  <a:gd name="connsiteY2447" fmla="*/ 564783 h 1052131"/>
                  <a:gd name="connsiteX2448" fmla="*/ 52614 w 1085953"/>
                  <a:gd name="connsiteY2448" fmla="*/ 566116 h 1052131"/>
                  <a:gd name="connsiteX2449" fmla="*/ 53471 w 1085953"/>
                  <a:gd name="connsiteY2449" fmla="*/ 568783 h 1052131"/>
                  <a:gd name="connsiteX2450" fmla="*/ 54043 w 1085953"/>
                  <a:gd name="connsiteY2450" fmla="*/ 569926 h 1052131"/>
                  <a:gd name="connsiteX2451" fmla="*/ 55472 w 1085953"/>
                  <a:gd name="connsiteY2451" fmla="*/ 566402 h 1052131"/>
                  <a:gd name="connsiteX2452" fmla="*/ 57758 w 1085953"/>
                  <a:gd name="connsiteY2452" fmla="*/ 564116 h 1052131"/>
                  <a:gd name="connsiteX2453" fmla="*/ 61091 w 1085953"/>
                  <a:gd name="connsiteY2453" fmla="*/ 565735 h 1052131"/>
                  <a:gd name="connsiteX2454" fmla="*/ 62234 w 1085953"/>
                  <a:gd name="connsiteY2454" fmla="*/ 566307 h 1052131"/>
                  <a:gd name="connsiteX2455" fmla="*/ 64520 w 1085953"/>
                  <a:gd name="connsiteY2455" fmla="*/ 564878 h 1052131"/>
                  <a:gd name="connsiteX2456" fmla="*/ 64520 w 1085953"/>
                  <a:gd name="connsiteY2456" fmla="*/ 564878 h 1052131"/>
                  <a:gd name="connsiteX2457" fmla="*/ 63473 w 1085953"/>
                  <a:gd name="connsiteY2457" fmla="*/ 561068 h 1052131"/>
                  <a:gd name="connsiteX2458" fmla="*/ 59282 w 1085953"/>
                  <a:gd name="connsiteY2458" fmla="*/ 556591 h 1052131"/>
                  <a:gd name="connsiteX2459" fmla="*/ 58329 w 1085953"/>
                  <a:gd name="connsiteY2459" fmla="*/ 556591 h 1052131"/>
                  <a:gd name="connsiteX2460" fmla="*/ 58329 w 1085953"/>
                  <a:gd name="connsiteY2460" fmla="*/ 556591 h 1052131"/>
                  <a:gd name="connsiteX2461" fmla="*/ 57377 w 1085953"/>
                  <a:gd name="connsiteY2461" fmla="*/ 551829 h 1052131"/>
                  <a:gd name="connsiteX2462" fmla="*/ 53948 w 1085953"/>
                  <a:gd name="connsiteY2462" fmla="*/ 549543 h 1052131"/>
                  <a:gd name="connsiteX2463" fmla="*/ 50995 w 1085953"/>
                  <a:gd name="connsiteY2463" fmla="*/ 551067 h 1052131"/>
                  <a:gd name="connsiteX2464" fmla="*/ 48137 w 1085953"/>
                  <a:gd name="connsiteY2464" fmla="*/ 550019 h 1052131"/>
                  <a:gd name="connsiteX2465" fmla="*/ 48137 w 1085953"/>
                  <a:gd name="connsiteY2465" fmla="*/ 553162 h 1052131"/>
                  <a:gd name="connsiteX2466" fmla="*/ 50138 w 1085953"/>
                  <a:gd name="connsiteY2466" fmla="*/ 553829 h 1052131"/>
                  <a:gd name="connsiteX2467" fmla="*/ 50709 w 1085953"/>
                  <a:gd name="connsiteY2467" fmla="*/ 553829 h 1052131"/>
                  <a:gd name="connsiteX2468" fmla="*/ 50709 w 1085953"/>
                  <a:gd name="connsiteY2468" fmla="*/ 553829 h 1052131"/>
                  <a:gd name="connsiteX2469" fmla="*/ 49852 w 1085953"/>
                  <a:gd name="connsiteY2469" fmla="*/ 557544 h 1052131"/>
                  <a:gd name="connsiteX2470" fmla="*/ 49852 w 1085953"/>
                  <a:gd name="connsiteY2470" fmla="*/ 560306 h 1052131"/>
                  <a:gd name="connsiteX2471" fmla="*/ 49852 w 1085953"/>
                  <a:gd name="connsiteY2471" fmla="*/ 562401 h 1052131"/>
                  <a:gd name="connsiteX2472" fmla="*/ 48899 w 1085953"/>
                  <a:gd name="connsiteY2472" fmla="*/ 562687 h 1052131"/>
                  <a:gd name="connsiteX2473" fmla="*/ 156722 w 1085953"/>
                  <a:gd name="connsiteY2473" fmla="*/ 205976 h 1052131"/>
                  <a:gd name="connsiteX2474" fmla="*/ 154532 w 1085953"/>
                  <a:gd name="connsiteY2474" fmla="*/ 209024 h 1052131"/>
                  <a:gd name="connsiteX2475" fmla="*/ 153865 w 1085953"/>
                  <a:gd name="connsiteY2475" fmla="*/ 210262 h 1052131"/>
                  <a:gd name="connsiteX2476" fmla="*/ 153865 w 1085953"/>
                  <a:gd name="connsiteY2476" fmla="*/ 210262 h 1052131"/>
                  <a:gd name="connsiteX2477" fmla="*/ 160532 w 1085953"/>
                  <a:gd name="connsiteY2477" fmla="*/ 204071 h 1052131"/>
                  <a:gd name="connsiteX2478" fmla="*/ 161199 w 1085953"/>
                  <a:gd name="connsiteY2478" fmla="*/ 202071 h 1052131"/>
                  <a:gd name="connsiteX2479" fmla="*/ 157675 w 1085953"/>
                  <a:gd name="connsiteY2479" fmla="*/ 204738 h 1052131"/>
                  <a:gd name="connsiteX2480" fmla="*/ 157104 w 1085953"/>
                  <a:gd name="connsiteY2480" fmla="*/ 205785 h 1052131"/>
                  <a:gd name="connsiteX2481" fmla="*/ 260164 w 1085953"/>
                  <a:gd name="connsiteY2481" fmla="*/ 76817 h 1052131"/>
                  <a:gd name="connsiteX2482" fmla="*/ 257211 w 1085953"/>
                  <a:gd name="connsiteY2482" fmla="*/ 78817 h 1052131"/>
                  <a:gd name="connsiteX2483" fmla="*/ 257211 w 1085953"/>
                  <a:gd name="connsiteY2483" fmla="*/ 78817 h 1052131"/>
                  <a:gd name="connsiteX2484" fmla="*/ 257878 w 1085953"/>
                  <a:gd name="connsiteY2484" fmla="*/ 78817 h 1052131"/>
                  <a:gd name="connsiteX2485" fmla="*/ 257878 w 1085953"/>
                  <a:gd name="connsiteY2485" fmla="*/ 78817 h 1052131"/>
                  <a:gd name="connsiteX2486" fmla="*/ 257878 w 1085953"/>
                  <a:gd name="connsiteY2486" fmla="*/ 78817 h 1052131"/>
                  <a:gd name="connsiteX2487" fmla="*/ 257878 w 1085953"/>
                  <a:gd name="connsiteY2487" fmla="*/ 78817 h 1052131"/>
                  <a:gd name="connsiteX2488" fmla="*/ 258640 w 1085953"/>
                  <a:gd name="connsiteY2488" fmla="*/ 78246 h 1052131"/>
                  <a:gd name="connsiteX2489" fmla="*/ 260545 w 1085953"/>
                  <a:gd name="connsiteY2489" fmla="*/ 76626 h 1052131"/>
                  <a:gd name="connsiteX2490" fmla="*/ 257878 w 1085953"/>
                  <a:gd name="connsiteY2490" fmla="*/ 77388 h 1052131"/>
                  <a:gd name="connsiteX2491" fmla="*/ 255116 w 1085953"/>
                  <a:gd name="connsiteY2491" fmla="*/ 79293 h 1052131"/>
                  <a:gd name="connsiteX2492" fmla="*/ 255116 w 1085953"/>
                  <a:gd name="connsiteY2492" fmla="*/ 79293 h 1052131"/>
                  <a:gd name="connsiteX2493" fmla="*/ 256545 w 1085953"/>
                  <a:gd name="connsiteY2493" fmla="*/ 78341 h 1052131"/>
                  <a:gd name="connsiteX2494" fmla="*/ 257021 w 1085953"/>
                  <a:gd name="connsiteY2494" fmla="*/ 78341 h 1052131"/>
                  <a:gd name="connsiteX2495" fmla="*/ 257021 w 1085953"/>
                  <a:gd name="connsiteY2495" fmla="*/ 78341 h 1052131"/>
                  <a:gd name="connsiteX2496" fmla="*/ 258259 w 1085953"/>
                  <a:gd name="connsiteY2496" fmla="*/ 77198 h 1052131"/>
                  <a:gd name="connsiteX2497" fmla="*/ 423994 w 1085953"/>
                  <a:gd name="connsiteY2497" fmla="*/ 1048938 h 1052131"/>
                  <a:gd name="connsiteX2498" fmla="*/ 426280 w 1085953"/>
                  <a:gd name="connsiteY2498" fmla="*/ 1048938 h 1052131"/>
                  <a:gd name="connsiteX2499" fmla="*/ 425042 w 1085953"/>
                  <a:gd name="connsiteY2499" fmla="*/ 1048367 h 1052131"/>
                  <a:gd name="connsiteX2500" fmla="*/ 423613 w 1085953"/>
                  <a:gd name="connsiteY2500" fmla="*/ 1047891 h 1052131"/>
                  <a:gd name="connsiteX2501" fmla="*/ 418184 w 1085953"/>
                  <a:gd name="connsiteY2501" fmla="*/ 1046748 h 1052131"/>
                  <a:gd name="connsiteX2502" fmla="*/ 409897 w 1085953"/>
                  <a:gd name="connsiteY2502" fmla="*/ 1044271 h 1052131"/>
                  <a:gd name="connsiteX2503" fmla="*/ 408087 w 1085953"/>
                  <a:gd name="connsiteY2503" fmla="*/ 1043795 h 1052131"/>
                  <a:gd name="connsiteX2504" fmla="*/ 408087 w 1085953"/>
                  <a:gd name="connsiteY2504" fmla="*/ 1043795 h 1052131"/>
                  <a:gd name="connsiteX2505" fmla="*/ 401039 w 1085953"/>
                  <a:gd name="connsiteY2505" fmla="*/ 1041318 h 1052131"/>
                  <a:gd name="connsiteX2506" fmla="*/ 402372 w 1085953"/>
                  <a:gd name="connsiteY2506" fmla="*/ 1042080 h 1052131"/>
                  <a:gd name="connsiteX2507" fmla="*/ 402372 w 1085953"/>
                  <a:gd name="connsiteY2507" fmla="*/ 1042080 h 1052131"/>
                  <a:gd name="connsiteX2508" fmla="*/ 403991 w 1085953"/>
                  <a:gd name="connsiteY2508" fmla="*/ 1042842 h 1052131"/>
                  <a:gd name="connsiteX2509" fmla="*/ 403991 w 1085953"/>
                  <a:gd name="connsiteY2509" fmla="*/ 1042842 h 1052131"/>
                  <a:gd name="connsiteX2510" fmla="*/ 302550 w 1085953"/>
                  <a:gd name="connsiteY2510" fmla="*/ 979311 h 1052131"/>
                  <a:gd name="connsiteX2511" fmla="*/ 305503 w 1085953"/>
                  <a:gd name="connsiteY2511" fmla="*/ 975215 h 1052131"/>
                  <a:gd name="connsiteX2512" fmla="*/ 282072 w 1085953"/>
                  <a:gd name="connsiteY2512" fmla="*/ 954260 h 1052131"/>
                  <a:gd name="connsiteX2513" fmla="*/ 287310 w 1085953"/>
                  <a:gd name="connsiteY2513" fmla="*/ 955784 h 1052131"/>
                  <a:gd name="connsiteX2514" fmla="*/ 291311 w 1085953"/>
                  <a:gd name="connsiteY2514" fmla="*/ 952259 h 1052131"/>
                  <a:gd name="connsiteX2515" fmla="*/ 269213 w 1085953"/>
                  <a:gd name="connsiteY2515" fmla="*/ 883203 h 1052131"/>
                  <a:gd name="connsiteX2516" fmla="*/ 274547 w 1085953"/>
                  <a:gd name="connsiteY2516" fmla="*/ 883203 h 1052131"/>
                  <a:gd name="connsiteX2517" fmla="*/ 255021 w 1085953"/>
                  <a:gd name="connsiteY2517" fmla="*/ 815004 h 1052131"/>
                  <a:gd name="connsiteX2518" fmla="*/ 264546 w 1085953"/>
                  <a:gd name="connsiteY2518" fmla="*/ 780619 h 1052131"/>
                  <a:gd name="connsiteX2519" fmla="*/ 200252 w 1085953"/>
                  <a:gd name="connsiteY2519" fmla="*/ 742519 h 1052131"/>
                  <a:gd name="connsiteX2520" fmla="*/ 180249 w 1085953"/>
                  <a:gd name="connsiteY2520" fmla="*/ 728517 h 1052131"/>
                  <a:gd name="connsiteX2521" fmla="*/ 175963 w 1085953"/>
                  <a:gd name="connsiteY2521" fmla="*/ 731375 h 1052131"/>
                  <a:gd name="connsiteX2522" fmla="*/ 175963 w 1085953"/>
                  <a:gd name="connsiteY2522" fmla="*/ 726993 h 1052131"/>
                  <a:gd name="connsiteX2523" fmla="*/ 161961 w 1085953"/>
                  <a:gd name="connsiteY2523" fmla="*/ 723564 h 1052131"/>
                  <a:gd name="connsiteX2524" fmla="*/ 131862 w 1085953"/>
                  <a:gd name="connsiteY2524" fmla="*/ 674130 h 1052131"/>
                  <a:gd name="connsiteX2525" fmla="*/ 122337 w 1085953"/>
                  <a:gd name="connsiteY2525" fmla="*/ 674130 h 1052131"/>
                  <a:gd name="connsiteX2526" fmla="*/ 90524 w 1085953"/>
                  <a:gd name="connsiteY2526" fmla="*/ 634696 h 1052131"/>
                  <a:gd name="connsiteX2527" fmla="*/ 85285 w 1085953"/>
                  <a:gd name="connsiteY2527" fmla="*/ 634696 h 1052131"/>
                  <a:gd name="connsiteX2528" fmla="*/ 81761 w 1085953"/>
                  <a:gd name="connsiteY2528" fmla="*/ 638411 h 1052131"/>
                  <a:gd name="connsiteX2529" fmla="*/ 79094 w 1085953"/>
                  <a:gd name="connsiteY2529" fmla="*/ 634029 h 1052131"/>
                  <a:gd name="connsiteX2530" fmla="*/ 63282 w 1085953"/>
                  <a:gd name="connsiteY2530" fmla="*/ 623171 h 1052131"/>
                  <a:gd name="connsiteX2531" fmla="*/ 62139 w 1085953"/>
                  <a:gd name="connsiteY2531" fmla="*/ 643840 h 1052131"/>
                  <a:gd name="connsiteX2532" fmla="*/ 55757 w 1085953"/>
                  <a:gd name="connsiteY2532" fmla="*/ 619647 h 1052131"/>
                  <a:gd name="connsiteX2533" fmla="*/ 49376 w 1085953"/>
                  <a:gd name="connsiteY2533" fmla="*/ 627552 h 1052131"/>
                  <a:gd name="connsiteX2534" fmla="*/ 47947 w 1085953"/>
                  <a:gd name="connsiteY2534" fmla="*/ 652889 h 1052131"/>
                  <a:gd name="connsiteX2535" fmla="*/ 38422 w 1085953"/>
                  <a:gd name="connsiteY2535" fmla="*/ 643364 h 1052131"/>
                  <a:gd name="connsiteX2536" fmla="*/ 36231 w 1085953"/>
                  <a:gd name="connsiteY2536" fmla="*/ 648126 h 1052131"/>
                  <a:gd name="connsiteX2537" fmla="*/ 14419 w 1085953"/>
                  <a:gd name="connsiteY2537" fmla="*/ 582594 h 1052131"/>
                  <a:gd name="connsiteX2538" fmla="*/ 14419 w 1085953"/>
                  <a:gd name="connsiteY2538" fmla="*/ 528397 h 1052131"/>
                  <a:gd name="connsiteX2539" fmla="*/ 10418 w 1085953"/>
                  <a:gd name="connsiteY2539" fmla="*/ 531636 h 1052131"/>
                  <a:gd name="connsiteX2540" fmla="*/ 7466 w 1085953"/>
                  <a:gd name="connsiteY2540" fmla="*/ 558210 h 1052131"/>
                  <a:gd name="connsiteX2541" fmla="*/ 6894 w 1085953"/>
                  <a:gd name="connsiteY2541" fmla="*/ 558210 h 1052131"/>
                  <a:gd name="connsiteX2542" fmla="*/ 16419 w 1085953"/>
                  <a:gd name="connsiteY2542" fmla="*/ 448006 h 1052131"/>
                  <a:gd name="connsiteX2543" fmla="*/ 19658 w 1085953"/>
                  <a:gd name="connsiteY2543" fmla="*/ 452007 h 1052131"/>
                  <a:gd name="connsiteX2544" fmla="*/ 20229 w 1085953"/>
                  <a:gd name="connsiteY2544" fmla="*/ 446863 h 1052131"/>
                  <a:gd name="connsiteX2545" fmla="*/ 25277 w 1085953"/>
                  <a:gd name="connsiteY2545" fmla="*/ 445244 h 1052131"/>
                  <a:gd name="connsiteX2546" fmla="*/ 27087 w 1085953"/>
                  <a:gd name="connsiteY2546" fmla="*/ 445244 h 1052131"/>
                  <a:gd name="connsiteX2547" fmla="*/ 27849 w 1085953"/>
                  <a:gd name="connsiteY2547" fmla="*/ 446101 h 1052131"/>
                  <a:gd name="connsiteX2548" fmla="*/ 30992 w 1085953"/>
                  <a:gd name="connsiteY2548" fmla="*/ 498012 h 1052131"/>
                  <a:gd name="connsiteX2549" fmla="*/ 42803 w 1085953"/>
                  <a:gd name="connsiteY2549" fmla="*/ 429337 h 1052131"/>
                  <a:gd name="connsiteX2550" fmla="*/ 66806 w 1085953"/>
                  <a:gd name="connsiteY2550" fmla="*/ 396571 h 1052131"/>
                  <a:gd name="connsiteX2551" fmla="*/ 73569 w 1085953"/>
                  <a:gd name="connsiteY2551" fmla="*/ 371901 h 1052131"/>
                  <a:gd name="connsiteX2552" fmla="*/ 72045 w 1085953"/>
                  <a:gd name="connsiteY2552" fmla="*/ 381426 h 1052131"/>
                  <a:gd name="connsiteX2553" fmla="*/ 87666 w 1085953"/>
                  <a:gd name="connsiteY2553" fmla="*/ 352851 h 1052131"/>
                  <a:gd name="connsiteX2554" fmla="*/ 123956 w 1085953"/>
                  <a:gd name="connsiteY2554" fmla="*/ 323229 h 1052131"/>
                  <a:gd name="connsiteX2555" fmla="*/ 130910 w 1085953"/>
                  <a:gd name="connsiteY2555" fmla="*/ 316180 h 1052131"/>
                  <a:gd name="connsiteX2556" fmla="*/ 132815 w 1085953"/>
                  <a:gd name="connsiteY2556" fmla="*/ 316180 h 1052131"/>
                  <a:gd name="connsiteX2557" fmla="*/ 136720 w 1085953"/>
                  <a:gd name="connsiteY2557" fmla="*/ 315228 h 1052131"/>
                  <a:gd name="connsiteX2558" fmla="*/ 125957 w 1085953"/>
                  <a:gd name="connsiteY2558" fmla="*/ 327420 h 1052131"/>
                  <a:gd name="connsiteX2559" fmla="*/ 128909 w 1085953"/>
                  <a:gd name="connsiteY2559" fmla="*/ 331611 h 1052131"/>
                  <a:gd name="connsiteX2560" fmla="*/ 150436 w 1085953"/>
                  <a:gd name="connsiteY2560" fmla="*/ 319133 h 1052131"/>
                  <a:gd name="connsiteX2561" fmla="*/ 144149 w 1085953"/>
                  <a:gd name="connsiteY2561" fmla="*/ 311989 h 1052131"/>
                  <a:gd name="connsiteX2562" fmla="*/ 155103 w 1085953"/>
                  <a:gd name="connsiteY2562" fmla="*/ 283414 h 1052131"/>
                  <a:gd name="connsiteX2563" fmla="*/ 152531 w 1085953"/>
                  <a:gd name="connsiteY2563" fmla="*/ 279033 h 1052131"/>
                  <a:gd name="connsiteX2564" fmla="*/ 138149 w 1085953"/>
                  <a:gd name="connsiteY2564" fmla="*/ 285605 h 1052131"/>
                  <a:gd name="connsiteX2565" fmla="*/ 159199 w 1085953"/>
                  <a:gd name="connsiteY2565" fmla="*/ 269317 h 1052131"/>
                  <a:gd name="connsiteX2566" fmla="*/ 173487 w 1085953"/>
                  <a:gd name="connsiteY2566" fmla="*/ 274746 h 1052131"/>
                  <a:gd name="connsiteX2567" fmla="*/ 186631 w 1085953"/>
                  <a:gd name="connsiteY2567" fmla="*/ 265888 h 1052131"/>
                  <a:gd name="connsiteX2568" fmla="*/ 189393 w 1085953"/>
                  <a:gd name="connsiteY2568" fmla="*/ 265888 h 1052131"/>
                  <a:gd name="connsiteX2569" fmla="*/ 192441 w 1085953"/>
                  <a:gd name="connsiteY2569" fmla="*/ 264459 h 1052131"/>
                  <a:gd name="connsiteX2570" fmla="*/ 209205 w 1085953"/>
                  <a:gd name="connsiteY2570" fmla="*/ 241123 h 1052131"/>
                  <a:gd name="connsiteX2571" fmla="*/ 199109 w 1085953"/>
                  <a:gd name="connsiteY2571" fmla="*/ 241123 h 1052131"/>
                  <a:gd name="connsiteX2572" fmla="*/ 208634 w 1085953"/>
                  <a:gd name="connsiteY2572" fmla="*/ 238075 h 1052131"/>
                  <a:gd name="connsiteX2573" fmla="*/ 223779 w 1085953"/>
                  <a:gd name="connsiteY2573" fmla="*/ 180925 h 1052131"/>
                  <a:gd name="connsiteX2574" fmla="*/ 207205 w 1085953"/>
                  <a:gd name="connsiteY2574" fmla="*/ 194450 h 1052131"/>
                  <a:gd name="connsiteX2575" fmla="*/ 202728 w 1085953"/>
                  <a:gd name="connsiteY2575" fmla="*/ 192165 h 1052131"/>
                  <a:gd name="connsiteX2576" fmla="*/ 218921 w 1085953"/>
                  <a:gd name="connsiteY2576" fmla="*/ 159875 h 1052131"/>
                  <a:gd name="connsiteX2577" fmla="*/ 212825 w 1085953"/>
                  <a:gd name="connsiteY2577" fmla="*/ 151683 h 1052131"/>
                  <a:gd name="connsiteX2578" fmla="*/ 122813 w 1085953"/>
                  <a:gd name="connsiteY2578" fmla="*/ 252267 h 1052131"/>
                  <a:gd name="connsiteX2579" fmla="*/ 146721 w 1085953"/>
                  <a:gd name="connsiteY2579" fmla="*/ 185592 h 1052131"/>
                  <a:gd name="connsiteX2580" fmla="*/ 207396 w 1085953"/>
                  <a:gd name="connsiteY2580" fmla="*/ 121489 h 1052131"/>
                  <a:gd name="connsiteX2581" fmla="*/ 208157 w 1085953"/>
                  <a:gd name="connsiteY2581" fmla="*/ 121489 h 1052131"/>
                  <a:gd name="connsiteX2582" fmla="*/ 207586 w 1085953"/>
                  <a:gd name="connsiteY2582" fmla="*/ 123489 h 1052131"/>
                  <a:gd name="connsiteX2583" fmla="*/ 208253 w 1085953"/>
                  <a:gd name="connsiteY2583" fmla="*/ 128633 h 1052131"/>
                  <a:gd name="connsiteX2584" fmla="*/ 227779 w 1085953"/>
                  <a:gd name="connsiteY2584" fmla="*/ 112536 h 1052131"/>
                  <a:gd name="connsiteX2585" fmla="*/ 225303 w 1085953"/>
                  <a:gd name="connsiteY2585" fmla="*/ 117012 h 1052131"/>
                  <a:gd name="connsiteX2586" fmla="*/ 274547 w 1085953"/>
                  <a:gd name="connsiteY2586" fmla="*/ 83675 h 1052131"/>
                  <a:gd name="connsiteX2587" fmla="*/ 247305 w 1085953"/>
                  <a:gd name="connsiteY2587" fmla="*/ 100725 h 1052131"/>
                  <a:gd name="connsiteX2588" fmla="*/ 262545 w 1085953"/>
                  <a:gd name="connsiteY2588" fmla="*/ 86246 h 1052131"/>
                  <a:gd name="connsiteX2589" fmla="*/ 253973 w 1085953"/>
                  <a:gd name="connsiteY2589" fmla="*/ 91866 h 1052131"/>
                  <a:gd name="connsiteX2590" fmla="*/ 289310 w 1085953"/>
                  <a:gd name="connsiteY2590" fmla="*/ 62244 h 1052131"/>
                  <a:gd name="connsiteX2591" fmla="*/ 265593 w 1085953"/>
                  <a:gd name="connsiteY2591" fmla="*/ 76817 h 1052131"/>
                  <a:gd name="connsiteX2592" fmla="*/ 265593 w 1085953"/>
                  <a:gd name="connsiteY2592" fmla="*/ 76817 h 1052131"/>
                  <a:gd name="connsiteX2593" fmla="*/ 263117 w 1085953"/>
                  <a:gd name="connsiteY2593" fmla="*/ 78627 h 1052131"/>
                  <a:gd name="connsiteX2594" fmla="*/ 263117 w 1085953"/>
                  <a:gd name="connsiteY2594" fmla="*/ 78627 h 1052131"/>
                  <a:gd name="connsiteX2595" fmla="*/ 257116 w 1085953"/>
                  <a:gd name="connsiteY2595" fmla="*/ 83103 h 1052131"/>
                  <a:gd name="connsiteX2596" fmla="*/ 258354 w 1085953"/>
                  <a:gd name="connsiteY2596" fmla="*/ 81960 h 1052131"/>
                  <a:gd name="connsiteX2597" fmla="*/ 261116 w 1085953"/>
                  <a:gd name="connsiteY2597" fmla="*/ 79770 h 1052131"/>
                  <a:gd name="connsiteX2598" fmla="*/ 267213 w 1085953"/>
                  <a:gd name="connsiteY2598" fmla="*/ 74436 h 1052131"/>
                  <a:gd name="connsiteX2599" fmla="*/ 267213 w 1085953"/>
                  <a:gd name="connsiteY2599" fmla="*/ 74436 h 1052131"/>
                  <a:gd name="connsiteX2600" fmla="*/ 262926 w 1085953"/>
                  <a:gd name="connsiteY2600" fmla="*/ 76721 h 1052131"/>
                  <a:gd name="connsiteX2601" fmla="*/ 259021 w 1085953"/>
                  <a:gd name="connsiteY2601" fmla="*/ 78627 h 1052131"/>
                  <a:gd name="connsiteX2602" fmla="*/ 259021 w 1085953"/>
                  <a:gd name="connsiteY2602" fmla="*/ 78627 h 1052131"/>
                  <a:gd name="connsiteX2603" fmla="*/ 256259 w 1085953"/>
                  <a:gd name="connsiteY2603" fmla="*/ 80817 h 1052131"/>
                  <a:gd name="connsiteX2604" fmla="*/ 256830 w 1085953"/>
                  <a:gd name="connsiteY2604" fmla="*/ 80817 h 1052131"/>
                  <a:gd name="connsiteX2605" fmla="*/ 255401 w 1085953"/>
                  <a:gd name="connsiteY2605" fmla="*/ 82341 h 1052131"/>
                  <a:gd name="connsiteX2606" fmla="*/ 255401 w 1085953"/>
                  <a:gd name="connsiteY2606" fmla="*/ 82341 h 1052131"/>
                  <a:gd name="connsiteX2607" fmla="*/ 255401 w 1085953"/>
                  <a:gd name="connsiteY2607" fmla="*/ 82341 h 1052131"/>
                  <a:gd name="connsiteX2608" fmla="*/ 253496 w 1085953"/>
                  <a:gd name="connsiteY2608" fmla="*/ 84532 h 1052131"/>
                  <a:gd name="connsiteX2609" fmla="*/ 256068 w 1085953"/>
                  <a:gd name="connsiteY2609" fmla="*/ 83579 h 1052131"/>
                  <a:gd name="connsiteX2610" fmla="*/ 238066 w 1085953"/>
                  <a:gd name="connsiteY2610" fmla="*/ 96819 h 1052131"/>
                  <a:gd name="connsiteX2611" fmla="*/ 236923 w 1085953"/>
                  <a:gd name="connsiteY2611" fmla="*/ 96819 h 1052131"/>
                  <a:gd name="connsiteX2612" fmla="*/ 248163 w 1085953"/>
                  <a:gd name="connsiteY2612" fmla="*/ 86056 h 1052131"/>
                  <a:gd name="connsiteX2613" fmla="*/ 243114 w 1085953"/>
                  <a:gd name="connsiteY2613" fmla="*/ 86056 h 1052131"/>
                  <a:gd name="connsiteX2614" fmla="*/ 253592 w 1085953"/>
                  <a:gd name="connsiteY2614" fmla="*/ 74531 h 1052131"/>
                  <a:gd name="connsiteX2615" fmla="*/ 232541 w 1085953"/>
                  <a:gd name="connsiteY2615" fmla="*/ 88437 h 1052131"/>
                  <a:gd name="connsiteX2616" fmla="*/ 254449 w 1085953"/>
                  <a:gd name="connsiteY2616" fmla="*/ 72245 h 1052131"/>
                  <a:gd name="connsiteX2617" fmla="*/ 257783 w 1085953"/>
                  <a:gd name="connsiteY2617" fmla="*/ 71292 h 1052131"/>
                  <a:gd name="connsiteX2618" fmla="*/ 257783 w 1085953"/>
                  <a:gd name="connsiteY2618" fmla="*/ 71292 h 1052131"/>
                  <a:gd name="connsiteX2619" fmla="*/ 261783 w 1085953"/>
                  <a:gd name="connsiteY2619" fmla="*/ 69673 h 1052131"/>
                  <a:gd name="connsiteX2620" fmla="*/ 256925 w 1085953"/>
                  <a:gd name="connsiteY2620" fmla="*/ 73769 h 1052131"/>
                  <a:gd name="connsiteX2621" fmla="*/ 254925 w 1085953"/>
                  <a:gd name="connsiteY2621" fmla="*/ 76912 h 1052131"/>
                  <a:gd name="connsiteX2622" fmla="*/ 261497 w 1085953"/>
                  <a:gd name="connsiteY2622" fmla="*/ 72816 h 1052131"/>
                  <a:gd name="connsiteX2623" fmla="*/ 258259 w 1085953"/>
                  <a:gd name="connsiteY2623" fmla="*/ 74436 h 1052131"/>
                  <a:gd name="connsiteX2624" fmla="*/ 266165 w 1085953"/>
                  <a:gd name="connsiteY2624" fmla="*/ 69768 h 1052131"/>
                  <a:gd name="connsiteX2625" fmla="*/ 265403 w 1085953"/>
                  <a:gd name="connsiteY2625" fmla="*/ 71197 h 1052131"/>
                  <a:gd name="connsiteX2626" fmla="*/ 268451 w 1085953"/>
                  <a:gd name="connsiteY2626" fmla="*/ 69673 h 1052131"/>
                  <a:gd name="connsiteX2627" fmla="*/ 277214 w 1085953"/>
                  <a:gd name="connsiteY2627" fmla="*/ 62434 h 1052131"/>
                  <a:gd name="connsiteX2628" fmla="*/ 285120 w 1085953"/>
                  <a:gd name="connsiteY2628" fmla="*/ 57291 h 1052131"/>
                  <a:gd name="connsiteX2629" fmla="*/ 306932 w 1085953"/>
                  <a:gd name="connsiteY2629" fmla="*/ 44241 h 1052131"/>
                  <a:gd name="connsiteX2630" fmla="*/ 312266 w 1085953"/>
                  <a:gd name="connsiteY2630" fmla="*/ 40622 h 1052131"/>
                  <a:gd name="connsiteX2631" fmla="*/ 303788 w 1085953"/>
                  <a:gd name="connsiteY2631" fmla="*/ 44717 h 1052131"/>
                  <a:gd name="connsiteX2632" fmla="*/ 296930 w 1085953"/>
                  <a:gd name="connsiteY2632" fmla="*/ 48337 h 1052131"/>
                  <a:gd name="connsiteX2633" fmla="*/ 310170 w 1085953"/>
                  <a:gd name="connsiteY2633" fmla="*/ 40241 h 1052131"/>
                  <a:gd name="connsiteX2634" fmla="*/ 303598 w 1085953"/>
                  <a:gd name="connsiteY2634" fmla="*/ 43765 h 1052131"/>
                  <a:gd name="connsiteX2635" fmla="*/ 303598 w 1085953"/>
                  <a:gd name="connsiteY2635" fmla="*/ 43765 h 1052131"/>
                  <a:gd name="connsiteX2636" fmla="*/ 301979 w 1085953"/>
                  <a:gd name="connsiteY2636" fmla="*/ 43765 h 1052131"/>
                  <a:gd name="connsiteX2637" fmla="*/ 313028 w 1085953"/>
                  <a:gd name="connsiteY2637" fmla="*/ 37859 h 1052131"/>
                  <a:gd name="connsiteX2638" fmla="*/ 309027 w 1085953"/>
                  <a:gd name="connsiteY2638" fmla="*/ 39669 h 1052131"/>
                  <a:gd name="connsiteX2639" fmla="*/ 319695 w 1085953"/>
                  <a:gd name="connsiteY2639" fmla="*/ 33954 h 1052131"/>
                  <a:gd name="connsiteX2640" fmla="*/ 294359 w 1085953"/>
                  <a:gd name="connsiteY2640" fmla="*/ 45670 h 1052131"/>
                  <a:gd name="connsiteX2641" fmla="*/ 297978 w 1085953"/>
                  <a:gd name="connsiteY2641" fmla="*/ 44146 h 1052131"/>
                  <a:gd name="connsiteX2642" fmla="*/ 292739 w 1085953"/>
                  <a:gd name="connsiteY2642" fmla="*/ 46623 h 1052131"/>
                  <a:gd name="connsiteX2643" fmla="*/ 283214 w 1085953"/>
                  <a:gd name="connsiteY2643" fmla="*/ 52242 h 1052131"/>
                  <a:gd name="connsiteX2644" fmla="*/ 283976 w 1085953"/>
                  <a:gd name="connsiteY2644" fmla="*/ 52242 h 1052131"/>
                  <a:gd name="connsiteX2645" fmla="*/ 278928 w 1085953"/>
                  <a:gd name="connsiteY2645" fmla="*/ 56243 h 1052131"/>
                  <a:gd name="connsiteX2646" fmla="*/ 278928 w 1085953"/>
                  <a:gd name="connsiteY2646" fmla="*/ 56243 h 1052131"/>
                  <a:gd name="connsiteX2647" fmla="*/ 280833 w 1085953"/>
                  <a:gd name="connsiteY2647" fmla="*/ 54242 h 1052131"/>
                  <a:gd name="connsiteX2648" fmla="*/ 278738 w 1085953"/>
                  <a:gd name="connsiteY2648" fmla="*/ 54909 h 1052131"/>
                  <a:gd name="connsiteX2649" fmla="*/ 298740 w 1085953"/>
                  <a:gd name="connsiteY2649" fmla="*/ 41288 h 1052131"/>
                  <a:gd name="connsiteX2650" fmla="*/ 284453 w 1085953"/>
                  <a:gd name="connsiteY2650" fmla="*/ 48528 h 1052131"/>
                  <a:gd name="connsiteX2651" fmla="*/ 225588 w 1085953"/>
                  <a:gd name="connsiteY2651" fmla="*/ 86056 h 1052131"/>
                  <a:gd name="connsiteX2652" fmla="*/ 162342 w 1085953"/>
                  <a:gd name="connsiteY2652" fmla="*/ 140349 h 1052131"/>
                  <a:gd name="connsiteX2653" fmla="*/ 108050 w 1085953"/>
                  <a:gd name="connsiteY2653" fmla="*/ 203595 h 1052131"/>
                  <a:gd name="connsiteX2654" fmla="*/ 63854 w 1085953"/>
                  <a:gd name="connsiteY2654" fmla="*/ 274746 h 1052131"/>
                  <a:gd name="connsiteX2655" fmla="*/ 28706 w 1085953"/>
                  <a:gd name="connsiteY2655" fmla="*/ 354185 h 1052131"/>
                  <a:gd name="connsiteX2656" fmla="*/ 8132 w 1085953"/>
                  <a:gd name="connsiteY2656" fmla="*/ 437719 h 1052131"/>
                  <a:gd name="connsiteX2657" fmla="*/ 3846 w 1085953"/>
                  <a:gd name="connsiteY2657" fmla="*/ 562878 h 1052131"/>
                  <a:gd name="connsiteX2658" fmla="*/ 22896 w 1085953"/>
                  <a:gd name="connsiteY2658" fmla="*/ 631458 h 1052131"/>
                  <a:gd name="connsiteX2659" fmla="*/ 22896 w 1085953"/>
                  <a:gd name="connsiteY2659" fmla="*/ 632315 h 1052131"/>
                  <a:gd name="connsiteX2660" fmla="*/ 22896 w 1085953"/>
                  <a:gd name="connsiteY2660" fmla="*/ 635077 h 1052131"/>
                  <a:gd name="connsiteX2661" fmla="*/ 22896 w 1085953"/>
                  <a:gd name="connsiteY2661" fmla="*/ 635744 h 1052131"/>
                  <a:gd name="connsiteX2662" fmla="*/ 24230 w 1085953"/>
                  <a:gd name="connsiteY2662" fmla="*/ 636982 h 1052131"/>
                  <a:gd name="connsiteX2663" fmla="*/ 28611 w 1085953"/>
                  <a:gd name="connsiteY2663" fmla="*/ 646507 h 1052131"/>
                  <a:gd name="connsiteX2664" fmla="*/ 38136 w 1085953"/>
                  <a:gd name="connsiteY2664" fmla="*/ 660795 h 1052131"/>
                  <a:gd name="connsiteX2665" fmla="*/ 39089 w 1085953"/>
                  <a:gd name="connsiteY2665" fmla="*/ 645650 h 1052131"/>
                  <a:gd name="connsiteX2666" fmla="*/ 75569 w 1085953"/>
                  <a:gd name="connsiteY2666" fmla="*/ 768618 h 1052131"/>
                  <a:gd name="connsiteX2667" fmla="*/ 169010 w 1085953"/>
                  <a:gd name="connsiteY2667" fmla="*/ 874345 h 1052131"/>
                  <a:gd name="connsiteX2668" fmla="*/ 329601 w 1085953"/>
                  <a:gd name="connsiteY2668" fmla="*/ 1011410 h 1052131"/>
                  <a:gd name="connsiteX2669" fmla="*/ 329601 w 1085953"/>
                  <a:gd name="connsiteY2669" fmla="*/ 1011410 h 1052131"/>
                  <a:gd name="connsiteX2670" fmla="*/ 332745 w 1085953"/>
                  <a:gd name="connsiteY2670" fmla="*/ 1013124 h 1052131"/>
                  <a:gd name="connsiteX2671" fmla="*/ 341222 w 1085953"/>
                  <a:gd name="connsiteY2671" fmla="*/ 1018173 h 1052131"/>
                  <a:gd name="connsiteX2672" fmla="*/ 336459 w 1085953"/>
                  <a:gd name="connsiteY2672" fmla="*/ 1016458 h 1052131"/>
                  <a:gd name="connsiteX2673" fmla="*/ 379131 w 1085953"/>
                  <a:gd name="connsiteY2673" fmla="*/ 1035508 h 1052131"/>
                  <a:gd name="connsiteX2674" fmla="*/ 369606 w 1085953"/>
                  <a:gd name="connsiteY2674" fmla="*/ 1031793 h 1052131"/>
                  <a:gd name="connsiteX2675" fmla="*/ 413040 w 1085953"/>
                  <a:gd name="connsiteY2675" fmla="*/ 1046557 h 1052131"/>
                  <a:gd name="connsiteX2676" fmla="*/ 405325 w 1085953"/>
                  <a:gd name="connsiteY2676" fmla="*/ 1043509 h 1052131"/>
                  <a:gd name="connsiteX2677" fmla="*/ 412659 w 1085953"/>
                  <a:gd name="connsiteY2677" fmla="*/ 1046081 h 1052131"/>
                  <a:gd name="connsiteX2678" fmla="*/ 419041 w 1085953"/>
                  <a:gd name="connsiteY2678" fmla="*/ 1047795 h 1052131"/>
                  <a:gd name="connsiteX2679" fmla="*/ 421137 w 1085953"/>
                  <a:gd name="connsiteY2679" fmla="*/ 1048653 h 1052131"/>
                  <a:gd name="connsiteX2680" fmla="*/ 418184 w 1085953"/>
                  <a:gd name="connsiteY2680" fmla="*/ 1047891 h 1052131"/>
                  <a:gd name="connsiteX2681" fmla="*/ 418184 w 1085953"/>
                  <a:gd name="connsiteY2681" fmla="*/ 1047891 h 1052131"/>
                  <a:gd name="connsiteX2682" fmla="*/ 418184 w 1085953"/>
                  <a:gd name="connsiteY2682" fmla="*/ 1047891 h 1052131"/>
                  <a:gd name="connsiteX2683" fmla="*/ 425042 w 1085953"/>
                  <a:gd name="connsiteY2683" fmla="*/ 1049224 h 1052131"/>
                  <a:gd name="connsiteX2684" fmla="*/ 425042 w 1085953"/>
                  <a:gd name="connsiteY2684" fmla="*/ 1049224 h 1052131"/>
                  <a:gd name="connsiteX2685" fmla="*/ 158342 w 1085953"/>
                  <a:gd name="connsiteY2685" fmla="*/ 303131 h 1052131"/>
                  <a:gd name="connsiteX2686" fmla="*/ 158342 w 1085953"/>
                  <a:gd name="connsiteY2686" fmla="*/ 303131 h 1052131"/>
                  <a:gd name="connsiteX2687" fmla="*/ 155389 w 1085953"/>
                  <a:gd name="connsiteY2687" fmla="*/ 305703 h 1052131"/>
                  <a:gd name="connsiteX2688" fmla="*/ 153008 w 1085953"/>
                  <a:gd name="connsiteY2688" fmla="*/ 310560 h 1052131"/>
                  <a:gd name="connsiteX2689" fmla="*/ 150722 w 1085953"/>
                  <a:gd name="connsiteY2689" fmla="*/ 314180 h 1052131"/>
                  <a:gd name="connsiteX2690" fmla="*/ 150722 w 1085953"/>
                  <a:gd name="connsiteY2690" fmla="*/ 315704 h 1052131"/>
                  <a:gd name="connsiteX2691" fmla="*/ 152331 w 1085953"/>
                  <a:gd name="connsiteY2691" fmla="*/ 315808 h 1052131"/>
                  <a:gd name="connsiteX2692" fmla="*/ 152436 w 1085953"/>
                  <a:gd name="connsiteY2692" fmla="*/ 315704 h 1052131"/>
                  <a:gd name="connsiteX2693" fmla="*/ 155580 w 1085953"/>
                  <a:gd name="connsiteY2693" fmla="*/ 313513 h 1052131"/>
                  <a:gd name="connsiteX2694" fmla="*/ 157104 w 1085953"/>
                  <a:gd name="connsiteY2694" fmla="*/ 311227 h 1052131"/>
                  <a:gd name="connsiteX2695" fmla="*/ 156246 w 1085953"/>
                  <a:gd name="connsiteY2695" fmla="*/ 310655 h 1052131"/>
                  <a:gd name="connsiteX2696" fmla="*/ 155389 w 1085953"/>
                  <a:gd name="connsiteY2696" fmla="*/ 310655 h 1052131"/>
                  <a:gd name="connsiteX2697" fmla="*/ 156056 w 1085953"/>
                  <a:gd name="connsiteY2697" fmla="*/ 308846 h 1052131"/>
                  <a:gd name="connsiteX2698" fmla="*/ 158723 w 1085953"/>
                  <a:gd name="connsiteY2698" fmla="*/ 302750 h 1052131"/>
                  <a:gd name="connsiteX2699" fmla="*/ 131481 w 1085953"/>
                  <a:gd name="connsiteY2699" fmla="*/ 233884 h 1052131"/>
                  <a:gd name="connsiteX2700" fmla="*/ 130529 w 1085953"/>
                  <a:gd name="connsiteY2700" fmla="*/ 235694 h 1052131"/>
                  <a:gd name="connsiteX2701" fmla="*/ 129862 w 1085953"/>
                  <a:gd name="connsiteY2701" fmla="*/ 239599 h 1052131"/>
                  <a:gd name="connsiteX2702" fmla="*/ 129862 w 1085953"/>
                  <a:gd name="connsiteY2702" fmla="*/ 239599 h 1052131"/>
                  <a:gd name="connsiteX2703" fmla="*/ 131576 w 1085953"/>
                  <a:gd name="connsiteY2703" fmla="*/ 236646 h 1052131"/>
                  <a:gd name="connsiteX2704" fmla="*/ 133005 w 1085953"/>
                  <a:gd name="connsiteY2704" fmla="*/ 233884 h 1052131"/>
                  <a:gd name="connsiteX2705" fmla="*/ 133005 w 1085953"/>
                  <a:gd name="connsiteY2705" fmla="*/ 231884 h 1052131"/>
                  <a:gd name="connsiteX2706" fmla="*/ 131862 w 1085953"/>
                  <a:gd name="connsiteY2706" fmla="*/ 233503 h 1052131"/>
                  <a:gd name="connsiteX2707" fmla="*/ 150531 w 1085953"/>
                  <a:gd name="connsiteY2707" fmla="*/ 308084 h 1052131"/>
                  <a:gd name="connsiteX2708" fmla="*/ 150531 w 1085953"/>
                  <a:gd name="connsiteY2708" fmla="*/ 307608 h 1052131"/>
                  <a:gd name="connsiteX2709" fmla="*/ 149960 w 1085953"/>
                  <a:gd name="connsiteY2709" fmla="*/ 307608 h 1052131"/>
                  <a:gd name="connsiteX2710" fmla="*/ 148817 w 1085953"/>
                  <a:gd name="connsiteY2710" fmla="*/ 306846 h 1052131"/>
                  <a:gd name="connsiteX2711" fmla="*/ 147864 w 1085953"/>
                  <a:gd name="connsiteY2711" fmla="*/ 304750 h 1052131"/>
                  <a:gd name="connsiteX2712" fmla="*/ 147293 w 1085953"/>
                  <a:gd name="connsiteY2712" fmla="*/ 303798 h 1052131"/>
                  <a:gd name="connsiteX2713" fmla="*/ 147293 w 1085953"/>
                  <a:gd name="connsiteY2713" fmla="*/ 301702 h 1052131"/>
                  <a:gd name="connsiteX2714" fmla="*/ 147293 w 1085953"/>
                  <a:gd name="connsiteY2714" fmla="*/ 301702 h 1052131"/>
                  <a:gd name="connsiteX2715" fmla="*/ 146531 w 1085953"/>
                  <a:gd name="connsiteY2715" fmla="*/ 301702 h 1052131"/>
                  <a:gd name="connsiteX2716" fmla="*/ 146531 w 1085953"/>
                  <a:gd name="connsiteY2716" fmla="*/ 301702 h 1052131"/>
                  <a:gd name="connsiteX2717" fmla="*/ 146531 w 1085953"/>
                  <a:gd name="connsiteY2717" fmla="*/ 301702 h 1052131"/>
                  <a:gd name="connsiteX2718" fmla="*/ 146531 w 1085953"/>
                  <a:gd name="connsiteY2718" fmla="*/ 301702 h 1052131"/>
                  <a:gd name="connsiteX2719" fmla="*/ 146531 w 1085953"/>
                  <a:gd name="connsiteY2719" fmla="*/ 301702 h 1052131"/>
                  <a:gd name="connsiteX2720" fmla="*/ 146531 w 1085953"/>
                  <a:gd name="connsiteY2720" fmla="*/ 301702 h 1052131"/>
                  <a:gd name="connsiteX2721" fmla="*/ 146531 w 1085953"/>
                  <a:gd name="connsiteY2721" fmla="*/ 301702 h 1052131"/>
                  <a:gd name="connsiteX2722" fmla="*/ 146531 w 1085953"/>
                  <a:gd name="connsiteY2722" fmla="*/ 302274 h 1052131"/>
                  <a:gd name="connsiteX2723" fmla="*/ 146531 w 1085953"/>
                  <a:gd name="connsiteY2723" fmla="*/ 302274 h 1052131"/>
                  <a:gd name="connsiteX2724" fmla="*/ 147293 w 1085953"/>
                  <a:gd name="connsiteY2724" fmla="*/ 303417 h 1052131"/>
                  <a:gd name="connsiteX2725" fmla="*/ 147864 w 1085953"/>
                  <a:gd name="connsiteY2725" fmla="*/ 304179 h 1052131"/>
                  <a:gd name="connsiteX2726" fmla="*/ 147864 w 1085953"/>
                  <a:gd name="connsiteY2726" fmla="*/ 305798 h 1052131"/>
                  <a:gd name="connsiteX2727" fmla="*/ 148340 w 1085953"/>
                  <a:gd name="connsiteY2727" fmla="*/ 307036 h 1052131"/>
                  <a:gd name="connsiteX2728" fmla="*/ 148340 w 1085953"/>
                  <a:gd name="connsiteY2728" fmla="*/ 307893 h 1052131"/>
                  <a:gd name="connsiteX2729" fmla="*/ 150912 w 1085953"/>
                  <a:gd name="connsiteY2729" fmla="*/ 307703 h 1052131"/>
                  <a:gd name="connsiteX2730" fmla="*/ 158818 w 1085953"/>
                  <a:gd name="connsiteY2730" fmla="*/ 280747 h 1052131"/>
                  <a:gd name="connsiteX2731" fmla="*/ 159961 w 1085953"/>
                  <a:gd name="connsiteY2731" fmla="*/ 281700 h 1052131"/>
                  <a:gd name="connsiteX2732" fmla="*/ 160913 w 1085953"/>
                  <a:gd name="connsiteY2732" fmla="*/ 282462 h 1052131"/>
                  <a:gd name="connsiteX2733" fmla="*/ 162056 w 1085953"/>
                  <a:gd name="connsiteY2733" fmla="*/ 283605 h 1052131"/>
                  <a:gd name="connsiteX2734" fmla="*/ 162818 w 1085953"/>
                  <a:gd name="connsiteY2734" fmla="*/ 283605 h 1052131"/>
                  <a:gd name="connsiteX2735" fmla="*/ 166438 w 1085953"/>
                  <a:gd name="connsiteY2735" fmla="*/ 283605 h 1052131"/>
                  <a:gd name="connsiteX2736" fmla="*/ 166438 w 1085953"/>
                  <a:gd name="connsiteY2736" fmla="*/ 281890 h 1052131"/>
                  <a:gd name="connsiteX2737" fmla="*/ 165390 w 1085953"/>
                  <a:gd name="connsiteY2737" fmla="*/ 279128 h 1052131"/>
                  <a:gd name="connsiteX2738" fmla="*/ 165390 w 1085953"/>
                  <a:gd name="connsiteY2738" fmla="*/ 276651 h 1052131"/>
                  <a:gd name="connsiteX2739" fmla="*/ 165390 w 1085953"/>
                  <a:gd name="connsiteY2739" fmla="*/ 276651 h 1052131"/>
                  <a:gd name="connsiteX2740" fmla="*/ 159771 w 1085953"/>
                  <a:gd name="connsiteY2740" fmla="*/ 274556 h 1052131"/>
                  <a:gd name="connsiteX2741" fmla="*/ 159104 w 1085953"/>
                  <a:gd name="connsiteY2741" fmla="*/ 276175 h 1052131"/>
                  <a:gd name="connsiteX2742" fmla="*/ 159104 w 1085953"/>
                  <a:gd name="connsiteY2742" fmla="*/ 279604 h 1052131"/>
                  <a:gd name="connsiteX2743" fmla="*/ 159199 w 1085953"/>
                  <a:gd name="connsiteY2743" fmla="*/ 280366 h 1052131"/>
                  <a:gd name="connsiteX2744" fmla="*/ 198823 w 1085953"/>
                  <a:gd name="connsiteY2744" fmla="*/ 265221 h 1052131"/>
                  <a:gd name="connsiteX2745" fmla="*/ 196346 w 1085953"/>
                  <a:gd name="connsiteY2745" fmla="*/ 264459 h 1052131"/>
                  <a:gd name="connsiteX2746" fmla="*/ 195108 w 1085953"/>
                  <a:gd name="connsiteY2746" fmla="*/ 265126 h 1052131"/>
                  <a:gd name="connsiteX2747" fmla="*/ 190917 w 1085953"/>
                  <a:gd name="connsiteY2747" fmla="*/ 271794 h 1052131"/>
                  <a:gd name="connsiteX2748" fmla="*/ 185297 w 1085953"/>
                  <a:gd name="connsiteY2748" fmla="*/ 275889 h 1052131"/>
                  <a:gd name="connsiteX2749" fmla="*/ 184059 w 1085953"/>
                  <a:gd name="connsiteY2749" fmla="*/ 278271 h 1052131"/>
                  <a:gd name="connsiteX2750" fmla="*/ 177201 w 1085953"/>
                  <a:gd name="connsiteY2750" fmla="*/ 286938 h 1052131"/>
                  <a:gd name="connsiteX2751" fmla="*/ 175201 w 1085953"/>
                  <a:gd name="connsiteY2751" fmla="*/ 288462 h 1052131"/>
                  <a:gd name="connsiteX2752" fmla="*/ 170248 w 1085953"/>
                  <a:gd name="connsiteY2752" fmla="*/ 292939 h 1052131"/>
                  <a:gd name="connsiteX2753" fmla="*/ 173201 w 1085953"/>
                  <a:gd name="connsiteY2753" fmla="*/ 293796 h 1052131"/>
                  <a:gd name="connsiteX2754" fmla="*/ 173201 w 1085953"/>
                  <a:gd name="connsiteY2754" fmla="*/ 293796 h 1052131"/>
                  <a:gd name="connsiteX2755" fmla="*/ 170057 w 1085953"/>
                  <a:gd name="connsiteY2755" fmla="*/ 295034 h 1052131"/>
                  <a:gd name="connsiteX2756" fmla="*/ 168438 w 1085953"/>
                  <a:gd name="connsiteY2756" fmla="*/ 296082 h 1052131"/>
                  <a:gd name="connsiteX2757" fmla="*/ 170153 w 1085953"/>
                  <a:gd name="connsiteY2757" fmla="*/ 296844 h 1052131"/>
                  <a:gd name="connsiteX2758" fmla="*/ 175391 w 1085953"/>
                  <a:gd name="connsiteY2758" fmla="*/ 296273 h 1052131"/>
                  <a:gd name="connsiteX2759" fmla="*/ 181868 w 1085953"/>
                  <a:gd name="connsiteY2759" fmla="*/ 298273 h 1052131"/>
                  <a:gd name="connsiteX2760" fmla="*/ 182440 w 1085953"/>
                  <a:gd name="connsiteY2760" fmla="*/ 301035 h 1052131"/>
                  <a:gd name="connsiteX2761" fmla="*/ 179392 w 1085953"/>
                  <a:gd name="connsiteY2761" fmla="*/ 302369 h 1052131"/>
                  <a:gd name="connsiteX2762" fmla="*/ 181106 w 1085953"/>
                  <a:gd name="connsiteY2762" fmla="*/ 303226 h 1052131"/>
                  <a:gd name="connsiteX2763" fmla="*/ 188441 w 1085953"/>
                  <a:gd name="connsiteY2763" fmla="*/ 302178 h 1052131"/>
                  <a:gd name="connsiteX2764" fmla="*/ 190441 w 1085953"/>
                  <a:gd name="connsiteY2764" fmla="*/ 301321 h 1052131"/>
                  <a:gd name="connsiteX2765" fmla="*/ 185679 w 1085953"/>
                  <a:gd name="connsiteY2765" fmla="*/ 305131 h 1052131"/>
                  <a:gd name="connsiteX2766" fmla="*/ 189679 w 1085953"/>
                  <a:gd name="connsiteY2766" fmla="*/ 306750 h 1052131"/>
                  <a:gd name="connsiteX2767" fmla="*/ 193584 w 1085953"/>
                  <a:gd name="connsiteY2767" fmla="*/ 302369 h 1052131"/>
                  <a:gd name="connsiteX2768" fmla="*/ 193584 w 1085953"/>
                  <a:gd name="connsiteY2768" fmla="*/ 299797 h 1052131"/>
                  <a:gd name="connsiteX2769" fmla="*/ 192537 w 1085953"/>
                  <a:gd name="connsiteY2769" fmla="*/ 297416 h 1052131"/>
                  <a:gd name="connsiteX2770" fmla="*/ 193870 w 1085953"/>
                  <a:gd name="connsiteY2770" fmla="*/ 294654 h 1052131"/>
                  <a:gd name="connsiteX2771" fmla="*/ 192632 w 1085953"/>
                  <a:gd name="connsiteY2771" fmla="*/ 293701 h 1052131"/>
                  <a:gd name="connsiteX2772" fmla="*/ 195108 w 1085953"/>
                  <a:gd name="connsiteY2772" fmla="*/ 291129 h 1052131"/>
                  <a:gd name="connsiteX2773" fmla="*/ 195108 w 1085953"/>
                  <a:gd name="connsiteY2773" fmla="*/ 291129 h 1052131"/>
                  <a:gd name="connsiteX2774" fmla="*/ 193108 w 1085953"/>
                  <a:gd name="connsiteY2774" fmla="*/ 290082 h 1052131"/>
                  <a:gd name="connsiteX2775" fmla="*/ 195870 w 1085953"/>
                  <a:gd name="connsiteY2775" fmla="*/ 286653 h 1052131"/>
                  <a:gd name="connsiteX2776" fmla="*/ 191584 w 1085953"/>
                  <a:gd name="connsiteY2776" fmla="*/ 286653 h 1052131"/>
                  <a:gd name="connsiteX2777" fmla="*/ 189774 w 1085953"/>
                  <a:gd name="connsiteY2777" fmla="*/ 286653 h 1052131"/>
                  <a:gd name="connsiteX2778" fmla="*/ 189774 w 1085953"/>
                  <a:gd name="connsiteY2778" fmla="*/ 285605 h 1052131"/>
                  <a:gd name="connsiteX2779" fmla="*/ 189774 w 1085953"/>
                  <a:gd name="connsiteY2779" fmla="*/ 280842 h 1052131"/>
                  <a:gd name="connsiteX2780" fmla="*/ 187012 w 1085953"/>
                  <a:gd name="connsiteY2780" fmla="*/ 281890 h 1052131"/>
                  <a:gd name="connsiteX2781" fmla="*/ 196537 w 1085953"/>
                  <a:gd name="connsiteY2781" fmla="*/ 268936 h 1052131"/>
                  <a:gd name="connsiteX2782" fmla="*/ 199204 w 1085953"/>
                  <a:gd name="connsiteY2782" fmla="*/ 264840 h 1052131"/>
                  <a:gd name="connsiteX2783" fmla="*/ 1084648 w 1085953"/>
                  <a:gd name="connsiteY2783" fmla="*/ 503918 h 1052131"/>
                  <a:gd name="connsiteX2784" fmla="*/ 1084648 w 1085953"/>
                  <a:gd name="connsiteY2784" fmla="*/ 502013 h 1052131"/>
                  <a:gd name="connsiteX2785" fmla="*/ 1083029 w 1085953"/>
                  <a:gd name="connsiteY2785" fmla="*/ 526111 h 1052131"/>
                  <a:gd name="connsiteX2786" fmla="*/ 1082172 w 1085953"/>
                  <a:gd name="connsiteY2786" fmla="*/ 514871 h 1052131"/>
                  <a:gd name="connsiteX2787" fmla="*/ 1080362 w 1085953"/>
                  <a:gd name="connsiteY2787" fmla="*/ 515443 h 1052131"/>
                  <a:gd name="connsiteX2788" fmla="*/ 1078457 w 1085953"/>
                  <a:gd name="connsiteY2788" fmla="*/ 600025 h 1052131"/>
                  <a:gd name="connsiteX2789" fmla="*/ 1078457 w 1085953"/>
                  <a:gd name="connsiteY2789" fmla="*/ 600787 h 1052131"/>
                  <a:gd name="connsiteX2790" fmla="*/ 1078457 w 1085953"/>
                  <a:gd name="connsiteY2790" fmla="*/ 601835 h 1052131"/>
                  <a:gd name="connsiteX2791" fmla="*/ 1078457 w 1085953"/>
                  <a:gd name="connsiteY2791" fmla="*/ 602978 h 1052131"/>
                  <a:gd name="connsiteX2792" fmla="*/ 1078457 w 1085953"/>
                  <a:gd name="connsiteY2792" fmla="*/ 604311 h 1052131"/>
                  <a:gd name="connsiteX2793" fmla="*/ 1078457 w 1085953"/>
                  <a:gd name="connsiteY2793" fmla="*/ 605835 h 1052131"/>
                  <a:gd name="connsiteX2794" fmla="*/ 1078457 w 1085953"/>
                  <a:gd name="connsiteY2794" fmla="*/ 607455 h 1052131"/>
                  <a:gd name="connsiteX2795" fmla="*/ 1078457 w 1085953"/>
                  <a:gd name="connsiteY2795" fmla="*/ 609074 h 1052131"/>
                  <a:gd name="connsiteX2796" fmla="*/ 1077981 w 1085953"/>
                  <a:gd name="connsiteY2796" fmla="*/ 612408 h 1052131"/>
                  <a:gd name="connsiteX2797" fmla="*/ 1075885 w 1085953"/>
                  <a:gd name="connsiteY2797" fmla="*/ 621933 h 1052131"/>
                  <a:gd name="connsiteX2798" fmla="*/ 1075885 w 1085953"/>
                  <a:gd name="connsiteY2798" fmla="*/ 621933 h 1052131"/>
                  <a:gd name="connsiteX2799" fmla="*/ 1073885 w 1085953"/>
                  <a:gd name="connsiteY2799" fmla="*/ 626219 h 1052131"/>
                  <a:gd name="connsiteX2800" fmla="*/ 1072456 w 1085953"/>
                  <a:gd name="connsiteY2800" fmla="*/ 631172 h 1052131"/>
                  <a:gd name="connsiteX2801" fmla="*/ 1072456 w 1085953"/>
                  <a:gd name="connsiteY2801" fmla="*/ 631172 h 1052131"/>
                  <a:gd name="connsiteX2802" fmla="*/ 1072456 w 1085953"/>
                  <a:gd name="connsiteY2802" fmla="*/ 631172 h 1052131"/>
                  <a:gd name="connsiteX2803" fmla="*/ 1071694 w 1085953"/>
                  <a:gd name="connsiteY2803" fmla="*/ 633172 h 1052131"/>
                  <a:gd name="connsiteX2804" fmla="*/ 1070837 w 1085953"/>
                  <a:gd name="connsiteY2804" fmla="*/ 636220 h 1052131"/>
                  <a:gd name="connsiteX2805" fmla="*/ 1070265 w 1085953"/>
                  <a:gd name="connsiteY2805" fmla="*/ 636220 h 1052131"/>
                  <a:gd name="connsiteX2806" fmla="*/ 1068646 w 1085953"/>
                  <a:gd name="connsiteY2806" fmla="*/ 640221 h 1052131"/>
                  <a:gd name="connsiteX2807" fmla="*/ 1070075 w 1085953"/>
                  <a:gd name="connsiteY2807" fmla="*/ 629743 h 1052131"/>
                  <a:gd name="connsiteX2808" fmla="*/ 1070932 w 1085953"/>
                  <a:gd name="connsiteY2808" fmla="*/ 623647 h 1052131"/>
                  <a:gd name="connsiteX2809" fmla="*/ 1070360 w 1085953"/>
                  <a:gd name="connsiteY2809" fmla="*/ 622123 h 1052131"/>
                  <a:gd name="connsiteX2810" fmla="*/ 1070360 w 1085953"/>
                  <a:gd name="connsiteY2810" fmla="*/ 622123 h 1052131"/>
                  <a:gd name="connsiteX2811" fmla="*/ 1070360 w 1085953"/>
                  <a:gd name="connsiteY2811" fmla="*/ 622123 h 1052131"/>
                  <a:gd name="connsiteX2812" fmla="*/ 1068360 w 1085953"/>
                  <a:gd name="connsiteY2812" fmla="*/ 603073 h 1052131"/>
                  <a:gd name="connsiteX2813" fmla="*/ 1068360 w 1085953"/>
                  <a:gd name="connsiteY2813" fmla="*/ 593548 h 1052131"/>
                  <a:gd name="connsiteX2814" fmla="*/ 1063503 w 1085953"/>
                  <a:gd name="connsiteY2814" fmla="*/ 622123 h 1052131"/>
                  <a:gd name="connsiteX2815" fmla="*/ 1061312 w 1085953"/>
                  <a:gd name="connsiteY2815" fmla="*/ 634315 h 1052131"/>
                  <a:gd name="connsiteX2816" fmla="*/ 1059978 w 1085953"/>
                  <a:gd name="connsiteY2816" fmla="*/ 646602 h 1052131"/>
                  <a:gd name="connsiteX2817" fmla="*/ 1059978 w 1085953"/>
                  <a:gd name="connsiteY2817" fmla="*/ 646602 h 1052131"/>
                  <a:gd name="connsiteX2818" fmla="*/ 1059978 w 1085953"/>
                  <a:gd name="connsiteY2818" fmla="*/ 654984 h 1052131"/>
                  <a:gd name="connsiteX2819" fmla="*/ 1049882 w 1085953"/>
                  <a:gd name="connsiteY2819" fmla="*/ 708420 h 1052131"/>
                  <a:gd name="connsiteX2820" fmla="*/ 1046357 w 1085953"/>
                  <a:gd name="connsiteY2820" fmla="*/ 716706 h 1052131"/>
                  <a:gd name="connsiteX2821" fmla="*/ 1050263 w 1085953"/>
                  <a:gd name="connsiteY2821" fmla="*/ 693561 h 1052131"/>
                  <a:gd name="connsiteX2822" fmla="*/ 1056073 w 1085953"/>
                  <a:gd name="connsiteY2822" fmla="*/ 668700 h 1052131"/>
                  <a:gd name="connsiteX2823" fmla="*/ 1057311 w 1085953"/>
                  <a:gd name="connsiteY2823" fmla="*/ 660890 h 1052131"/>
                  <a:gd name="connsiteX2824" fmla="*/ 1058168 w 1085953"/>
                  <a:gd name="connsiteY2824" fmla="*/ 644602 h 1052131"/>
                  <a:gd name="connsiteX2825" fmla="*/ 1056549 w 1085953"/>
                  <a:gd name="connsiteY2825" fmla="*/ 648888 h 1052131"/>
                  <a:gd name="connsiteX2826" fmla="*/ 1061788 w 1085953"/>
                  <a:gd name="connsiteY2826" fmla="*/ 622504 h 1052131"/>
                  <a:gd name="connsiteX2827" fmla="*/ 1063217 w 1085953"/>
                  <a:gd name="connsiteY2827" fmla="*/ 564021 h 1052131"/>
                  <a:gd name="connsiteX2828" fmla="*/ 1058168 w 1085953"/>
                  <a:gd name="connsiteY2828" fmla="*/ 575736 h 1052131"/>
                  <a:gd name="connsiteX2829" fmla="*/ 1057406 w 1085953"/>
                  <a:gd name="connsiteY2829" fmla="*/ 574022 h 1052131"/>
                  <a:gd name="connsiteX2830" fmla="*/ 1057406 w 1085953"/>
                  <a:gd name="connsiteY2830" fmla="*/ 572212 h 1052131"/>
                  <a:gd name="connsiteX2831" fmla="*/ 1048358 w 1085953"/>
                  <a:gd name="connsiteY2831" fmla="*/ 516967 h 1052131"/>
                  <a:gd name="connsiteX2832" fmla="*/ 1044357 w 1085953"/>
                  <a:gd name="connsiteY2832" fmla="*/ 522968 h 1052131"/>
                  <a:gd name="connsiteX2833" fmla="*/ 1043500 w 1085953"/>
                  <a:gd name="connsiteY2833" fmla="*/ 518491 h 1052131"/>
                  <a:gd name="connsiteX2834" fmla="*/ 1042929 w 1085953"/>
                  <a:gd name="connsiteY2834" fmla="*/ 522968 h 1052131"/>
                  <a:gd name="connsiteX2835" fmla="*/ 1042262 w 1085953"/>
                  <a:gd name="connsiteY2835" fmla="*/ 521158 h 1052131"/>
                  <a:gd name="connsiteX2836" fmla="*/ 1041405 w 1085953"/>
                  <a:gd name="connsiteY2836" fmla="*/ 522968 h 1052131"/>
                  <a:gd name="connsiteX2837" fmla="*/ 1040357 w 1085953"/>
                  <a:gd name="connsiteY2837" fmla="*/ 518872 h 1052131"/>
                  <a:gd name="connsiteX2838" fmla="*/ 1008257 w 1085953"/>
                  <a:gd name="connsiteY2838" fmla="*/ 621075 h 1052131"/>
                  <a:gd name="connsiteX2839" fmla="*/ 1008257 w 1085953"/>
                  <a:gd name="connsiteY2839" fmla="*/ 621075 h 1052131"/>
                  <a:gd name="connsiteX2840" fmla="*/ 1008257 w 1085953"/>
                  <a:gd name="connsiteY2840" fmla="*/ 624409 h 1052131"/>
                  <a:gd name="connsiteX2841" fmla="*/ 1008257 w 1085953"/>
                  <a:gd name="connsiteY2841" fmla="*/ 624409 h 1052131"/>
                  <a:gd name="connsiteX2842" fmla="*/ 1007781 w 1085953"/>
                  <a:gd name="connsiteY2842" fmla="*/ 630219 h 1052131"/>
                  <a:gd name="connsiteX2843" fmla="*/ 1007019 w 1085953"/>
                  <a:gd name="connsiteY2843" fmla="*/ 632315 h 1052131"/>
                  <a:gd name="connsiteX2844" fmla="*/ 1004638 w 1085953"/>
                  <a:gd name="connsiteY2844" fmla="*/ 635839 h 1052131"/>
                  <a:gd name="connsiteX2845" fmla="*/ 1002733 w 1085953"/>
                  <a:gd name="connsiteY2845" fmla="*/ 640602 h 1052131"/>
                  <a:gd name="connsiteX2846" fmla="*/ 1002733 w 1085953"/>
                  <a:gd name="connsiteY2846" fmla="*/ 641268 h 1052131"/>
                  <a:gd name="connsiteX2847" fmla="*/ 999875 w 1085953"/>
                  <a:gd name="connsiteY2847" fmla="*/ 644221 h 1052131"/>
                  <a:gd name="connsiteX2848" fmla="*/ 997780 w 1085953"/>
                  <a:gd name="connsiteY2848" fmla="*/ 649174 h 1052131"/>
                  <a:gd name="connsiteX2849" fmla="*/ 996542 w 1085953"/>
                  <a:gd name="connsiteY2849" fmla="*/ 650698 h 1052131"/>
                  <a:gd name="connsiteX2850" fmla="*/ 993113 w 1085953"/>
                  <a:gd name="connsiteY2850" fmla="*/ 650698 h 1052131"/>
                  <a:gd name="connsiteX2851" fmla="*/ 992351 w 1085953"/>
                  <a:gd name="connsiteY2851" fmla="*/ 641173 h 1052131"/>
                  <a:gd name="connsiteX2852" fmla="*/ 993017 w 1085953"/>
                  <a:gd name="connsiteY2852" fmla="*/ 630410 h 1052131"/>
                  <a:gd name="connsiteX2853" fmla="*/ 991970 w 1085953"/>
                  <a:gd name="connsiteY2853" fmla="*/ 624314 h 1052131"/>
                  <a:gd name="connsiteX2854" fmla="*/ 991970 w 1085953"/>
                  <a:gd name="connsiteY2854" fmla="*/ 619647 h 1052131"/>
                  <a:gd name="connsiteX2855" fmla="*/ 991970 w 1085953"/>
                  <a:gd name="connsiteY2855" fmla="*/ 619647 h 1052131"/>
                  <a:gd name="connsiteX2856" fmla="*/ 978349 w 1085953"/>
                  <a:gd name="connsiteY2856" fmla="*/ 526206 h 1052131"/>
                  <a:gd name="connsiteX2857" fmla="*/ 976730 w 1085953"/>
                  <a:gd name="connsiteY2857" fmla="*/ 538303 h 1052131"/>
                  <a:gd name="connsiteX2858" fmla="*/ 960918 w 1085953"/>
                  <a:gd name="connsiteY2858" fmla="*/ 523730 h 1052131"/>
                  <a:gd name="connsiteX2859" fmla="*/ 964062 w 1085953"/>
                  <a:gd name="connsiteY2859" fmla="*/ 520015 h 1052131"/>
                  <a:gd name="connsiteX2860" fmla="*/ 946059 w 1085953"/>
                  <a:gd name="connsiteY2860" fmla="*/ 499250 h 1052131"/>
                  <a:gd name="connsiteX2861" fmla="*/ 915960 w 1085953"/>
                  <a:gd name="connsiteY2861" fmla="*/ 501155 h 1052131"/>
                  <a:gd name="connsiteX2862" fmla="*/ 896910 w 1085953"/>
                  <a:gd name="connsiteY2862" fmla="*/ 496774 h 1052131"/>
                  <a:gd name="connsiteX2863" fmla="*/ 890147 w 1085953"/>
                  <a:gd name="connsiteY2863" fmla="*/ 485916 h 1052131"/>
                  <a:gd name="connsiteX2864" fmla="*/ 882718 w 1085953"/>
                  <a:gd name="connsiteY2864" fmla="*/ 489345 h 1052131"/>
                  <a:gd name="connsiteX2865" fmla="*/ 859191 w 1085953"/>
                  <a:gd name="connsiteY2865" fmla="*/ 483058 h 1052131"/>
                  <a:gd name="connsiteX2866" fmla="*/ 842522 w 1085953"/>
                  <a:gd name="connsiteY2866" fmla="*/ 460770 h 1052131"/>
                  <a:gd name="connsiteX2867" fmla="*/ 834522 w 1085953"/>
                  <a:gd name="connsiteY2867" fmla="*/ 467723 h 1052131"/>
                  <a:gd name="connsiteX2868" fmla="*/ 859191 w 1085953"/>
                  <a:gd name="connsiteY2868" fmla="*/ 507728 h 1052131"/>
                  <a:gd name="connsiteX2869" fmla="*/ 860334 w 1085953"/>
                  <a:gd name="connsiteY2869" fmla="*/ 496107 h 1052131"/>
                  <a:gd name="connsiteX2870" fmla="*/ 862525 w 1085953"/>
                  <a:gd name="connsiteY2870" fmla="*/ 514109 h 1052131"/>
                  <a:gd name="connsiteX2871" fmla="*/ 889385 w 1085953"/>
                  <a:gd name="connsiteY2871" fmla="*/ 492964 h 1052131"/>
                  <a:gd name="connsiteX2872" fmla="*/ 901482 w 1085953"/>
                  <a:gd name="connsiteY2872" fmla="*/ 514014 h 1052131"/>
                  <a:gd name="connsiteX2873" fmla="*/ 911674 w 1085953"/>
                  <a:gd name="connsiteY2873" fmla="*/ 538017 h 1052131"/>
                  <a:gd name="connsiteX2874" fmla="*/ 872907 w 1085953"/>
                  <a:gd name="connsiteY2874" fmla="*/ 592977 h 1052131"/>
                  <a:gd name="connsiteX2875" fmla="*/ 817948 w 1085953"/>
                  <a:gd name="connsiteY2875" fmla="*/ 618408 h 1052131"/>
                  <a:gd name="connsiteX2876" fmla="*/ 811947 w 1085953"/>
                  <a:gd name="connsiteY2876" fmla="*/ 608883 h 1052131"/>
                  <a:gd name="connsiteX2877" fmla="*/ 808709 w 1085953"/>
                  <a:gd name="connsiteY2877" fmla="*/ 583071 h 1052131"/>
                  <a:gd name="connsiteX2878" fmla="*/ 784991 w 1085953"/>
                  <a:gd name="connsiteY2878" fmla="*/ 548495 h 1052131"/>
                  <a:gd name="connsiteX2879" fmla="*/ 783753 w 1085953"/>
                  <a:gd name="connsiteY2879" fmla="*/ 541446 h 1052131"/>
                  <a:gd name="connsiteX2880" fmla="*/ 781467 w 1085953"/>
                  <a:gd name="connsiteY2880" fmla="*/ 530778 h 1052131"/>
                  <a:gd name="connsiteX2881" fmla="*/ 781467 w 1085953"/>
                  <a:gd name="connsiteY2881" fmla="*/ 530112 h 1052131"/>
                  <a:gd name="connsiteX2882" fmla="*/ 745558 w 1085953"/>
                  <a:gd name="connsiteY2882" fmla="*/ 474295 h 1052131"/>
                  <a:gd name="connsiteX2883" fmla="*/ 743081 w 1085953"/>
                  <a:gd name="connsiteY2883" fmla="*/ 495059 h 1052131"/>
                  <a:gd name="connsiteX2884" fmla="*/ 728032 w 1085953"/>
                  <a:gd name="connsiteY2884" fmla="*/ 469247 h 1052131"/>
                  <a:gd name="connsiteX2885" fmla="*/ 726413 w 1085953"/>
                  <a:gd name="connsiteY2885" fmla="*/ 470771 h 1052131"/>
                  <a:gd name="connsiteX2886" fmla="*/ 754988 w 1085953"/>
                  <a:gd name="connsiteY2886" fmla="*/ 517443 h 1052131"/>
                  <a:gd name="connsiteX2887" fmla="*/ 771942 w 1085953"/>
                  <a:gd name="connsiteY2887" fmla="*/ 566878 h 1052131"/>
                  <a:gd name="connsiteX2888" fmla="*/ 780515 w 1085953"/>
                  <a:gd name="connsiteY2888" fmla="*/ 576403 h 1052131"/>
                  <a:gd name="connsiteX2889" fmla="*/ 783753 w 1085953"/>
                  <a:gd name="connsiteY2889" fmla="*/ 587738 h 1052131"/>
                  <a:gd name="connsiteX2890" fmla="*/ 786420 w 1085953"/>
                  <a:gd name="connsiteY2890" fmla="*/ 595644 h 1052131"/>
                  <a:gd name="connsiteX2891" fmla="*/ 789564 w 1085953"/>
                  <a:gd name="connsiteY2891" fmla="*/ 596787 h 1052131"/>
                  <a:gd name="connsiteX2892" fmla="*/ 792230 w 1085953"/>
                  <a:gd name="connsiteY2892" fmla="*/ 598882 h 1052131"/>
                  <a:gd name="connsiteX2893" fmla="*/ 792992 w 1085953"/>
                  <a:gd name="connsiteY2893" fmla="*/ 602502 h 1052131"/>
                  <a:gd name="connsiteX2894" fmla="*/ 798326 w 1085953"/>
                  <a:gd name="connsiteY2894" fmla="*/ 604026 h 1052131"/>
                  <a:gd name="connsiteX2895" fmla="*/ 801279 w 1085953"/>
                  <a:gd name="connsiteY2895" fmla="*/ 609169 h 1052131"/>
                  <a:gd name="connsiteX2896" fmla="*/ 802708 w 1085953"/>
                  <a:gd name="connsiteY2896" fmla="*/ 612408 h 1052131"/>
                  <a:gd name="connsiteX2897" fmla="*/ 804422 w 1085953"/>
                  <a:gd name="connsiteY2897" fmla="*/ 613551 h 1052131"/>
                  <a:gd name="connsiteX2898" fmla="*/ 811757 w 1085953"/>
                  <a:gd name="connsiteY2898" fmla="*/ 620504 h 1052131"/>
                  <a:gd name="connsiteX2899" fmla="*/ 810328 w 1085953"/>
                  <a:gd name="connsiteY2899" fmla="*/ 623171 h 1052131"/>
                  <a:gd name="connsiteX2900" fmla="*/ 810328 w 1085953"/>
                  <a:gd name="connsiteY2900" fmla="*/ 623171 h 1052131"/>
                  <a:gd name="connsiteX2901" fmla="*/ 809090 w 1085953"/>
                  <a:gd name="connsiteY2901" fmla="*/ 625362 h 1052131"/>
                  <a:gd name="connsiteX2902" fmla="*/ 820043 w 1085953"/>
                  <a:gd name="connsiteY2902" fmla="*/ 637839 h 1052131"/>
                  <a:gd name="connsiteX2903" fmla="*/ 860906 w 1085953"/>
                  <a:gd name="connsiteY2903" fmla="*/ 622790 h 1052131"/>
                  <a:gd name="connsiteX2904" fmla="*/ 861763 w 1085953"/>
                  <a:gd name="connsiteY2904" fmla="*/ 622790 h 1052131"/>
                  <a:gd name="connsiteX2905" fmla="*/ 862811 w 1085953"/>
                  <a:gd name="connsiteY2905" fmla="*/ 626124 h 1052131"/>
                  <a:gd name="connsiteX2906" fmla="*/ 840903 w 1085953"/>
                  <a:gd name="connsiteY2906" fmla="*/ 677463 h 1052131"/>
                  <a:gd name="connsiteX2907" fmla="*/ 836617 w 1085953"/>
                  <a:gd name="connsiteY2907" fmla="*/ 682893 h 1052131"/>
                  <a:gd name="connsiteX2908" fmla="*/ 815472 w 1085953"/>
                  <a:gd name="connsiteY2908" fmla="*/ 706705 h 1052131"/>
                  <a:gd name="connsiteX2909" fmla="*/ 794421 w 1085953"/>
                  <a:gd name="connsiteY2909" fmla="*/ 725184 h 1052131"/>
                  <a:gd name="connsiteX2910" fmla="*/ 784896 w 1085953"/>
                  <a:gd name="connsiteY2910" fmla="*/ 733470 h 1052131"/>
                  <a:gd name="connsiteX2911" fmla="*/ 766513 w 1085953"/>
                  <a:gd name="connsiteY2911" fmla="*/ 758426 h 1052131"/>
                  <a:gd name="connsiteX2912" fmla="*/ 765560 w 1085953"/>
                  <a:gd name="connsiteY2912" fmla="*/ 771189 h 1052131"/>
                  <a:gd name="connsiteX2913" fmla="*/ 761941 w 1085953"/>
                  <a:gd name="connsiteY2913" fmla="*/ 788525 h 1052131"/>
                  <a:gd name="connsiteX2914" fmla="*/ 763751 w 1085953"/>
                  <a:gd name="connsiteY2914" fmla="*/ 803193 h 1052131"/>
                  <a:gd name="connsiteX2915" fmla="*/ 756607 w 1085953"/>
                  <a:gd name="connsiteY2915" fmla="*/ 823863 h 1052131"/>
                  <a:gd name="connsiteX2916" fmla="*/ 756607 w 1085953"/>
                  <a:gd name="connsiteY2916" fmla="*/ 829482 h 1052131"/>
                  <a:gd name="connsiteX2917" fmla="*/ 739081 w 1085953"/>
                  <a:gd name="connsiteY2917" fmla="*/ 840531 h 1052131"/>
                  <a:gd name="connsiteX2918" fmla="*/ 739081 w 1085953"/>
                  <a:gd name="connsiteY2918" fmla="*/ 840531 h 1052131"/>
                  <a:gd name="connsiteX2919" fmla="*/ 685074 w 1085953"/>
                  <a:gd name="connsiteY2919" fmla="*/ 897681 h 1052131"/>
                  <a:gd name="connsiteX2920" fmla="*/ 596968 w 1085953"/>
                  <a:gd name="connsiteY2920" fmla="*/ 948259 h 1052131"/>
                  <a:gd name="connsiteX2921" fmla="*/ 592491 w 1085953"/>
                  <a:gd name="connsiteY2921" fmla="*/ 913398 h 1052131"/>
                  <a:gd name="connsiteX2922" fmla="*/ 583728 w 1085953"/>
                  <a:gd name="connsiteY2922" fmla="*/ 882632 h 1052131"/>
                  <a:gd name="connsiteX2923" fmla="*/ 571155 w 1085953"/>
                  <a:gd name="connsiteY2923" fmla="*/ 850342 h 1052131"/>
                  <a:gd name="connsiteX2924" fmla="*/ 574394 w 1085953"/>
                  <a:gd name="connsiteY2924" fmla="*/ 824053 h 1052131"/>
                  <a:gd name="connsiteX2925" fmla="*/ 586395 w 1085953"/>
                  <a:gd name="connsiteY2925" fmla="*/ 795478 h 1052131"/>
                  <a:gd name="connsiteX2926" fmla="*/ 579918 w 1085953"/>
                  <a:gd name="connsiteY2926" fmla="*/ 765284 h 1052131"/>
                  <a:gd name="connsiteX2927" fmla="*/ 555915 w 1085953"/>
                  <a:gd name="connsiteY2927" fmla="*/ 739090 h 1052131"/>
                  <a:gd name="connsiteX2928" fmla="*/ 550772 w 1085953"/>
                  <a:gd name="connsiteY2928" fmla="*/ 685559 h 1052131"/>
                  <a:gd name="connsiteX2929" fmla="*/ 535817 w 1085953"/>
                  <a:gd name="connsiteY2929" fmla="*/ 688036 h 1052131"/>
                  <a:gd name="connsiteX2930" fmla="*/ 505623 w 1085953"/>
                  <a:gd name="connsiteY2930" fmla="*/ 673653 h 1052131"/>
                  <a:gd name="connsiteX2931" fmla="*/ 466571 w 1085953"/>
                  <a:gd name="connsiteY2931" fmla="*/ 683178 h 1052131"/>
                  <a:gd name="connsiteX2932" fmla="*/ 462951 w 1085953"/>
                  <a:gd name="connsiteY2932" fmla="*/ 682607 h 1052131"/>
                  <a:gd name="connsiteX2933" fmla="*/ 421232 w 1085953"/>
                  <a:gd name="connsiteY2933" fmla="*/ 687941 h 1052131"/>
                  <a:gd name="connsiteX2934" fmla="*/ 396276 w 1085953"/>
                  <a:gd name="connsiteY2934" fmla="*/ 665557 h 1052131"/>
                  <a:gd name="connsiteX2935" fmla="*/ 392466 w 1085953"/>
                  <a:gd name="connsiteY2935" fmla="*/ 665557 h 1052131"/>
                  <a:gd name="connsiteX2936" fmla="*/ 390275 w 1085953"/>
                  <a:gd name="connsiteY2936" fmla="*/ 665557 h 1052131"/>
                  <a:gd name="connsiteX2937" fmla="*/ 358081 w 1085953"/>
                  <a:gd name="connsiteY2937" fmla="*/ 623361 h 1052131"/>
                  <a:gd name="connsiteX2938" fmla="*/ 358081 w 1085953"/>
                  <a:gd name="connsiteY2938" fmla="*/ 623361 h 1052131"/>
                  <a:gd name="connsiteX2939" fmla="*/ 357605 w 1085953"/>
                  <a:gd name="connsiteY2939" fmla="*/ 622409 h 1052131"/>
                  <a:gd name="connsiteX2940" fmla="*/ 355033 w 1085953"/>
                  <a:gd name="connsiteY2940" fmla="*/ 604311 h 1052131"/>
                  <a:gd name="connsiteX2941" fmla="*/ 359129 w 1085953"/>
                  <a:gd name="connsiteY2941" fmla="*/ 572022 h 1052131"/>
                  <a:gd name="connsiteX2942" fmla="*/ 356081 w 1085953"/>
                  <a:gd name="connsiteY2942" fmla="*/ 542304 h 1052131"/>
                  <a:gd name="connsiteX2943" fmla="*/ 360367 w 1085953"/>
                  <a:gd name="connsiteY2943" fmla="*/ 534684 h 1052131"/>
                  <a:gd name="connsiteX2944" fmla="*/ 401705 w 1085953"/>
                  <a:gd name="connsiteY2944" fmla="*/ 478010 h 1052131"/>
                  <a:gd name="connsiteX2945" fmla="*/ 410183 w 1085953"/>
                  <a:gd name="connsiteY2945" fmla="*/ 448482 h 1052131"/>
                  <a:gd name="connsiteX2946" fmla="*/ 433995 w 1085953"/>
                  <a:gd name="connsiteY2946" fmla="*/ 424860 h 1052131"/>
                  <a:gd name="connsiteX2947" fmla="*/ 435710 w 1085953"/>
                  <a:gd name="connsiteY2947" fmla="*/ 420098 h 1052131"/>
                  <a:gd name="connsiteX2948" fmla="*/ 467714 w 1085953"/>
                  <a:gd name="connsiteY2948" fmla="*/ 423813 h 1052131"/>
                  <a:gd name="connsiteX2949" fmla="*/ 539056 w 1085953"/>
                  <a:gd name="connsiteY2949" fmla="*/ 410763 h 1052131"/>
                  <a:gd name="connsiteX2950" fmla="*/ 555058 w 1085953"/>
                  <a:gd name="connsiteY2950" fmla="*/ 407620 h 1052131"/>
                  <a:gd name="connsiteX2951" fmla="*/ 563726 w 1085953"/>
                  <a:gd name="connsiteY2951" fmla="*/ 425622 h 1052131"/>
                  <a:gd name="connsiteX2952" fmla="*/ 560201 w 1085953"/>
                  <a:gd name="connsiteY2952" fmla="*/ 437624 h 1052131"/>
                  <a:gd name="connsiteX2953" fmla="*/ 596682 w 1085953"/>
                  <a:gd name="connsiteY2953" fmla="*/ 451435 h 1052131"/>
                  <a:gd name="connsiteX2954" fmla="*/ 626019 w 1085953"/>
                  <a:gd name="connsiteY2954" fmla="*/ 467151 h 1052131"/>
                  <a:gd name="connsiteX2955" fmla="*/ 632782 w 1085953"/>
                  <a:gd name="connsiteY2955" fmla="*/ 453150 h 1052131"/>
                  <a:gd name="connsiteX2956" fmla="*/ 636306 w 1085953"/>
                  <a:gd name="connsiteY2956" fmla="*/ 445434 h 1052131"/>
                  <a:gd name="connsiteX2957" fmla="*/ 702505 w 1085953"/>
                  <a:gd name="connsiteY2957" fmla="*/ 457055 h 1052131"/>
                  <a:gd name="connsiteX2958" fmla="*/ 735652 w 1085953"/>
                  <a:gd name="connsiteY2958" fmla="*/ 452578 h 1052131"/>
                  <a:gd name="connsiteX2959" fmla="*/ 742510 w 1085953"/>
                  <a:gd name="connsiteY2959" fmla="*/ 402572 h 1052131"/>
                  <a:gd name="connsiteX2960" fmla="*/ 704886 w 1085953"/>
                  <a:gd name="connsiteY2960" fmla="*/ 405715 h 1052131"/>
                  <a:gd name="connsiteX2961" fmla="*/ 702981 w 1085953"/>
                  <a:gd name="connsiteY2961" fmla="*/ 409811 h 1052131"/>
                  <a:gd name="connsiteX2962" fmla="*/ 679550 w 1085953"/>
                  <a:gd name="connsiteY2962" fmla="*/ 406572 h 1052131"/>
                  <a:gd name="connsiteX2963" fmla="*/ 684407 w 1085953"/>
                  <a:gd name="connsiteY2963" fmla="*/ 405429 h 1052131"/>
                  <a:gd name="connsiteX2964" fmla="*/ 676788 w 1085953"/>
                  <a:gd name="connsiteY2964" fmla="*/ 396571 h 1052131"/>
                  <a:gd name="connsiteX2965" fmla="*/ 672215 w 1085953"/>
                  <a:gd name="connsiteY2965" fmla="*/ 395714 h 1052131"/>
                  <a:gd name="connsiteX2966" fmla="*/ 671454 w 1085953"/>
                  <a:gd name="connsiteY2966" fmla="*/ 393428 h 1052131"/>
                  <a:gd name="connsiteX2967" fmla="*/ 673263 w 1085953"/>
                  <a:gd name="connsiteY2967" fmla="*/ 388856 h 1052131"/>
                  <a:gd name="connsiteX2968" fmla="*/ 670882 w 1085953"/>
                  <a:gd name="connsiteY2968" fmla="*/ 388284 h 1052131"/>
                  <a:gd name="connsiteX2969" fmla="*/ 666881 w 1085953"/>
                  <a:gd name="connsiteY2969" fmla="*/ 383522 h 1052131"/>
                  <a:gd name="connsiteX2970" fmla="*/ 688503 w 1085953"/>
                  <a:gd name="connsiteY2970" fmla="*/ 371139 h 1052131"/>
                  <a:gd name="connsiteX2971" fmla="*/ 686693 w 1085953"/>
                  <a:gd name="connsiteY2971" fmla="*/ 369711 h 1052131"/>
                  <a:gd name="connsiteX2972" fmla="*/ 687741 w 1085953"/>
                  <a:gd name="connsiteY2972" fmla="*/ 367615 h 1052131"/>
                  <a:gd name="connsiteX2973" fmla="*/ 708030 w 1085953"/>
                  <a:gd name="connsiteY2973" fmla="*/ 363329 h 1052131"/>
                  <a:gd name="connsiteX2974" fmla="*/ 727080 w 1085953"/>
                  <a:gd name="connsiteY2974" fmla="*/ 358947 h 1052131"/>
                  <a:gd name="connsiteX2975" fmla="*/ 755655 w 1085953"/>
                  <a:gd name="connsiteY2975" fmla="*/ 364567 h 1052131"/>
                  <a:gd name="connsiteX2976" fmla="*/ 766418 w 1085953"/>
                  <a:gd name="connsiteY2976" fmla="*/ 357995 h 1052131"/>
                  <a:gd name="connsiteX2977" fmla="*/ 760417 w 1085953"/>
                  <a:gd name="connsiteY2977" fmla="*/ 346946 h 1052131"/>
                  <a:gd name="connsiteX2978" fmla="*/ 725270 w 1085953"/>
                  <a:gd name="connsiteY2978" fmla="*/ 325515 h 1052131"/>
                  <a:gd name="connsiteX2979" fmla="*/ 729842 w 1085953"/>
                  <a:gd name="connsiteY2979" fmla="*/ 316752 h 1052131"/>
                  <a:gd name="connsiteX2980" fmla="*/ 731556 w 1085953"/>
                  <a:gd name="connsiteY2980" fmla="*/ 315132 h 1052131"/>
                  <a:gd name="connsiteX2981" fmla="*/ 729270 w 1085953"/>
                  <a:gd name="connsiteY2981" fmla="*/ 311513 h 1052131"/>
                  <a:gd name="connsiteX2982" fmla="*/ 732795 w 1085953"/>
                  <a:gd name="connsiteY2982" fmla="*/ 308465 h 1052131"/>
                  <a:gd name="connsiteX2983" fmla="*/ 732223 w 1085953"/>
                  <a:gd name="connsiteY2983" fmla="*/ 306179 h 1052131"/>
                  <a:gd name="connsiteX2984" fmla="*/ 713173 w 1085953"/>
                  <a:gd name="connsiteY2984" fmla="*/ 317323 h 1052131"/>
                  <a:gd name="connsiteX2985" fmla="*/ 706696 w 1085953"/>
                  <a:gd name="connsiteY2985" fmla="*/ 318275 h 1052131"/>
                  <a:gd name="connsiteX2986" fmla="*/ 706696 w 1085953"/>
                  <a:gd name="connsiteY2986" fmla="*/ 320466 h 1052131"/>
                  <a:gd name="connsiteX2987" fmla="*/ 721841 w 1085953"/>
                  <a:gd name="connsiteY2987" fmla="*/ 324657 h 1052131"/>
                  <a:gd name="connsiteX2988" fmla="*/ 723460 w 1085953"/>
                  <a:gd name="connsiteY2988" fmla="*/ 328848 h 1052131"/>
                  <a:gd name="connsiteX2989" fmla="*/ 703172 w 1085953"/>
                  <a:gd name="connsiteY2989" fmla="*/ 335516 h 1052131"/>
                  <a:gd name="connsiteX2990" fmla="*/ 698219 w 1085953"/>
                  <a:gd name="connsiteY2990" fmla="*/ 328182 h 1052131"/>
                  <a:gd name="connsiteX2991" fmla="*/ 696980 w 1085953"/>
                  <a:gd name="connsiteY2991" fmla="*/ 326372 h 1052131"/>
                  <a:gd name="connsiteX2992" fmla="*/ 702696 w 1085953"/>
                  <a:gd name="connsiteY2992" fmla="*/ 321990 h 1052131"/>
                  <a:gd name="connsiteX2993" fmla="*/ 702696 w 1085953"/>
                  <a:gd name="connsiteY2993" fmla="*/ 319609 h 1052131"/>
                  <a:gd name="connsiteX2994" fmla="*/ 691837 w 1085953"/>
                  <a:gd name="connsiteY2994" fmla="*/ 317513 h 1052131"/>
                  <a:gd name="connsiteX2995" fmla="*/ 696980 w 1085953"/>
                  <a:gd name="connsiteY2995" fmla="*/ 313132 h 1052131"/>
                  <a:gd name="connsiteX2996" fmla="*/ 676692 w 1085953"/>
                  <a:gd name="connsiteY2996" fmla="*/ 340278 h 1052131"/>
                  <a:gd name="connsiteX2997" fmla="*/ 677359 w 1085953"/>
                  <a:gd name="connsiteY2997" fmla="*/ 363805 h 1052131"/>
                  <a:gd name="connsiteX2998" fmla="*/ 685360 w 1085953"/>
                  <a:gd name="connsiteY2998" fmla="*/ 368663 h 1052131"/>
                  <a:gd name="connsiteX2999" fmla="*/ 683646 w 1085953"/>
                  <a:gd name="connsiteY2999" fmla="*/ 369996 h 1052131"/>
                  <a:gd name="connsiteX3000" fmla="*/ 676978 w 1085953"/>
                  <a:gd name="connsiteY3000" fmla="*/ 369996 h 1052131"/>
                  <a:gd name="connsiteX3001" fmla="*/ 674406 w 1085953"/>
                  <a:gd name="connsiteY3001" fmla="*/ 373902 h 1052131"/>
                  <a:gd name="connsiteX3002" fmla="*/ 652784 w 1085953"/>
                  <a:gd name="connsiteY3002" fmla="*/ 373235 h 1052131"/>
                  <a:gd name="connsiteX3003" fmla="*/ 651451 w 1085953"/>
                  <a:gd name="connsiteY3003" fmla="*/ 377616 h 1052131"/>
                  <a:gd name="connsiteX3004" fmla="*/ 649451 w 1085953"/>
                  <a:gd name="connsiteY3004" fmla="*/ 378664 h 1052131"/>
                  <a:gd name="connsiteX3005" fmla="*/ 646212 w 1085953"/>
                  <a:gd name="connsiteY3005" fmla="*/ 375425 h 1052131"/>
                  <a:gd name="connsiteX3006" fmla="*/ 644022 w 1085953"/>
                  <a:gd name="connsiteY3006" fmla="*/ 375425 h 1052131"/>
                  <a:gd name="connsiteX3007" fmla="*/ 656023 w 1085953"/>
                  <a:gd name="connsiteY3007" fmla="*/ 392475 h 1052131"/>
                  <a:gd name="connsiteX3008" fmla="*/ 650022 w 1085953"/>
                  <a:gd name="connsiteY3008" fmla="*/ 409525 h 1052131"/>
                  <a:gd name="connsiteX3009" fmla="*/ 647831 w 1085953"/>
                  <a:gd name="connsiteY3009" fmla="*/ 409525 h 1052131"/>
                  <a:gd name="connsiteX3010" fmla="*/ 647831 w 1085953"/>
                  <a:gd name="connsiteY3010" fmla="*/ 411811 h 1052131"/>
                  <a:gd name="connsiteX3011" fmla="*/ 635258 w 1085953"/>
                  <a:gd name="connsiteY3011" fmla="*/ 398857 h 1052131"/>
                  <a:gd name="connsiteX3012" fmla="*/ 636116 w 1085953"/>
                  <a:gd name="connsiteY3012" fmla="*/ 396666 h 1052131"/>
                  <a:gd name="connsiteX3013" fmla="*/ 649070 w 1085953"/>
                  <a:gd name="connsiteY3013" fmla="*/ 397428 h 1052131"/>
                  <a:gd name="connsiteX3014" fmla="*/ 647927 w 1085953"/>
                  <a:gd name="connsiteY3014" fmla="*/ 393428 h 1052131"/>
                  <a:gd name="connsiteX3015" fmla="*/ 633258 w 1085953"/>
                  <a:gd name="connsiteY3015" fmla="*/ 392761 h 1052131"/>
                  <a:gd name="connsiteX3016" fmla="*/ 620018 w 1085953"/>
                  <a:gd name="connsiteY3016" fmla="*/ 363615 h 1052131"/>
                  <a:gd name="connsiteX3017" fmla="*/ 614399 w 1085953"/>
                  <a:gd name="connsiteY3017" fmla="*/ 359328 h 1052131"/>
                  <a:gd name="connsiteX3018" fmla="*/ 595349 w 1085953"/>
                  <a:gd name="connsiteY3018" fmla="*/ 350661 h 1052131"/>
                  <a:gd name="connsiteX3019" fmla="*/ 580966 w 1085953"/>
                  <a:gd name="connsiteY3019" fmla="*/ 335897 h 1052131"/>
                  <a:gd name="connsiteX3020" fmla="*/ 580204 w 1085953"/>
                  <a:gd name="connsiteY3020" fmla="*/ 337992 h 1052131"/>
                  <a:gd name="connsiteX3021" fmla="*/ 572679 w 1085953"/>
                  <a:gd name="connsiteY3021" fmla="*/ 329991 h 1052131"/>
                  <a:gd name="connsiteX3022" fmla="*/ 568012 w 1085953"/>
                  <a:gd name="connsiteY3022" fmla="*/ 329991 h 1052131"/>
                  <a:gd name="connsiteX3023" fmla="*/ 577537 w 1085953"/>
                  <a:gd name="connsiteY3023" fmla="*/ 351137 h 1052131"/>
                  <a:gd name="connsiteX3024" fmla="*/ 596111 w 1085953"/>
                  <a:gd name="connsiteY3024" fmla="*/ 364662 h 1052131"/>
                  <a:gd name="connsiteX3025" fmla="*/ 596111 w 1085953"/>
                  <a:gd name="connsiteY3025" fmla="*/ 369234 h 1052131"/>
                  <a:gd name="connsiteX3026" fmla="*/ 611732 w 1085953"/>
                  <a:gd name="connsiteY3026" fmla="*/ 377426 h 1052131"/>
                  <a:gd name="connsiteX3027" fmla="*/ 611065 w 1085953"/>
                  <a:gd name="connsiteY3027" fmla="*/ 379807 h 1052131"/>
                  <a:gd name="connsiteX3028" fmla="*/ 601540 w 1085953"/>
                  <a:gd name="connsiteY3028" fmla="*/ 377807 h 1052131"/>
                  <a:gd name="connsiteX3029" fmla="*/ 603826 w 1085953"/>
                  <a:gd name="connsiteY3029" fmla="*/ 385522 h 1052131"/>
                  <a:gd name="connsiteX3030" fmla="*/ 594301 w 1085953"/>
                  <a:gd name="connsiteY3030" fmla="*/ 399333 h 1052131"/>
                  <a:gd name="connsiteX3031" fmla="*/ 592587 w 1085953"/>
                  <a:gd name="connsiteY3031" fmla="*/ 397905 h 1052131"/>
                  <a:gd name="connsiteX3032" fmla="*/ 592587 w 1085953"/>
                  <a:gd name="connsiteY3032" fmla="*/ 380950 h 1052131"/>
                  <a:gd name="connsiteX3033" fmla="*/ 576680 w 1085953"/>
                  <a:gd name="connsiteY3033" fmla="*/ 371425 h 1052131"/>
                  <a:gd name="connsiteX3034" fmla="*/ 543533 w 1085953"/>
                  <a:gd name="connsiteY3034" fmla="*/ 342183 h 1052131"/>
                  <a:gd name="connsiteX3035" fmla="*/ 534674 w 1085953"/>
                  <a:gd name="connsiteY3035" fmla="*/ 345898 h 1052131"/>
                  <a:gd name="connsiteX3036" fmla="*/ 534674 w 1085953"/>
                  <a:gd name="connsiteY3036" fmla="*/ 350565 h 1052131"/>
                  <a:gd name="connsiteX3037" fmla="*/ 519339 w 1085953"/>
                  <a:gd name="connsiteY3037" fmla="*/ 353994 h 1052131"/>
                  <a:gd name="connsiteX3038" fmla="*/ 501432 w 1085953"/>
                  <a:gd name="connsiteY3038" fmla="*/ 354661 h 1052131"/>
                  <a:gd name="connsiteX3039" fmla="*/ 498765 w 1085953"/>
                  <a:gd name="connsiteY3039" fmla="*/ 368949 h 1052131"/>
                  <a:gd name="connsiteX3040" fmla="*/ 483239 w 1085953"/>
                  <a:gd name="connsiteY3040" fmla="*/ 377330 h 1052131"/>
                  <a:gd name="connsiteX3041" fmla="*/ 480572 w 1085953"/>
                  <a:gd name="connsiteY3041" fmla="*/ 393904 h 1052131"/>
                  <a:gd name="connsiteX3042" fmla="*/ 438663 w 1085953"/>
                  <a:gd name="connsiteY3042" fmla="*/ 417526 h 1052131"/>
                  <a:gd name="connsiteX3043" fmla="*/ 414755 w 1085953"/>
                  <a:gd name="connsiteY3043" fmla="*/ 408668 h 1052131"/>
                  <a:gd name="connsiteX3044" fmla="*/ 421994 w 1085953"/>
                  <a:gd name="connsiteY3044" fmla="*/ 363329 h 1052131"/>
                  <a:gd name="connsiteX3045" fmla="*/ 418374 w 1085953"/>
                  <a:gd name="connsiteY3045" fmla="*/ 360186 h 1052131"/>
                  <a:gd name="connsiteX3046" fmla="*/ 433329 w 1085953"/>
                  <a:gd name="connsiteY3046" fmla="*/ 348470 h 1052131"/>
                  <a:gd name="connsiteX3047" fmla="*/ 433329 w 1085953"/>
                  <a:gd name="connsiteY3047" fmla="*/ 350756 h 1052131"/>
                  <a:gd name="connsiteX3048" fmla="*/ 467047 w 1085953"/>
                  <a:gd name="connsiteY3048" fmla="*/ 351423 h 1052131"/>
                  <a:gd name="connsiteX3049" fmla="*/ 477334 w 1085953"/>
                  <a:gd name="connsiteY3049" fmla="*/ 331611 h 1052131"/>
                  <a:gd name="connsiteX3050" fmla="*/ 453045 w 1085953"/>
                  <a:gd name="connsiteY3050" fmla="*/ 308655 h 1052131"/>
                  <a:gd name="connsiteX3051" fmla="*/ 471619 w 1085953"/>
                  <a:gd name="connsiteY3051" fmla="*/ 300559 h 1052131"/>
                  <a:gd name="connsiteX3052" fmla="*/ 469428 w 1085953"/>
                  <a:gd name="connsiteY3052" fmla="*/ 294368 h 1052131"/>
                  <a:gd name="connsiteX3053" fmla="*/ 479620 w 1085953"/>
                  <a:gd name="connsiteY3053" fmla="*/ 296654 h 1052131"/>
                  <a:gd name="connsiteX3054" fmla="*/ 484573 w 1085953"/>
                  <a:gd name="connsiteY3054" fmla="*/ 291987 h 1052131"/>
                  <a:gd name="connsiteX3055" fmla="*/ 510862 w 1085953"/>
                  <a:gd name="connsiteY3055" fmla="*/ 267221 h 1052131"/>
                  <a:gd name="connsiteX3056" fmla="*/ 544390 w 1085953"/>
                  <a:gd name="connsiteY3056" fmla="*/ 258459 h 1052131"/>
                  <a:gd name="connsiteX3057" fmla="*/ 540771 w 1085953"/>
                  <a:gd name="connsiteY3057" fmla="*/ 252934 h 1052131"/>
                  <a:gd name="connsiteX3058" fmla="*/ 534674 w 1085953"/>
                  <a:gd name="connsiteY3058" fmla="*/ 249600 h 1052131"/>
                  <a:gd name="connsiteX3059" fmla="*/ 533246 w 1085953"/>
                  <a:gd name="connsiteY3059" fmla="*/ 234265 h 1052131"/>
                  <a:gd name="connsiteX3060" fmla="*/ 533246 w 1085953"/>
                  <a:gd name="connsiteY3060" fmla="*/ 234265 h 1052131"/>
                  <a:gd name="connsiteX3061" fmla="*/ 533246 w 1085953"/>
                  <a:gd name="connsiteY3061" fmla="*/ 234265 h 1052131"/>
                  <a:gd name="connsiteX3062" fmla="*/ 533246 w 1085953"/>
                  <a:gd name="connsiteY3062" fmla="*/ 234265 h 1052131"/>
                  <a:gd name="connsiteX3063" fmla="*/ 533246 w 1085953"/>
                  <a:gd name="connsiteY3063" fmla="*/ 234265 h 1052131"/>
                  <a:gd name="connsiteX3064" fmla="*/ 535341 w 1085953"/>
                  <a:gd name="connsiteY3064" fmla="*/ 233408 h 1052131"/>
                  <a:gd name="connsiteX3065" fmla="*/ 537913 w 1085953"/>
                  <a:gd name="connsiteY3065" fmla="*/ 231693 h 1052131"/>
                  <a:gd name="connsiteX3066" fmla="*/ 542104 w 1085953"/>
                  <a:gd name="connsiteY3066" fmla="*/ 232265 h 1052131"/>
                  <a:gd name="connsiteX3067" fmla="*/ 542104 w 1085953"/>
                  <a:gd name="connsiteY3067" fmla="*/ 229598 h 1052131"/>
                  <a:gd name="connsiteX3068" fmla="*/ 544962 w 1085953"/>
                  <a:gd name="connsiteY3068" fmla="*/ 227407 h 1052131"/>
                  <a:gd name="connsiteX3069" fmla="*/ 550105 w 1085953"/>
                  <a:gd name="connsiteY3069" fmla="*/ 231693 h 1052131"/>
                  <a:gd name="connsiteX3070" fmla="*/ 551820 w 1085953"/>
                  <a:gd name="connsiteY3070" fmla="*/ 234551 h 1052131"/>
                  <a:gd name="connsiteX3071" fmla="*/ 551820 w 1085953"/>
                  <a:gd name="connsiteY3071" fmla="*/ 234551 h 1052131"/>
                  <a:gd name="connsiteX3072" fmla="*/ 551153 w 1085953"/>
                  <a:gd name="connsiteY3072" fmla="*/ 236932 h 1052131"/>
                  <a:gd name="connsiteX3073" fmla="*/ 549057 w 1085953"/>
                  <a:gd name="connsiteY3073" fmla="*/ 236265 h 1052131"/>
                  <a:gd name="connsiteX3074" fmla="*/ 547819 w 1085953"/>
                  <a:gd name="connsiteY3074" fmla="*/ 238266 h 1052131"/>
                  <a:gd name="connsiteX3075" fmla="*/ 544199 w 1085953"/>
                  <a:gd name="connsiteY3075" fmla="*/ 242266 h 1052131"/>
                  <a:gd name="connsiteX3076" fmla="*/ 546962 w 1085953"/>
                  <a:gd name="connsiteY3076" fmla="*/ 248553 h 1052131"/>
                  <a:gd name="connsiteX3077" fmla="*/ 575537 w 1085953"/>
                  <a:gd name="connsiteY3077" fmla="*/ 253982 h 1052131"/>
                  <a:gd name="connsiteX3078" fmla="*/ 596111 w 1085953"/>
                  <a:gd name="connsiteY3078" fmla="*/ 245504 h 1052131"/>
                  <a:gd name="connsiteX3079" fmla="*/ 598397 w 1085953"/>
                  <a:gd name="connsiteY3079" fmla="*/ 249505 h 1052131"/>
                  <a:gd name="connsiteX3080" fmla="*/ 611541 w 1085953"/>
                  <a:gd name="connsiteY3080" fmla="*/ 242361 h 1052131"/>
                  <a:gd name="connsiteX3081" fmla="*/ 611541 w 1085953"/>
                  <a:gd name="connsiteY3081" fmla="*/ 239980 h 1052131"/>
                  <a:gd name="connsiteX3082" fmla="*/ 608017 w 1085953"/>
                  <a:gd name="connsiteY3082" fmla="*/ 234170 h 1052131"/>
                  <a:gd name="connsiteX3083" fmla="*/ 608017 w 1085953"/>
                  <a:gd name="connsiteY3083" fmla="*/ 234170 h 1052131"/>
                  <a:gd name="connsiteX3084" fmla="*/ 606303 w 1085953"/>
                  <a:gd name="connsiteY3084" fmla="*/ 228264 h 1052131"/>
                  <a:gd name="connsiteX3085" fmla="*/ 613827 w 1085953"/>
                  <a:gd name="connsiteY3085" fmla="*/ 219216 h 1052131"/>
                  <a:gd name="connsiteX3086" fmla="*/ 625067 w 1085953"/>
                  <a:gd name="connsiteY3086" fmla="*/ 225788 h 1052131"/>
                  <a:gd name="connsiteX3087" fmla="*/ 623257 w 1085953"/>
                  <a:gd name="connsiteY3087" fmla="*/ 212167 h 1052131"/>
                  <a:gd name="connsiteX3088" fmla="*/ 619638 w 1085953"/>
                  <a:gd name="connsiteY3088" fmla="*/ 213882 h 1052131"/>
                  <a:gd name="connsiteX3089" fmla="*/ 618018 w 1085953"/>
                  <a:gd name="connsiteY3089" fmla="*/ 209405 h 1052131"/>
                  <a:gd name="connsiteX3090" fmla="*/ 616208 w 1085953"/>
                  <a:gd name="connsiteY3090" fmla="*/ 207024 h 1052131"/>
                  <a:gd name="connsiteX3091" fmla="*/ 621447 w 1085953"/>
                  <a:gd name="connsiteY3091" fmla="*/ 203499 h 1052131"/>
                  <a:gd name="connsiteX3092" fmla="*/ 636497 w 1085953"/>
                  <a:gd name="connsiteY3092" fmla="*/ 202833 h 1052131"/>
                  <a:gd name="connsiteX3093" fmla="*/ 650117 w 1085953"/>
                  <a:gd name="connsiteY3093" fmla="*/ 196832 h 1052131"/>
                  <a:gd name="connsiteX3094" fmla="*/ 639068 w 1085953"/>
                  <a:gd name="connsiteY3094" fmla="*/ 190641 h 1052131"/>
                  <a:gd name="connsiteX3095" fmla="*/ 616494 w 1085953"/>
                  <a:gd name="connsiteY3095" fmla="*/ 198546 h 1052131"/>
                  <a:gd name="connsiteX3096" fmla="*/ 607541 w 1085953"/>
                  <a:gd name="connsiteY3096" fmla="*/ 161494 h 1052131"/>
                  <a:gd name="connsiteX3097" fmla="*/ 611732 w 1085953"/>
                  <a:gd name="connsiteY3097" fmla="*/ 154541 h 1052131"/>
                  <a:gd name="connsiteX3098" fmla="*/ 608874 w 1085953"/>
                  <a:gd name="connsiteY3098" fmla="*/ 145968 h 1052131"/>
                  <a:gd name="connsiteX3099" fmla="*/ 595254 w 1085953"/>
                  <a:gd name="connsiteY3099" fmla="*/ 150826 h 1052131"/>
                  <a:gd name="connsiteX3100" fmla="*/ 595254 w 1085953"/>
                  <a:gd name="connsiteY3100" fmla="*/ 151874 h 1052131"/>
                  <a:gd name="connsiteX3101" fmla="*/ 597254 w 1085953"/>
                  <a:gd name="connsiteY3101" fmla="*/ 162923 h 1052131"/>
                  <a:gd name="connsiteX3102" fmla="*/ 585919 w 1085953"/>
                  <a:gd name="connsiteY3102" fmla="*/ 170352 h 1052131"/>
                  <a:gd name="connsiteX3103" fmla="*/ 581061 w 1085953"/>
                  <a:gd name="connsiteY3103" fmla="*/ 189879 h 1052131"/>
                  <a:gd name="connsiteX3104" fmla="*/ 592396 w 1085953"/>
                  <a:gd name="connsiteY3104" fmla="*/ 197499 h 1052131"/>
                  <a:gd name="connsiteX3105" fmla="*/ 591158 w 1085953"/>
                  <a:gd name="connsiteY3105" fmla="*/ 204452 h 1052131"/>
                  <a:gd name="connsiteX3106" fmla="*/ 580299 w 1085953"/>
                  <a:gd name="connsiteY3106" fmla="*/ 204452 h 1052131"/>
                  <a:gd name="connsiteX3107" fmla="*/ 590586 w 1085953"/>
                  <a:gd name="connsiteY3107" fmla="*/ 207881 h 1052131"/>
                  <a:gd name="connsiteX3108" fmla="*/ 582109 w 1085953"/>
                  <a:gd name="connsiteY3108" fmla="*/ 213405 h 1052131"/>
                  <a:gd name="connsiteX3109" fmla="*/ 579728 w 1085953"/>
                  <a:gd name="connsiteY3109" fmla="*/ 234265 h 1052131"/>
                  <a:gd name="connsiteX3110" fmla="*/ 579728 w 1085953"/>
                  <a:gd name="connsiteY3110" fmla="*/ 234265 h 1052131"/>
                  <a:gd name="connsiteX3111" fmla="*/ 579156 w 1085953"/>
                  <a:gd name="connsiteY3111" fmla="*/ 234932 h 1052131"/>
                  <a:gd name="connsiteX3112" fmla="*/ 574775 w 1085953"/>
                  <a:gd name="connsiteY3112" fmla="*/ 234932 h 1052131"/>
                  <a:gd name="connsiteX3113" fmla="*/ 573441 w 1085953"/>
                  <a:gd name="connsiteY3113" fmla="*/ 237027 h 1052131"/>
                  <a:gd name="connsiteX3114" fmla="*/ 572298 w 1085953"/>
                  <a:gd name="connsiteY3114" fmla="*/ 242171 h 1052131"/>
                  <a:gd name="connsiteX3115" fmla="*/ 572298 w 1085953"/>
                  <a:gd name="connsiteY3115" fmla="*/ 242171 h 1052131"/>
                  <a:gd name="connsiteX3116" fmla="*/ 570870 w 1085953"/>
                  <a:gd name="connsiteY3116" fmla="*/ 242171 h 1052131"/>
                  <a:gd name="connsiteX3117" fmla="*/ 568488 w 1085953"/>
                  <a:gd name="connsiteY3117" fmla="*/ 242171 h 1052131"/>
                  <a:gd name="connsiteX3118" fmla="*/ 562488 w 1085953"/>
                  <a:gd name="connsiteY3118" fmla="*/ 242171 h 1052131"/>
                  <a:gd name="connsiteX3119" fmla="*/ 563059 w 1085953"/>
                  <a:gd name="connsiteY3119" fmla="*/ 241028 h 1052131"/>
                  <a:gd name="connsiteX3120" fmla="*/ 564012 w 1085953"/>
                  <a:gd name="connsiteY3120" fmla="*/ 238075 h 1052131"/>
                  <a:gd name="connsiteX3121" fmla="*/ 561916 w 1085953"/>
                  <a:gd name="connsiteY3121" fmla="*/ 234170 h 1052131"/>
                  <a:gd name="connsiteX3122" fmla="*/ 563249 w 1085953"/>
                  <a:gd name="connsiteY3122" fmla="*/ 231979 h 1052131"/>
                  <a:gd name="connsiteX3123" fmla="*/ 551057 w 1085953"/>
                  <a:gd name="connsiteY3123" fmla="*/ 208738 h 1052131"/>
                  <a:gd name="connsiteX3124" fmla="*/ 547629 w 1085953"/>
                  <a:gd name="connsiteY3124" fmla="*/ 204071 h 1052131"/>
                  <a:gd name="connsiteX3125" fmla="*/ 541914 w 1085953"/>
                  <a:gd name="connsiteY3125" fmla="*/ 215215 h 1052131"/>
                  <a:gd name="connsiteX3126" fmla="*/ 520863 w 1085953"/>
                  <a:gd name="connsiteY3126" fmla="*/ 209309 h 1052131"/>
                  <a:gd name="connsiteX3127" fmla="*/ 523721 w 1085953"/>
                  <a:gd name="connsiteY3127" fmla="*/ 207309 h 1052131"/>
                  <a:gd name="connsiteX3128" fmla="*/ 523245 w 1085953"/>
                  <a:gd name="connsiteY3128" fmla="*/ 206166 h 1052131"/>
                  <a:gd name="connsiteX3129" fmla="*/ 520006 w 1085953"/>
                  <a:gd name="connsiteY3129" fmla="*/ 204833 h 1052131"/>
                  <a:gd name="connsiteX3130" fmla="*/ 520006 w 1085953"/>
                  <a:gd name="connsiteY3130" fmla="*/ 203690 h 1052131"/>
                  <a:gd name="connsiteX3131" fmla="*/ 523530 w 1085953"/>
                  <a:gd name="connsiteY3131" fmla="*/ 202547 h 1052131"/>
                  <a:gd name="connsiteX3132" fmla="*/ 520006 w 1085953"/>
                  <a:gd name="connsiteY3132" fmla="*/ 201499 h 1052131"/>
                  <a:gd name="connsiteX3133" fmla="*/ 520863 w 1085953"/>
                  <a:gd name="connsiteY3133" fmla="*/ 196832 h 1052131"/>
                  <a:gd name="connsiteX3134" fmla="*/ 519339 w 1085953"/>
                  <a:gd name="connsiteY3134" fmla="*/ 196832 h 1052131"/>
                  <a:gd name="connsiteX3135" fmla="*/ 518291 w 1085953"/>
                  <a:gd name="connsiteY3135" fmla="*/ 191974 h 1052131"/>
                  <a:gd name="connsiteX3136" fmla="*/ 522959 w 1085953"/>
                  <a:gd name="connsiteY3136" fmla="*/ 189402 h 1052131"/>
                  <a:gd name="connsiteX3137" fmla="*/ 518101 w 1085953"/>
                  <a:gd name="connsiteY3137" fmla="*/ 184068 h 1052131"/>
                  <a:gd name="connsiteX3138" fmla="*/ 523054 w 1085953"/>
                  <a:gd name="connsiteY3138" fmla="*/ 184068 h 1052131"/>
                  <a:gd name="connsiteX3139" fmla="*/ 523054 w 1085953"/>
                  <a:gd name="connsiteY3139" fmla="*/ 182830 h 1052131"/>
                  <a:gd name="connsiteX3140" fmla="*/ 518768 w 1085953"/>
                  <a:gd name="connsiteY3140" fmla="*/ 181592 h 1052131"/>
                  <a:gd name="connsiteX3141" fmla="*/ 518768 w 1085953"/>
                  <a:gd name="connsiteY3141" fmla="*/ 180449 h 1052131"/>
                  <a:gd name="connsiteX3142" fmla="*/ 528959 w 1085953"/>
                  <a:gd name="connsiteY3142" fmla="*/ 179496 h 1052131"/>
                  <a:gd name="connsiteX3143" fmla="*/ 520578 w 1085953"/>
                  <a:gd name="connsiteY3143" fmla="*/ 177782 h 1052131"/>
                  <a:gd name="connsiteX3144" fmla="*/ 531246 w 1085953"/>
                  <a:gd name="connsiteY3144" fmla="*/ 174543 h 1052131"/>
                  <a:gd name="connsiteX3145" fmla="*/ 531246 w 1085953"/>
                  <a:gd name="connsiteY3145" fmla="*/ 173305 h 1052131"/>
                  <a:gd name="connsiteX3146" fmla="*/ 535437 w 1085953"/>
                  <a:gd name="connsiteY3146" fmla="*/ 172829 h 1052131"/>
                  <a:gd name="connsiteX3147" fmla="*/ 544962 w 1085953"/>
                  <a:gd name="connsiteY3147" fmla="*/ 167019 h 1052131"/>
                  <a:gd name="connsiteX3148" fmla="*/ 542961 w 1085953"/>
                  <a:gd name="connsiteY3148" fmla="*/ 161875 h 1052131"/>
                  <a:gd name="connsiteX3149" fmla="*/ 549057 w 1085953"/>
                  <a:gd name="connsiteY3149" fmla="*/ 162732 h 1052131"/>
                  <a:gd name="connsiteX3150" fmla="*/ 555439 w 1085953"/>
                  <a:gd name="connsiteY3150" fmla="*/ 158637 h 1052131"/>
                  <a:gd name="connsiteX3151" fmla="*/ 556677 w 1085953"/>
                  <a:gd name="connsiteY3151" fmla="*/ 158637 h 1052131"/>
                  <a:gd name="connsiteX3152" fmla="*/ 560011 w 1085953"/>
                  <a:gd name="connsiteY3152" fmla="*/ 159875 h 1052131"/>
                  <a:gd name="connsiteX3153" fmla="*/ 560011 w 1085953"/>
                  <a:gd name="connsiteY3153" fmla="*/ 158732 h 1052131"/>
                  <a:gd name="connsiteX3154" fmla="*/ 558106 w 1085953"/>
                  <a:gd name="connsiteY3154" fmla="*/ 156922 h 1052131"/>
                  <a:gd name="connsiteX3155" fmla="*/ 549533 w 1085953"/>
                  <a:gd name="connsiteY3155" fmla="*/ 160351 h 1052131"/>
                  <a:gd name="connsiteX3156" fmla="*/ 553724 w 1085953"/>
                  <a:gd name="connsiteY3156" fmla="*/ 152255 h 1052131"/>
                  <a:gd name="connsiteX3157" fmla="*/ 556963 w 1085953"/>
                  <a:gd name="connsiteY3157" fmla="*/ 145683 h 1052131"/>
                  <a:gd name="connsiteX3158" fmla="*/ 559154 w 1085953"/>
                  <a:gd name="connsiteY3158" fmla="*/ 146635 h 1052131"/>
                  <a:gd name="connsiteX3159" fmla="*/ 559725 w 1085953"/>
                  <a:gd name="connsiteY3159" fmla="*/ 145492 h 1052131"/>
                  <a:gd name="connsiteX3160" fmla="*/ 555915 w 1085953"/>
                  <a:gd name="connsiteY3160" fmla="*/ 142825 h 1052131"/>
                  <a:gd name="connsiteX3161" fmla="*/ 559249 w 1085953"/>
                  <a:gd name="connsiteY3161" fmla="*/ 142158 h 1052131"/>
                  <a:gd name="connsiteX3162" fmla="*/ 558201 w 1085953"/>
                  <a:gd name="connsiteY3162" fmla="*/ 141682 h 1052131"/>
                  <a:gd name="connsiteX3163" fmla="*/ 561821 w 1085953"/>
                  <a:gd name="connsiteY3163" fmla="*/ 138253 h 1052131"/>
                  <a:gd name="connsiteX3164" fmla="*/ 561821 w 1085953"/>
                  <a:gd name="connsiteY3164" fmla="*/ 137110 h 1052131"/>
                  <a:gd name="connsiteX3165" fmla="*/ 560773 w 1085953"/>
                  <a:gd name="connsiteY3165" fmla="*/ 134729 h 1052131"/>
                  <a:gd name="connsiteX3166" fmla="*/ 563154 w 1085953"/>
                  <a:gd name="connsiteY3166" fmla="*/ 133967 h 1052131"/>
                  <a:gd name="connsiteX3167" fmla="*/ 563154 w 1085953"/>
                  <a:gd name="connsiteY3167" fmla="*/ 132824 h 1052131"/>
                  <a:gd name="connsiteX3168" fmla="*/ 560392 w 1085953"/>
                  <a:gd name="connsiteY3168" fmla="*/ 132157 h 1052131"/>
                  <a:gd name="connsiteX3169" fmla="*/ 564850 w 1085953"/>
                  <a:gd name="connsiteY3169" fmla="*/ 129652 h 1052131"/>
                  <a:gd name="connsiteX3170" fmla="*/ 564964 w 1085953"/>
                  <a:gd name="connsiteY3170" fmla="*/ 129680 h 1052131"/>
                  <a:gd name="connsiteX3171" fmla="*/ 565726 w 1085953"/>
                  <a:gd name="connsiteY3171" fmla="*/ 127204 h 1052131"/>
                  <a:gd name="connsiteX3172" fmla="*/ 569155 w 1085953"/>
                  <a:gd name="connsiteY3172" fmla="*/ 126061 h 1052131"/>
                  <a:gd name="connsiteX3173" fmla="*/ 567059 w 1085953"/>
                  <a:gd name="connsiteY3173" fmla="*/ 124537 h 1052131"/>
                  <a:gd name="connsiteX3174" fmla="*/ 572298 w 1085953"/>
                  <a:gd name="connsiteY3174" fmla="*/ 117774 h 1052131"/>
                  <a:gd name="connsiteX3175" fmla="*/ 573441 w 1085953"/>
                  <a:gd name="connsiteY3175" fmla="*/ 115488 h 1052131"/>
                  <a:gd name="connsiteX3176" fmla="*/ 578013 w 1085953"/>
                  <a:gd name="connsiteY3176" fmla="*/ 113488 h 1052131"/>
                  <a:gd name="connsiteX3177" fmla="*/ 580775 w 1085953"/>
                  <a:gd name="connsiteY3177" fmla="*/ 116346 h 1052131"/>
                  <a:gd name="connsiteX3178" fmla="*/ 586205 w 1085953"/>
                  <a:gd name="connsiteY3178" fmla="*/ 111774 h 1052131"/>
                  <a:gd name="connsiteX3179" fmla="*/ 583252 w 1085953"/>
                  <a:gd name="connsiteY3179" fmla="*/ 109583 h 1052131"/>
                  <a:gd name="connsiteX3180" fmla="*/ 590872 w 1085953"/>
                  <a:gd name="connsiteY3180" fmla="*/ 109583 h 1052131"/>
                  <a:gd name="connsiteX3181" fmla="*/ 594968 w 1085953"/>
                  <a:gd name="connsiteY3181" fmla="*/ 112345 h 1052131"/>
                  <a:gd name="connsiteX3182" fmla="*/ 594206 w 1085953"/>
                  <a:gd name="connsiteY3182" fmla="*/ 108059 h 1052131"/>
                  <a:gd name="connsiteX3183" fmla="*/ 595349 w 1085953"/>
                  <a:gd name="connsiteY3183" fmla="*/ 108630 h 1052131"/>
                  <a:gd name="connsiteX3184" fmla="*/ 595349 w 1085953"/>
                  <a:gd name="connsiteY3184" fmla="*/ 107487 h 1052131"/>
                  <a:gd name="connsiteX3185" fmla="*/ 594587 w 1085953"/>
                  <a:gd name="connsiteY3185" fmla="*/ 106440 h 1052131"/>
                  <a:gd name="connsiteX3186" fmla="*/ 599064 w 1085953"/>
                  <a:gd name="connsiteY3186" fmla="*/ 105392 h 1052131"/>
                  <a:gd name="connsiteX3187" fmla="*/ 599730 w 1085953"/>
                  <a:gd name="connsiteY3187" fmla="*/ 106249 h 1052131"/>
                  <a:gd name="connsiteX3188" fmla="*/ 599730 w 1085953"/>
                  <a:gd name="connsiteY3188" fmla="*/ 107487 h 1052131"/>
                  <a:gd name="connsiteX3189" fmla="*/ 601064 w 1085953"/>
                  <a:gd name="connsiteY3189" fmla="*/ 107487 h 1052131"/>
                  <a:gd name="connsiteX3190" fmla="*/ 602969 w 1085953"/>
                  <a:gd name="connsiteY3190" fmla="*/ 104344 h 1052131"/>
                  <a:gd name="connsiteX3191" fmla="*/ 602969 w 1085953"/>
                  <a:gd name="connsiteY3191" fmla="*/ 106916 h 1052131"/>
                  <a:gd name="connsiteX3192" fmla="*/ 603921 w 1085953"/>
                  <a:gd name="connsiteY3192" fmla="*/ 107773 h 1052131"/>
                  <a:gd name="connsiteX3193" fmla="*/ 609731 w 1085953"/>
                  <a:gd name="connsiteY3193" fmla="*/ 104630 h 1052131"/>
                  <a:gd name="connsiteX3194" fmla="*/ 609731 w 1085953"/>
                  <a:gd name="connsiteY3194" fmla="*/ 108059 h 1052131"/>
                  <a:gd name="connsiteX3195" fmla="*/ 622400 w 1085953"/>
                  <a:gd name="connsiteY3195" fmla="*/ 110916 h 1052131"/>
                  <a:gd name="connsiteX3196" fmla="*/ 614780 w 1085953"/>
                  <a:gd name="connsiteY3196" fmla="*/ 110916 h 1052131"/>
                  <a:gd name="connsiteX3197" fmla="*/ 614018 w 1085953"/>
                  <a:gd name="connsiteY3197" fmla="*/ 112154 h 1052131"/>
                  <a:gd name="connsiteX3198" fmla="*/ 624305 w 1085953"/>
                  <a:gd name="connsiteY3198" fmla="*/ 113488 h 1052131"/>
                  <a:gd name="connsiteX3199" fmla="*/ 625353 w 1085953"/>
                  <a:gd name="connsiteY3199" fmla="*/ 111392 h 1052131"/>
                  <a:gd name="connsiteX3200" fmla="*/ 629163 w 1085953"/>
                  <a:gd name="connsiteY3200" fmla="*/ 112345 h 1052131"/>
                  <a:gd name="connsiteX3201" fmla="*/ 633258 w 1085953"/>
                  <a:gd name="connsiteY3201" fmla="*/ 116631 h 1052131"/>
                  <a:gd name="connsiteX3202" fmla="*/ 633925 w 1085953"/>
                  <a:gd name="connsiteY3202" fmla="*/ 115583 h 1052131"/>
                  <a:gd name="connsiteX3203" fmla="*/ 669834 w 1085953"/>
                  <a:gd name="connsiteY3203" fmla="*/ 129014 h 1052131"/>
                  <a:gd name="connsiteX3204" fmla="*/ 670882 w 1085953"/>
                  <a:gd name="connsiteY3204" fmla="*/ 140349 h 1052131"/>
                  <a:gd name="connsiteX3205" fmla="*/ 641259 w 1085953"/>
                  <a:gd name="connsiteY3205" fmla="*/ 135015 h 1052131"/>
                  <a:gd name="connsiteX3206" fmla="*/ 640021 w 1085953"/>
                  <a:gd name="connsiteY3206" fmla="*/ 135015 h 1052131"/>
                  <a:gd name="connsiteX3207" fmla="*/ 632401 w 1085953"/>
                  <a:gd name="connsiteY3207" fmla="*/ 133109 h 1052131"/>
                  <a:gd name="connsiteX3208" fmla="*/ 637925 w 1085953"/>
                  <a:gd name="connsiteY3208" fmla="*/ 135586 h 1052131"/>
                  <a:gd name="connsiteX3209" fmla="*/ 635830 w 1085953"/>
                  <a:gd name="connsiteY3209" fmla="*/ 136824 h 1052131"/>
                  <a:gd name="connsiteX3210" fmla="*/ 635830 w 1085953"/>
                  <a:gd name="connsiteY3210" fmla="*/ 138063 h 1052131"/>
                  <a:gd name="connsiteX3211" fmla="*/ 652689 w 1085953"/>
                  <a:gd name="connsiteY3211" fmla="*/ 147111 h 1052131"/>
                  <a:gd name="connsiteX3212" fmla="*/ 651927 w 1085953"/>
                  <a:gd name="connsiteY3212" fmla="*/ 147969 h 1052131"/>
                  <a:gd name="connsiteX3213" fmla="*/ 664786 w 1085953"/>
                  <a:gd name="connsiteY3213" fmla="*/ 159684 h 1052131"/>
                  <a:gd name="connsiteX3214" fmla="*/ 664786 w 1085953"/>
                  <a:gd name="connsiteY3214" fmla="*/ 159684 h 1052131"/>
                  <a:gd name="connsiteX3215" fmla="*/ 674311 w 1085953"/>
                  <a:gd name="connsiteY3215" fmla="*/ 158541 h 1052131"/>
                  <a:gd name="connsiteX3216" fmla="*/ 660785 w 1085953"/>
                  <a:gd name="connsiteY3216" fmla="*/ 149683 h 1052131"/>
                  <a:gd name="connsiteX3217" fmla="*/ 668120 w 1085953"/>
                  <a:gd name="connsiteY3217" fmla="*/ 149683 h 1052131"/>
                  <a:gd name="connsiteX3218" fmla="*/ 678692 w 1085953"/>
                  <a:gd name="connsiteY3218" fmla="*/ 150636 h 1052131"/>
                  <a:gd name="connsiteX3219" fmla="*/ 678692 w 1085953"/>
                  <a:gd name="connsiteY3219" fmla="*/ 149492 h 1052131"/>
                  <a:gd name="connsiteX3220" fmla="*/ 672597 w 1085953"/>
                  <a:gd name="connsiteY3220" fmla="*/ 141968 h 1052131"/>
                  <a:gd name="connsiteX3221" fmla="*/ 676502 w 1085953"/>
                  <a:gd name="connsiteY3221" fmla="*/ 134824 h 1052131"/>
                  <a:gd name="connsiteX3222" fmla="*/ 687932 w 1085953"/>
                  <a:gd name="connsiteY3222" fmla="*/ 140063 h 1052131"/>
                  <a:gd name="connsiteX3223" fmla="*/ 671358 w 1085953"/>
                  <a:gd name="connsiteY3223" fmla="*/ 118727 h 1052131"/>
                  <a:gd name="connsiteX3224" fmla="*/ 687837 w 1085953"/>
                  <a:gd name="connsiteY3224" fmla="*/ 123489 h 1052131"/>
                  <a:gd name="connsiteX3225" fmla="*/ 683264 w 1085953"/>
                  <a:gd name="connsiteY3225" fmla="*/ 123489 h 1052131"/>
                  <a:gd name="connsiteX3226" fmla="*/ 682503 w 1085953"/>
                  <a:gd name="connsiteY3226" fmla="*/ 124346 h 1052131"/>
                  <a:gd name="connsiteX3227" fmla="*/ 696028 w 1085953"/>
                  <a:gd name="connsiteY3227" fmla="*/ 130824 h 1052131"/>
                  <a:gd name="connsiteX3228" fmla="*/ 693171 w 1085953"/>
                  <a:gd name="connsiteY3228" fmla="*/ 119870 h 1052131"/>
                  <a:gd name="connsiteX3229" fmla="*/ 696599 w 1085953"/>
                  <a:gd name="connsiteY3229" fmla="*/ 117774 h 1052131"/>
                  <a:gd name="connsiteX3230" fmla="*/ 696599 w 1085953"/>
                  <a:gd name="connsiteY3230" fmla="*/ 117774 h 1052131"/>
                  <a:gd name="connsiteX3231" fmla="*/ 701933 w 1085953"/>
                  <a:gd name="connsiteY3231" fmla="*/ 114441 h 1052131"/>
                  <a:gd name="connsiteX3232" fmla="*/ 704886 w 1085953"/>
                  <a:gd name="connsiteY3232" fmla="*/ 107773 h 1052131"/>
                  <a:gd name="connsiteX3233" fmla="*/ 706315 w 1085953"/>
                  <a:gd name="connsiteY3233" fmla="*/ 108345 h 1052131"/>
                  <a:gd name="connsiteX3234" fmla="*/ 707172 w 1085953"/>
                  <a:gd name="connsiteY3234" fmla="*/ 115869 h 1052131"/>
                  <a:gd name="connsiteX3235" fmla="*/ 706315 w 1085953"/>
                  <a:gd name="connsiteY3235" fmla="*/ 117108 h 1052131"/>
                  <a:gd name="connsiteX3236" fmla="*/ 707458 w 1085953"/>
                  <a:gd name="connsiteY3236" fmla="*/ 118155 h 1052131"/>
                  <a:gd name="connsiteX3237" fmla="*/ 710982 w 1085953"/>
                  <a:gd name="connsiteY3237" fmla="*/ 115679 h 1052131"/>
                  <a:gd name="connsiteX3238" fmla="*/ 709363 w 1085953"/>
                  <a:gd name="connsiteY3238" fmla="*/ 111869 h 1052131"/>
                  <a:gd name="connsiteX3239" fmla="*/ 717078 w 1085953"/>
                  <a:gd name="connsiteY3239" fmla="*/ 111869 h 1052131"/>
                  <a:gd name="connsiteX3240" fmla="*/ 714316 w 1085953"/>
                  <a:gd name="connsiteY3240" fmla="*/ 109297 h 1052131"/>
                  <a:gd name="connsiteX3241" fmla="*/ 720031 w 1085953"/>
                  <a:gd name="connsiteY3241" fmla="*/ 107773 h 1052131"/>
                  <a:gd name="connsiteX3242" fmla="*/ 724317 w 1085953"/>
                  <a:gd name="connsiteY3242" fmla="*/ 110345 h 1052131"/>
                  <a:gd name="connsiteX3243" fmla="*/ 719745 w 1085953"/>
                  <a:gd name="connsiteY3243" fmla="*/ 102820 h 1052131"/>
                  <a:gd name="connsiteX3244" fmla="*/ 720412 w 1085953"/>
                  <a:gd name="connsiteY3244" fmla="*/ 99772 h 1052131"/>
                  <a:gd name="connsiteX3245" fmla="*/ 725079 w 1085953"/>
                  <a:gd name="connsiteY3245" fmla="*/ 100820 h 1052131"/>
                  <a:gd name="connsiteX3246" fmla="*/ 725079 w 1085953"/>
                  <a:gd name="connsiteY3246" fmla="*/ 99486 h 1052131"/>
                  <a:gd name="connsiteX3247" fmla="*/ 749082 w 1085953"/>
                  <a:gd name="connsiteY3247" fmla="*/ 107392 h 1052131"/>
                  <a:gd name="connsiteX3248" fmla="*/ 734509 w 1085953"/>
                  <a:gd name="connsiteY3248" fmla="*/ 96915 h 1052131"/>
                  <a:gd name="connsiteX3249" fmla="*/ 733556 w 1085953"/>
                  <a:gd name="connsiteY3249" fmla="*/ 98058 h 1052131"/>
                  <a:gd name="connsiteX3250" fmla="*/ 720603 w 1085953"/>
                  <a:gd name="connsiteY3250" fmla="*/ 84056 h 1052131"/>
                  <a:gd name="connsiteX3251" fmla="*/ 722793 w 1085953"/>
                  <a:gd name="connsiteY3251" fmla="*/ 82055 h 1052131"/>
                  <a:gd name="connsiteX3252" fmla="*/ 713268 w 1085953"/>
                  <a:gd name="connsiteY3252" fmla="*/ 71102 h 1052131"/>
                  <a:gd name="connsiteX3253" fmla="*/ 713840 w 1085953"/>
                  <a:gd name="connsiteY3253" fmla="*/ 69768 h 1052131"/>
                  <a:gd name="connsiteX3254" fmla="*/ 740414 w 1085953"/>
                  <a:gd name="connsiteY3254" fmla="*/ 87485 h 1052131"/>
                  <a:gd name="connsiteX3255" fmla="*/ 768989 w 1085953"/>
                  <a:gd name="connsiteY3255" fmla="*/ 118536 h 1052131"/>
                  <a:gd name="connsiteX3256" fmla="*/ 765941 w 1085953"/>
                  <a:gd name="connsiteY3256" fmla="*/ 119108 h 1052131"/>
                  <a:gd name="connsiteX3257" fmla="*/ 767084 w 1085953"/>
                  <a:gd name="connsiteY3257" fmla="*/ 120537 h 1052131"/>
                  <a:gd name="connsiteX3258" fmla="*/ 764132 w 1085953"/>
                  <a:gd name="connsiteY3258" fmla="*/ 120537 h 1052131"/>
                  <a:gd name="connsiteX3259" fmla="*/ 772323 w 1085953"/>
                  <a:gd name="connsiteY3259" fmla="*/ 121965 h 1052131"/>
                  <a:gd name="connsiteX3260" fmla="*/ 775466 w 1085953"/>
                  <a:gd name="connsiteY3260" fmla="*/ 119203 h 1052131"/>
                  <a:gd name="connsiteX3261" fmla="*/ 762893 w 1085953"/>
                  <a:gd name="connsiteY3261" fmla="*/ 97486 h 1052131"/>
                  <a:gd name="connsiteX3262" fmla="*/ 786134 w 1085953"/>
                  <a:gd name="connsiteY3262" fmla="*/ 108725 h 1052131"/>
                  <a:gd name="connsiteX3263" fmla="*/ 759179 w 1085953"/>
                  <a:gd name="connsiteY3263" fmla="*/ 94819 h 1052131"/>
                  <a:gd name="connsiteX3264" fmla="*/ 751940 w 1085953"/>
                  <a:gd name="connsiteY3264" fmla="*/ 94152 h 1052131"/>
                  <a:gd name="connsiteX3265" fmla="*/ 725079 w 1085953"/>
                  <a:gd name="connsiteY3265" fmla="*/ 68340 h 1052131"/>
                  <a:gd name="connsiteX3266" fmla="*/ 725079 w 1085953"/>
                  <a:gd name="connsiteY3266" fmla="*/ 66911 h 1052131"/>
                  <a:gd name="connsiteX3267" fmla="*/ 734604 w 1085953"/>
                  <a:gd name="connsiteY3267" fmla="*/ 73007 h 1052131"/>
                  <a:gd name="connsiteX3268" fmla="*/ 734604 w 1085953"/>
                  <a:gd name="connsiteY3268" fmla="*/ 73007 h 1052131"/>
                  <a:gd name="connsiteX3269" fmla="*/ 735366 w 1085953"/>
                  <a:gd name="connsiteY3269" fmla="*/ 71769 h 1052131"/>
                  <a:gd name="connsiteX3270" fmla="*/ 740414 w 1085953"/>
                  <a:gd name="connsiteY3270" fmla="*/ 72721 h 1052131"/>
                  <a:gd name="connsiteX3271" fmla="*/ 735271 w 1085953"/>
                  <a:gd name="connsiteY3271" fmla="*/ 68340 h 1052131"/>
                  <a:gd name="connsiteX3272" fmla="*/ 732318 w 1085953"/>
                  <a:gd name="connsiteY3272" fmla="*/ 67578 h 1052131"/>
                  <a:gd name="connsiteX3273" fmla="*/ 731747 w 1085953"/>
                  <a:gd name="connsiteY3273" fmla="*/ 66149 h 1052131"/>
                  <a:gd name="connsiteX3274" fmla="*/ 746987 w 1085953"/>
                  <a:gd name="connsiteY3274" fmla="*/ 71769 h 1052131"/>
                  <a:gd name="connsiteX3275" fmla="*/ 747463 w 1085953"/>
                  <a:gd name="connsiteY3275" fmla="*/ 71769 h 1052131"/>
                  <a:gd name="connsiteX3276" fmla="*/ 727841 w 1085953"/>
                  <a:gd name="connsiteY3276" fmla="*/ 59005 h 1052131"/>
                  <a:gd name="connsiteX3277" fmla="*/ 731556 w 1085953"/>
                  <a:gd name="connsiteY3277" fmla="*/ 55290 h 1052131"/>
                  <a:gd name="connsiteX3278" fmla="*/ 729270 w 1085953"/>
                  <a:gd name="connsiteY3278" fmla="*/ 53576 h 1052131"/>
                  <a:gd name="connsiteX3279" fmla="*/ 729270 w 1085953"/>
                  <a:gd name="connsiteY3279" fmla="*/ 53004 h 1052131"/>
                  <a:gd name="connsiteX3280" fmla="*/ 717650 w 1085953"/>
                  <a:gd name="connsiteY3280" fmla="*/ 42146 h 1052131"/>
                  <a:gd name="connsiteX3281" fmla="*/ 713364 w 1085953"/>
                  <a:gd name="connsiteY3281" fmla="*/ 37955 h 1052131"/>
                  <a:gd name="connsiteX3282" fmla="*/ 714125 w 1085953"/>
                  <a:gd name="connsiteY3282" fmla="*/ 36717 h 1052131"/>
                  <a:gd name="connsiteX3283" fmla="*/ 712697 w 1085953"/>
                  <a:gd name="connsiteY3283" fmla="*/ 36145 h 1052131"/>
                  <a:gd name="connsiteX3284" fmla="*/ 712697 w 1085953"/>
                  <a:gd name="connsiteY3284" fmla="*/ 34621 h 1052131"/>
                  <a:gd name="connsiteX3285" fmla="*/ 710220 w 1085953"/>
                  <a:gd name="connsiteY3285" fmla="*/ 32525 h 1052131"/>
                  <a:gd name="connsiteX3286" fmla="*/ 710220 w 1085953"/>
                  <a:gd name="connsiteY3286" fmla="*/ 31097 h 1052131"/>
                  <a:gd name="connsiteX3287" fmla="*/ 712887 w 1085953"/>
                  <a:gd name="connsiteY3287" fmla="*/ 32621 h 1052131"/>
                  <a:gd name="connsiteX3288" fmla="*/ 714506 w 1085953"/>
                  <a:gd name="connsiteY3288" fmla="*/ 30335 h 1052131"/>
                  <a:gd name="connsiteX3289" fmla="*/ 717364 w 1085953"/>
                  <a:gd name="connsiteY3289" fmla="*/ 30335 h 1052131"/>
                  <a:gd name="connsiteX3290" fmla="*/ 716221 w 1085953"/>
                  <a:gd name="connsiteY3290" fmla="*/ 29287 h 1052131"/>
                  <a:gd name="connsiteX3291" fmla="*/ 717745 w 1085953"/>
                  <a:gd name="connsiteY3291" fmla="*/ 29287 h 1052131"/>
                  <a:gd name="connsiteX3292" fmla="*/ 710125 w 1085953"/>
                  <a:gd name="connsiteY3292" fmla="*/ 26334 h 1052131"/>
                  <a:gd name="connsiteX3293" fmla="*/ 709649 w 1085953"/>
                  <a:gd name="connsiteY3293" fmla="*/ 24905 h 1052131"/>
                  <a:gd name="connsiteX3294" fmla="*/ 710982 w 1085953"/>
                  <a:gd name="connsiteY3294" fmla="*/ 24429 h 1052131"/>
                  <a:gd name="connsiteX3295" fmla="*/ 691932 w 1085953"/>
                  <a:gd name="connsiteY3295" fmla="*/ 14904 h 1052131"/>
                  <a:gd name="connsiteX3296" fmla="*/ 709554 w 1085953"/>
                  <a:gd name="connsiteY3296" fmla="*/ 21191 h 1052131"/>
                  <a:gd name="connsiteX3297" fmla="*/ 706315 w 1085953"/>
                  <a:gd name="connsiteY3297" fmla="*/ 18143 h 1052131"/>
                  <a:gd name="connsiteX3298" fmla="*/ 706315 w 1085953"/>
                  <a:gd name="connsiteY3298" fmla="*/ 16619 h 1052131"/>
                  <a:gd name="connsiteX3299" fmla="*/ 718507 w 1085953"/>
                  <a:gd name="connsiteY3299" fmla="*/ 21572 h 1052131"/>
                  <a:gd name="connsiteX3300" fmla="*/ 717078 w 1085953"/>
                  <a:gd name="connsiteY3300" fmla="*/ 21572 h 1052131"/>
                  <a:gd name="connsiteX3301" fmla="*/ 755178 w 1085953"/>
                  <a:gd name="connsiteY3301" fmla="*/ 44813 h 1052131"/>
                  <a:gd name="connsiteX3302" fmla="*/ 748225 w 1085953"/>
                  <a:gd name="connsiteY3302" fmla="*/ 36621 h 1052131"/>
                  <a:gd name="connsiteX3303" fmla="*/ 742129 w 1085953"/>
                  <a:gd name="connsiteY3303" fmla="*/ 33097 h 1052131"/>
                  <a:gd name="connsiteX3304" fmla="*/ 743653 w 1085953"/>
                  <a:gd name="connsiteY3304" fmla="*/ 33097 h 1052131"/>
                  <a:gd name="connsiteX3305" fmla="*/ 740700 w 1085953"/>
                  <a:gd name="connsiteY3305" fmla="*/ 31478 h 1052131"/>
                  <a:gd name="connsiteX3306" fmla="*/ 747272 w 1085953"/>
                  <a:gd name="connsiteY3306" fmla="*/ 34526 h 1052131"/>
                  <a:gd name="connsiteX3307" fmla="*/ 747272 w 1085953"/>
                  <a:gd name="connsiteY3307" fmla="*/ 34526 h 1052131"/>
                  <a:gd name="connsiteX3308" fmla="*/ 747272 w 1085953"/>
                  <a:gd name="connsiteY3308" fmla="*/ 32907 h 1052131"/>
                  <a:gd name="connsiteX3309" fmla="*/ 745272 w 1085953"/>
                  <a:gd name="connsiteY3309" fmla="*/ 30716 h 1052131"/>
                  <a:gd name="connsiteX3310" fmla="*/ 751845 w 1085953"/>
                  <a:gd name="connsiteY3310" fmla="*/ 33288 h 1052131"/>
                  <a:gd name="connsiteX3311" fmla="*/ 737176 w 1085953"/>
                  <a:gd name="connsiteY3311" fmla="*/ 24525 h 1052131"/>
                  <a:gd name="connsiteX3312" fmla="*/ 740224 w 1085953"/>
                  <a:gd name="connsiteY3312" fmla="*/ 25287 h 1052131"/>
                  <a:gd name="connsiteX3313" fmla="*/ 739272 w 1085953"/>
                  <a:gd name="connsiteY3313" fmla="*/ 24144 h 1052131"/>
                  <a:gd name="connsiteX3314" fmla="*/ 757179 w 1085953"/>
                  <a:gd name="connsiteY3314" fmla="*/ 31668 h 1052131"/>
                  <a:gd name="connsiteX3315" fmla="*/ 757179 w 1085953"/>
                  <a:gd name="connsiteY3315" fmla="*/ 31668 h 1052131"/>
                  <a:gd name="connsiteX3316" fmla="*/ 771656 w 1085953"/>
                  <a:gd name="connsiteY3316" fmla="*/ 36907 h 1052131"/>
                  <a:gd name="connsiteX3317" fmla="*/ 755178 w 1085953"/>
                  <a:gd name="connsiteY3317" fmla="*/ 29001 h 1052131"/>
                  <a:gd name="connsiteX3318" fmla="*/ 762513 w 1085953"/>
                  <a:gd name="connsiteY3318" fmla="*/ 31383 h 1052131"/>
                  <a:gd name="connsiteX3319" fmla="*/ 755559 w 1085953"/>
                  <a:gd name="connsiteY3319" fmla="*/ 28144 h 1052131"/>
                  <a:gd name="connsiteX3320" fmla="*/ 758322 w 1085953"/>
                  <a:gd name="connsiteY3320" fmla="*/ 28716 h 1052131"/>
                  <a:gd name="connsiteX3321" fmla="*/ 729747 w 1085953"/>
                  <a:gd name="connsiteY3321" fmla="*/ 16047 h 1052131"/>
                  <a:gd name="connsiteX3322" fmla="*/ 735366 w 1085953"/>
                  <a:gd name="connsiteY3322" fmla="*/ 18238 h 1052131"/>
                  <a:gd name="connsiteX3323" fmla="*/ 730604 w 1085953"/>
                  <a:gd name="connsiteY3323" fmla="*/ 16238 h 1052131"/>
                  <a:gd name="connsiteX3324" fmla="*/ 731080 w 1085953"/>
                  <a:gd name="connsiteY3324" fmla="*/ 16238 h 1052131"/>
                  <a:gd name="connsiteX3325" fmla="*/ 727270 w 1085953"/>
                  <a:gd name="connsiteY3325" fmla="*/ 14619 h 1052131"/>
                  <a:gd name="connsiteX3326" fmla="*/ 736128 w 1085953"/>
                  <a:gd name="connsiteY3326" fmla="*/ 17762 h 1052131"/>
                  <a:gd name="connsiteX3327" fmla="*/ 734890 w 1085953"/>
                  <a:gd name="connsiteY3327" fmla="*/ 17190 h 1052131"/>
                  <a:gd name="connsiteX3328" fmla="*/ 737652 w 1085953"/>
                  <a:gd name="connsiteY3328" fmla="*/ 18238 h 1052131"/>
                  <a:gd name="connsiteX3329" fmla="*/ 864811 w 1085953"/>
                  <a:gd name="connsiteY3329" fmla="*/ 87390 h 1052131"/>
                  <a:gd name="connsiteX3330" fmla="*/ 928057 w 1085953"/>
                  <a:gd name="connsiteY3330" fmla="*/ 141682 h 1052131"/>
                  <a:gd name="connsiteX3331" fmla="*/ 941868 w 1085953"/>
                  <a:gd name="connsiteY3331" fmla="*/ 156065 h 1052131"/>
                  <a:gd name="connsiteX3332" fmla="*/ 948155 w 1085953"/>
                  <a:gd name="connsiteY3332" fmla="*/ 162923 h 1052131"/>
                  <a:gd name="connsiteX3333" fmla="*/ 982349 w 1085953"/>
                  <a:gd name="connsiteY3333" fmla="*/ 204928 h 1052131"/>
                  <a:gd name="connsiteX3334" fmla="*/ 1001876 w 1085953"/>
                  <a:gd name="connsiteY3334" fmla="*/ 233503 h 1052131"/>
                  <a:gd name="connsiteX3335" fmla="*/ 1026450 w 1085953"/>
                  <a:gd name="connsiteY3335" fmla="*/ 276080 h 1052131"/>
                  <a:gd name="connsiteX3336" fmla="*/ 1047310 w 1085953"/>
                  <a:gd name="connsiteY3336" fmla="*/ 321133 h 1052131"/>
                  <a:gd name="connsiteX3337" fmla="*/ 1046453 w 1085953"/>
                  <a:gd name="connsiteY3337" fmla="*/ 319323 h 1052131"/>
                  <a:gd name="connsiteX3338" fmla="*/ 1049310 w 1085953"/>
                  <a:gd name="connsiteY3338" fmla="*/ 327420 h 1052131"/>
                  <a:gd name="connsiteX3339" fmla="*/ 1041881 w 1085953"/>
                  <a:gd name="connsiteY3339" fmla="*/ 310465 h 1052131"/>
                  <a:gd name="connsiteX3340" fmla="*/ 1056073 w 1085953"/>
                  <a:gd name="connsiteY3340" fmla="*/ 348565 h 1052131"/>
                  <a:gd name="connsiteX3341" fmla="*/ 1055311 w 1085953"/>
                  <a:gd name="connsiteY3341" fmla="*/ 342564 h 1052131"/>
                  <a:gd name="connsiteX3342" fmla="*/ 1072361 w 1085953"/>
                  <a:gd name="connsiteY3342" fmla="*/ 399143 h 1052131"/>
                  <a:gd name="connsiteX3343" fmla="*/ 1072361 w 1085953"/>
                  <a:gd name="connsiteY3343" fmla="*/ 399714 h 1052131"/>
                  <a:gd name="connsiteX3344" fmla="*/ 1073885 w 1085953"/>
                  <a:gd name="connsiteY3344" fmla="*/ 406572 h 1052131"/>
                  <a:gd name="connsiteX3345" fmla="*/ 1073885 w 1085953"/>
                  <a:gd name="connsiteY3345" fmla="*/ 406572 h 1052131"/>
                  <a:gd name="connsiteX3346" fmla="*/ 1075885 w 1085953"/>
                  <a:gd name="connsiteY3346" fmla="*/ 416097 h 1052131"/>
                  <a:gd name="connsiteX3347" fmla="*/ 1077123 w 1085953"/>
                  <a:gd name="connsiteY3347" fmla="*/ 422955 h 1052131"/>
                  <a:gd name="connsiteX3348" fmla="*/ 1076456 w 1085953"/>
                  <a:gd name="connsiteY3348" fmla="*/ 418859 h 1052131"/>
                  <a:gd name="connsiteX3349" fmla="*/ 1079790 w 1085953"/>
                  <a:gd name="connsiteY3349" fmla="*/ 437433 h 1052131"/>
                  <a:gd name="connsiteX3350" fmla="*/ 1085315 w 1085953"/>
                  <a:gd name="connsiteY3350" fmla="*/ 503537 h 1052131"/>
                  <a:gd name="connsiteX3351" fmla="*/ 743081 w 1085953"/>
                  <a:gd name="connsiteY3351" fmla="*/ 21286 h 1052131"/>
                  <a:gd name="connsiteX3352" fmla="*/ 731747 w 1085953"/>
                  <a:gd name="connsiteY3352" fmla="*/ 17000 h 1052131"/>
                  <a:gd name="connsiteX3353" fmla="*/ 743081 w 1085953"/>
                  <a:gd name="connsiteY3353" fmla="*/ 21286 h 1052131"/>
                  <a:gd name="connsiteX3354" fmla="*/ 726413 w 1085953"/>
                  <a:gd name="connsiteY3354" fmla="*/ 47861 h 1052131"/>
                  <a:gd name="connsiteX3355" fmla="*/ 726413 w 1085953"/>
                  <a:gd name="connsiteY3355" fmla="*/ 47861 h 1052131"/>
                  <a:gd name="connsiteX3356" fmla="*/ 724317 w 1085953"/>
                  <a:gd name="connsiteY3356" fmla="*/ 46813 h 1052131"/>
                  <a:gd name="connsiteX3357" fmla="*/ 723174 w 1085953"/>
                  <a:gd name="connsiteY3357" fmla="*/ 46813 h 1052131"/>
                  <a:gd name="connsiteX3358" fmla="*/ 723174 w 1085953"/>
                  <a:gd name="connsiteY3358" fmla="*/ 46813 h 1052131"/>
                  <a:gd name="connsiteX3359" fmla="*/ 726508 w 1085953"/>
                  <a:gd name="connsiteY3359" fmla="*/ 48051 h 1052131"/>
                  <a:gd name="connsiteX3360" fmla="*/ 737557 w 1085953"/>
                  <a:gd name="connsiteY3360" fmla="*/ 56052 h 1052131"/>
                  <a:gd name="connsiteX3361" fmla="*/ 734985 w 1085953"/>
                  <a:gd name="connsiteY3361" fmla="*/ 54052 h 1052131"/>
                  <a:gd name="connsiteX3362" fmla="*/ 737462 w 1085953"/>
                  <a:gd name="connsiteY3362" fmla="*/ 56052 h 1052131"/>
                  <a:gd name="connsiteX3363" fmla="*/ 753083 w 1085953"/>
                  <a:gd name="connsiteY3363" fmla="*/ 79770 h 1052131"/>
                  <a:gd name="connsiteX3364" fmla="*/ 747558 w 1085953"/>
                  <a:gd name="connsiteY3364" fmla="*/ 76245 h 1052131"/>
                  <a:gd name="connsiteX3365" fmla="*/ 746987 w 1085953"/>
                  <a:gd name="connsiteY3365" fmla="*/ 77579 h 1052131"/>
                  <a:gd name="connsiteX3366" fmla="*/ 738224 w 1085953"/>
                  <a:gd name="connsiteY3366" fmla="*/ 74150 h 1052131"/>
                  <a:gd name="connsiteX3367" fmla="*/ 752606 w 1085953"/>
                  <a:gd name="connsiteY3367" fmla="*/ 79770 h 1052131"/>
                  <a:gd name="connsiteX3368" fmla="*/ 773657 w 1085953"/>
                  <a:gd name="connsiteY3368" fmla="*/ 86056 h 1052131"/>
                  <a:gd name="connsiteX3369" fmla="*/ 754607 w 1085953"/>
                  <a:gd name="connsiteY3369" fmla="*/ 73674 h 1052131"/>
                  <a:gd name="connsiteX3370" fmla="*/ 773562 w 1085953"/>
                  <a:gd name="connsiteY3370" fmla="*/ 86056 h 1052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Lst>
                <a:rect l="l" t="t" r="r" b="b"/>
                <a:pathLst>
                  <a:path w="1085953" h="1052131">
                    <a:moveTo>
                      <a:pt x="203490" y="147778"/>
                    </a:moveTo>
                    <a:cubicBezTo>
                      <a:pt x="202633" y="148350"/>
                      <a:pt x="201871" y="149112"/>
                      <a:pt x="201014" y="149588"/>
                    </a:cubicBezTo>
                    <a:cubicBezTo>
                      <a:pt x="200156" y="150064"/>
                      <a:pt x="199775" y="150159"/>
                      <a:pt x="199775" y="149588"/>
                    </a:cubicBezTo>
                    <a:cubicBezTo>
                      <a:pt x="199775" y="149016"/>
                      <a:pt x="202062" y="146635"/>
                      <a:pt x="202062" y="146635"/>
                    </a:cubicBezTo>
                    <a:cubicBezTo>
                      <a:pt x="205014" y="144063"/>
                      <a:pt x="205014" y="144063"/>
                      <a:pt x="206062" y="144063"/>
                    </a:cubicBezTo>
                    <a:lnTo>
                      <a:pt x="206633" y="144063"/>
                    </a:lnTo>
                    <a:lnTo>
                      <a:pt x="208253" y="144063"/>
                    </a:lnTo>
                    <a:cubicBezTo>
                      <a:pt x="208253" y="144063"/>
                      <a:pt x="207491" y="145397"/>
                      <a:pt x="207491" y="145492"/>
                    </a:cubicBezTo>
                    <a:lnTo>
                      <a:pt x="206253" y="146445"/>
                    </a:lnTo>
                    <a:lnTo>
                      <a:pt x="206253" y="146445"/>
                    </a:lnTo>
                    <a:cubicBezTo>
                      <a:pt x="205109" y="147207"/>
                      <a:pt x="204157" y="147207"/>
                      <a:pt x="203490" y="147778"/>
                    </a:cubicBezTo>
                    <a:close/>
                    <a:moveTo>
                      <a:pt x="205681" y="154636"/>
                    </a:moveTo>
                    <a:cubicBezTo>
                      <a:pt x="206167" y="154303"/>
                      <a:pt x="206614" y="153922"/>
                      <a:pt x="207014" y="153493"/>
                    </a:cubicBezTo>
                    <a:cubicBezTo>
                      <a:pt x="207776" y="152302"/>
                      <a:pt x="208386" y="151026"/>
                      <a:pt x="208824" y="149683"/>
                    </a:cubicBezTo>
                    <a:lnTo>
                      <a:pt x="208824" y="149683"/>
                    </a:lnTo>
                    <a:lnTo>
                      <a:pt x="206824" y="150445"/>
                    </a:lnTo>
                    <a:cubicBezTo>
                      <a:pt x="206824" y="150445"/>
                      <a:pt x="206824" y="150445"/>
                      <a:pt x="206824" y="150445"/>
                    </a:cubicBezTo>
                    <a:cubicBezTo>
                      <a:pt x="205986" y="151188"/>
                      <a:pt x="205186" y="151988"/>
                      <a:pt x="204443" y="152826"/>
                    </a:cubicBezTo>
                    <a:cubicBezTo>
                      <a:pt x="200823" y="157398"/>
                      <a:pt x="200823" y="157398"/>
                      <a:pt x="200918" y="157684"/>
                    </a:cubicBezTo>
                    <a:cubicBezTo>
                      <a:pt x="201014" y="157970"/>
                      <a:pt x="200156" y="158255"/>
                      <a:pt x="205681" y="154636"/>
                    </a:cubicBezTo>
                    <a:close/>
                    <a:moveTo>
                      <a:pt x="233684" y="119679"/>
                    </a:moveTo>
                    <a:cubicBezTo>
                      <a:pt x="234723" y="118536"/>
                      <a:pt x="235647" y="117288"/>
                      <a:pt x="236447" y="115965"/>
                    </a:cubicBezTo>
                    <a:lnTo>
                      <a:pt x="235875" y="115965"/>
                    </a:lnTo>
                    <a:cubicBezTo>
                      <a:pt x="235875" y="115965"/>
                      <a:pt x="233684" y="117679"/>
                      <a:pt x="233684" y="117679"/>
                    </a:cubicBezTo>
                    <a:cubicBezTo>
                      <a:pt x="233684" y="117679"/>
                      <a:pt x="233684" y="117679"/>
                      <a:pt x="233684" y="118155"/>
                    </a:cubicBezTo>
                    <a:lnTo>
                      <a:pt x="233113" y="119013"/>
                    </a:lnTo>
                    <a:lnTo>
                      <a:pt x="233113" y="119013"/>
                    </a:lnTo>
                    <a:lnTo>
                      <a:pt x="233113" y="119013"/>
                    </a:lnTo>
                    <a:cubicBezTo>
                      <a:pt x="232999" y="119251"/>
                      <a:pt x="233094" y="119536"/>
                      <a:pt x="233322" y="119651"/>
                    </a:cubicBezTo>
                    <a:cubicBezTo>
                      <a:pt x="233437" y="119708"/>
                      <a:pt x="233570" y="119717"/>
                      <a:pt x="233684" y="119679"/>
                    </a:cubicBezTo>
                    <a:close/>
                    <a:moveTo>
                      <a:pt x="227970" y="123584"/>
                    </a:moveTo>
                    <a:cubicBezTo>
                      <a:pt x="227970" y="123013"/>
                      <a:pt x="227970" y="122442"/>
                      <a:pt x="227970" y="121870"/>
                    </a:cubicBezTo>
                    <a:cubicBezTo>
                      <a:pt x="227970" y="121299"/>
                      <a:pt x="228541" y="120060"/>
                      <a:pt x="231208" y="117298"/>
                    </a:cubicBezTo>
                    <a:cubicBezTo>
                      <a:pt x="232256" y="116346"/>
                      <a:pt x="232256" y="116155"/>
                      <a:pt x="232351" y="115965"/>
                    </a:cubicBezTo>
                    <a:cubicBezTo>
                      <a:pt x="232446" y="115774"/>
                      <a:pt x="226350" y="120060"/>
                      <a:pt x="226255" y="120060"/>
                    </a:cubicBezTo>
                    <a:cubicBezTo>
                      <a:pt x="226160" y="120060"/>
                      <a:pt x="224350" y="122061"/>
                      <a:pt x="223302" y="123013"/>
                    </a:cubicBezTo>
                    <a:cubicBezTo>
                      <a:pt x="222255" y="123966"/>
                      <a:pt x="220445" y="124918"/>
                      <a:pt x="219111" y="126061"/>
                    </a:cubicBezTo>
                    <a:cubicBezTo>
                      <a:pt x="217778" y="127204"/>
                      <a:pt x="215396" y="129776"/>
                      <a:pt x="213301" y="131395"/>
                    </a:cubicBezTo>
                    <a:cubicBezTo>
                      <a:pt x="211205" y="133014"/>
                      <a:pt x="210824" y="132348"/>
                      <a:pt x="209777" y="133205"/>
                    </a:cubicBezTo>
                    <a:cubicBezTo>
                      <a:pt x="209396" y="133538"/>
                      <a:pt x="209215" y="134043"/>
                      <a:pt x="209300" y="134538"/>
                    </a:cubicBezTo>
                    <a:cubicBezTo>
                      <a:pt x="209872" y="134538"/>
                      <a:pt x="210348" y="134538"/>
                      <a:pt x="210920" y="134538"/>
                    </a:cubicBezTo>
                    <a:cubicBezTo>
                      <a:pt x="209729" y="136186"/>
                      <a:pt x="208319" y="137663"/>
                      <a:pt x="206729" y="138920"/>
                    </a:cubicBezTo>
                    <a:cubicBezTo>
                      <a:pt x="205014" y="140444"/>
                      <a:pt x="204824" y="140539"/>
                      <a:pt x="204538" y="141111"/>
                    </a:cubicBezTo>
                    <a:lnTo>
                      <a:pt x="204538" y="141111"/>
                    </a:lnTo>
                    <a:cubicBezTo>
                      <a:pt x="208395" y="140625"/>
                      <a:pt x="211863" y="138510"/>
                      <a:pt x="214063" y="135300"/>
                    </a:cubicBezTo>
                    <a:cubicBezTo>
                      <a:pt x="216254" y="132729"/>
                      <a:pt x="217206" y="133205"/>
                      <a:pt x="217492" y="133776"/>
                    </a:cubicBezTo>
                    <a:lnTo>
                      <a:pt x="215968" y="135872"/>
                    </a:lnTo>
                    <a:cubicBezTo>
                      <a:pt x="215968" y="136348"/>
                      <a:pt x="215968" y="136920"/>
                      <a:pt x="215968" y="137396"/>
                    </a:cubicBezTo>
                    <a:lnTo>
                      <a:pt x="214920" y="138825"/>
                    </a:lnTo>
                    <a:lnTo>
                      <a:pt x="214920" y="138825"/>
                    </a:lnTo>
                    <a:lnTo>
                      <a:pt x="214920" y="138825"/>
                    </a:lnTo>
                    <a:cubicBezTo>
                      <a:pt x="215968" y="138825"/>
                      <a:pt x="216730" y="139682"/>
                      <a:pt x="217682" y="139777"/>
                    </a:cubicBezTo>
                    <a:cubicBezTo>
                      <a:pt x="218635" y="139872"/>
                      <a:pt x="219873" y="137777"/>
                      <a:pt x="220921" y="136634"/>
                    </a:cubicBezTo>
                    <a:lnTo>
                      <a:pt x="220921" y="135967"/>
                    </a:lnTo>
                    <a:cubicBezTo>
                      <a:pt x="220921" y="135967"/>
                      <a:pt x="220921" y="135967"/>
                      <a:pt x="219873" y="134824"/>
                    </a:cubicBezTo>
                    <a:lnTo>
                      <a:pt x="222255" y="131490"/>
                    </a:lnTo>
                    <a:cubicBezTo>
                      <a:pt x="223788" y="130223"/>
                      <a:pt x="225131" y="128747"/>
                      <a:pt x="226255" y="127109"/>
                    </a:cubicBezTo>
                    <a:cubicBezTo>
                      <a:pt x="226255" y="126347"/>
                      <a:pt x="226255" y="126252"/>
                      <a:pt x="226255" y="126061"/>
                    </a:cubicBezTo>
                    <a:cubicBezTo>
                      <a:pt x="225979" y="125947"/>
                      <a:pt x="225798" y="125690"/>
                      <a:pt x="225779" y="125394"/>
                    </a:cubicBezTo>
                    <a:cubicBezTo>
                      <a:pt x="226636" y="124632"/>
                      <a:pt x="227588" y="124442"/>
                      <a:pt x="227970" y="123584"/>
                    </a:cubicBezTo>
                    <a:close/>
                    <a:moveTo>
                      <a:pt x="327030" y="42241"/>
                    </a:moveTo>
                    <a:cubicBezTo>
                      <a:pt x="326077" y="43003"/>
                      <a:pt x="325982" y="43098"/>
                      <a:pt x="325982" y="43289"/>
                    </a:cubicBezTo>
                    <a:lnTo>
                      <a:pt x="327696" y="43289"/>
                    </a:lnTo>
                    <a:lnTo>
                      <a:pt x="327696" y="43289"/>
                    </a:lnTo>
                    <a:lnTo>
                      <a:pt x="331221" y="41003"/>
                    </a:lnTo>
                    <a:lnTo>
                      <a:pt x="333697" y="39669"/>
                    </a:lnTo>
                    <a:lnTo>
                      <a:pt x="333697" y="39669"/>
                    </a:lnTo>
                    <a:cubicBezTo>
                      <a:pt x="334307" y="39203"/>
                      <a:pt x="334849" y="38660"/>
                      <a:pt x="335316" y="38050"/>
                    </a:cubicBezTo>
                    <a:lnTo>
                      <a:pt x="335316" y="38050"/>
                    </a:lnTo>
                    <a:cubicBezTo>
                      <a:pt x="332392" y="38964"/>
                      <a:pt x="329601" y="40279"/>
                      <a:pt x="327030" y="41955"/>
                    </a:cubicBezTo>
                    <a:lnTo>
                      <a:pt x="327506" y="41955"/>
                    </a:lnTo>
                    <a:cubicBezTo>
                      <a:pt x="327506" y="41955"/>
                      <a:pt x="328077" y="41288"/>
                      <a:pt x="327030" y="42241"/>
                    </a:cubicBezTo>
                    <a:close/>
                    <a:moveTo>
                      <a:pt x="322553" y="48528"/>
                    </a:moveTo>
                    <a:cubicBezTo>
                      <a:pt x="324648" y="48528"/>
                      <a:pt x="326172" y="46051"/>
                      <a:pt x="328458" y="46432"/>
                    </a:cubicBezTo>
                    <a:cubicBezTo>
                      <a:pt x="327696" y="47861"/>
                      <a:pt x="325410" y="47384"/>
                      <a:pt x="324839" y="49194"/>
                    </a:cubicBezTo>
                    <a:lnTo>
                      <a:pt x="324839" y="49194"/>
                    </a:lnTo>
                    <a:lnTo>
                      <a:pt x="324839" y="49194"/>
                    </a:lnTo>
                    <a:lnTo>
                      <a:pt x="324839" y="49194"/>
                    </a:lnTo>
                    <a:lnTo>
                      <a:pt x="327887" y="49194"/>
                    </a:lnTo>
                    <a:cubicBezTo>
                      <a:pt x="327887" y="49194"/>
                      <a:pt x="326744" y="49861"/>
                      <a:pt x="326553" y="50623"/>
                    </a:cubicBezTo>
                    <a:cubicBezTo>
                      <a:pt x="326363" y="51385"/>
                      <a:pt x="327696" y="50623"/>
                      <a:pt x="328268" y="50623"/>
                    </a:cubicBezTo>
                    <a:cubicBezTo>
                      <a:pt x="327820" y="51337"/>
                      <a:pt x="327468" y="52099"/>
                      <a:pt x="327220" y="52909"/>
                    </a:cubicBezTo>
                    <a:cubicBezTo>
                      <a:pt x="328458" y="53862"/>
                      <a:pt x="329315" y="51957"/>
                      <a:pt x="330554" y="52338"/>
                    </a:cubicBezTo>
                    <a:lnTo>
                      <a:pt x="330554" y="52338"/>
                    </a:lnTo>
                    <a:cubicBezTo>
                      <a:pt x="333726" y="51118"/>
                      <a:pt x="336726" y="49528"/>
                      <a:pt x="339507" y="47575"/>
                    </a:cubicBezTo>
                    <a:lnTo>
                      <a:pt x="343603" y="43194"/>
                    </a:lnTo>
                    <a:cubicBezTo>
                      <a:pt x="343936" y="42622"/>
                      <a:pt x="344194" y="42022"/>
                      <a:pt x="344365" y="41384"/>
                    </a:cubicBezTo>
                    <a:cubicBezTo>
                      <a:pt x="342555" y="40717"/>
                      <a:pt x="341412" y="43384"/>
                      <a:pt x="339507" y="42336"/>
                    </a:cubicBezTo>
                    <a:lnTo>
                      <a:pt x="339507" y="42336"/>
                    </a:lnTo>
                    <a:cubicBezTo>
                      <a:pt x="338650" y="42336"/>
                      <a:pt x="337793" y="42813"/>
                      <a:pt x="336840" y="42908"/>
                    </a:cubicBezTo>
                    <a:cubicBezTo>
                      <a:pt x="337316" y="42908"/>
                      <a:pt x="337983" y="42241"/>
                      <a:pt x="338269" y="41670"/>
                    </a:cubicBezTo>
                    <a:lnTo>
                      <a:pt x="338269" y="41670"/>
                    </a:lnTo>
                    <a:cubicBezTo>
                      <a:pt x="337507" y="41670"/>
                      <a:pt x="336935" y="42432"/>
                      <a:pt x="336078" y="42336"/>
                    </a:cubicBezTo>
                    <a:lnTo>
                      <a:pt x="336745" y="41860"/>
                    </a:lnTo>
                    <a:cubicBezTo>
                      <a:pt x="336688" y="41612"/>
                      <a:pt x="336688" y="41346"/>
                      <a:pt x="336745" y="41098"/>
                    </a:cubicBezTo>
                    <a:cubicBezTo>
                      <a:pt x="336288" y="41327"/>
                      <a:pt x="335812" y="41517"/>
                      <a:pt x="335316" y="41670"/>
                    </a:cubicBezTo>
                    <a:cubicBezTo>
                      <a:pt x="335316" y="41670"/>
                      <a:pt x="335316" y="41670"/>
                      <a:pt x="338364" y="39574"/>
                    </a:cubicBezTo>
                    <a:cubicBezTo>
                      <a:pt x="339698" y="38812"/>
                      <a:pt x="341222" y="38050"/>
                      <a:pt x="341603" y="37288"/>
                    </a:cubicBezTo>
                    <a:cubicBezTo>
                      <a:pt x="340460" y="37288"/>
                      <a:pt x="339507" y="38812"/>
                      <a:pt x="338174" y="38812"/>
                    </a:cubicBezTo>
                    <a:cubicBezTo>
                      <a:pt x="338412" y="38479"/>
                      <a:pt x="338698" y="38193"/>
                      <a:pt x="339031" y="37955"/>
                    </a:cubicBezTo>
                    <a:lnTo>
                      <a:pt x="343127" y="35859"/>
                    </a:lnTo>
                    <a:cubicBezTo>
                      <a:pt x="344174" y="35383"/>
                      <a:pt x="345413" y="35097"/>
                      <a:pt x="346556" y="34716"/>
                    </a:cubicBezTo>
                    <a:cubicBezTo>
                      <a:pt x="347699" y="34335"/>
                      <a:pt x="349128" y="33097"/>
                      <a:pt x="350556" y="32430"/>
                    </a:cubicBezTo>
                    <a:cubicBezTo>
                      <a:pt x="351194" y="32259"/>
                      <a:pt x="351671" y="31744"/>
                      <a:pt x="351795" y="31097"/>
                    </a:cubicBezTo>
                    <a:cubicBezTo>
                      <a:pt x="351318" y="31097"/>
                      <a:pt x="351318" y="31097"/>
                      <a:pt x="350175" y="31097"/>
                    </a:cubicBezTo>
                    <a:cubicBezTo>
                      <a:pt x="354176" y="29096"/>
                      <a:pt x="354176" y="29096"/>
                      <a:pt x="354271" y="28811"/>
                    </a:cubicBezTo>
                    <a:lnTo>
                      <a:pt x="354271" y="28811"/>
                    </a:lnTo>
                    <a:cubicBezTo>
                      <a:pt x="355890" y="27192"/>
                      <a:pt x="358367" y="27192"/>
                      <a:pt x="360176" y="25763"/>
                    </a:cubicBezTo>
                    <a:cubicBezTo>
                      <a:pt x="359224" y="25763"/>
                      <a:pt x="358557" y="26811"/>
                      <a:pt x="357605" y="26811"/>
                    </a:cubicBezTo>
                    <a:lnTo>
                      <a:pt x="357605" y="26811"/>
                    </a:lnTo>
                    <a:cubicBezTo>
                      <a:pt x="353471" y="27734"/>
                      <a:pt x="349575" y="29516"/>
                      <a:pt x="346175" y="32049"/>
                    </a:cubicBezTo>
                    <a:cubicBezTo>
                      <a:pt x="343889" y="33383"/>
                      <a:pt x="342365" y="35669"/>
                      <a:pt x="339983" y="36812"/>
                    </a:cubicBezTo>
                    <a:cubicBezTo>
                      <a:pt x="339983" y="36812"/>
                      <a:pt x="332649" y="40527"/>
                      <a:pt x="327982" y="43479"/>
                    </a:cubicBezTo>
                    <a:lnTo>
                      <a:pt x="327410" y="43479"/>
                    </a:lnTo>
                    <a:cubicBezTo>
                      <a:pt x="326677" y="43898"/>
                      <a:pt x="326039" y="44451"/>
                      <a:pt x="325505" y="45099"/>
                    </a:cubicBezTo>
                    <a:cubicBezTo>
                      <a:pt x="326553" y="45099"/>
                      <a:pt x="327315" y="44337"/>
                      <a:pt x="328268" y="44051"/>
                    </a:cubicBezTo>
                    <a:close/>
                    <a:moveTo>
                      <a:pt x="267784" y="105678"/>
                    </a:moveTo>
                    <a:cubicBezTo>
                      <a:pt x="268641" y="104725"/>
                      <a:pt x="269594" y="103868"/>
                      <a:pt x="267784" y="103773"/>
                    </a:cubicBezTo>
                    <a:cubicBezTo>
                      <a:pt x="266317" y="104154"/>
                      <a:pt x="264879" y="104668"/>
                      <a:pt x="263498" y="105296"/>
                    </a:cubicBezTo>
                    <a:cubicBezTo>
                      <a:pt x="263050" y="105487"/>
                      <a:pt x="262631" y="105744"/>
                      <a:pt x="262259" y="106058"/>
                    </a:cubicBezTo>
                    <a:cubicBezTo>
                      <a:pt x="260088" y="107744"/>
                      <a:pt x="258135" y="109697"/>
                      <a:pt x="256449" y="111869"/>
                    </a:cubicBezTo>
                    <a:cubicBezTo>
                      <a:pt x="256449" y="113298"/>
                      <a:pt x="262355" y="110059"/>
                      <a:pt x="262450" y="109964"/>
                    </a:cubicBezTo>
                    <a:cubicBezTo>
                      <a:pt x="262545" y="109869"/>
                      <a:pt x="267689" y="105392"/>
                      <a:pt x="267784" y="105392"/>
                    </a:cubicBezTo>
                    <a:close/>
                    <a:moveTo>
                      <a:pt x="366272" y="19953"/>
                    </a:moveTo>
                    <a:lnTo>
                      <a:pt x="366272" y="19953"/>
                    </a:lnTo>
                    <a:cubicBezTo>
                      <a:pt x="366272" y="19953"/>
                      <a:pt x="371988" y="17571"/>
                      <a:pt x="373226" y="16809"/>
                    </a:cubicBezTo>
                    <a:cubicBezTo>
                      <a:pt x="369959" y="18019"/>
                      <a:pt x="366777" y="19457"/>
                      <a:pt x="363701" y="21096"/>
                    </a:cubicBezTo>
                    <a:close/>
                    <a:moveTo>
                      <a:pt x="285215" y="62815"/>
                    </a:moveTo>
                    <a:cubicBezTo>
                      <a:pt x="288739" y="62815"/>
                      <a:pt x="290168" y="59196"/>
                      <a:pt x="293216" y="58433"/>
                    </a:cubicBezTo>
                    <a:cubicBezTo>
                      <a:pt x="291215" y="60053"/>
                      <a:pt x="291215" y="60053"/>
                      <a:pt x="291120" y="60243"/>
                    </a:cubicBezTo>
                    <a:cubicBezTo>
                      <a:pt x="291025" y="60434"/>
                      <a:pt x="292073" y="60243"/>
                      <a:pt x="301883" y="54338"/>
                    </a:cubicBezTo>
                    <a:cubicBezTo>
                      <a:pt x="307027" y="51195"/>
                      <a:pt x="307027" y="51195"/>
                      <a:pt x="307313" y="50433"/>
                    </a:cubicBezTo>
                    <a:cubicBezTo>
                      <a:pt x="305465" y="51747"/>
                      <a:pt x="303484" y="52861"/>
                      <a:pt x="301407" y="53766"/>
                    </a:cubicBezTo>
                    <a:cubicBezTo>
                      <a:pt x="303341" y="52328"/>
                      <a:pt x="305417" y="51080"/>
                      <a:pt x="307598" y="50052"/>
                    </a:cubicBezTo>
                    <a:lnTo>
                      <a:pt x="309789" y="50052"/>
                    </a:lnTo>
                    <a:cubicBezTo>
                      <a:pt x="309789" y="50052"/>
                      <a:pt x="310456" y="50052"/>
                      <a:pt x="312742" y="48528"/>
                    </a:cubicBezTo>
                    <a:cubicBezTo>
                      <a:pt x="313475" y="48156"/>
                      <a:pt x="314247" y="47832"/>
                      <a:pt x="315028" y="47575"/>
                    </a:cubicBezTo>
                    <a:cubicBezTo>
                      <a:pt x="316457" y="46623"/>
                      <a:pt x="317800" y="45537"/>
                      <a:pt x="319029" y="44337"/>
                    </a:cubicBezTo>
                    <a:cubicBezTo>
                      <a:pt x="317600" y="44337"/>
                      <a:pt x="316647" y="45765"/>
                      <a:pt x="315314" y="46146"/>
                    </a:cubicBezTo>
                    <a:cubicBezTo>
                      <a:pt x="315609" y="45746"/>
                      <a:pt x="315961" y="45394"/>
                      <a:pt x="316362" y="45099"/>
                    </a:cubicBezTo>
                    <a:cubicBezTo>
                      <a:pt x="313437" y="45746"/>
                      <a:pt x="310703" y="47042"/>
                      <a:pt x="308360" y="48908"/>
                    </a:cubicBezTo>
                    <a:cubicBezTo>
                      <a:pt x="306570" y="49975"/>
                      <a:pt x="304684" y="50899"/>
                      <a:pt x="302741" y="51671"/>
                    </a:cubicBezTo>
                    <a:cubicBezTo>
                      <a:pt x="303598" y="50718"/>
                      <a:pt x="305313" y="51004"/>
                      <a:pt x="305693" y="49480"/>
                    </a:cubicBezTo>
                    <a:cubicBezTo>
                      <a:pt x="306074" y="47956"/>
                      <a:pt x="302074" y="51099"/>
                      <a:pt x="301122" y="51671"/>
                    </a:cubicBezTo>
                    <a:cubicBezTo>
                      <a:pt x="298902" y="53061"/>
                      <a:pt x="296769" y="54585"/>
                      <a:pt x="294740" y="56243"/>
                    </a:cubicBezTo>
                    <a:lnTo>
                      <a:pt x="294740" y="56243"/>
                    </a:lnTo>
                    <a:cubicBezTo>
                      <a:pt x="294740" y="56243"/>
                      <a:pt x="287215" y="61196"/>
                      <a:pt x="286453" y="61577"/>
                    </a:cubicBezTo>
                    <a:cubicBezTo>
                      <a:pt x="285691" y="61958"/>
                      <a:pt x="285310" y="62244"/>
                      <a:pt x="285215" y="62434"/>
                    </a:cubicBezTo>
                    <a:close/>
                    <a:moveTo>
                      <a:pt x="426661" y="20429"/>
                    </a:moveTo>
                    <a:lnTo>
                      <a:pt x="426661" y="19381"/>
                    </a:lnTo>
                    <a:cubicBezTo>
                      <a:pt x="421517" y="18524"/>
                      <a:pt x="419517" y="23572"/>
                      <a:pt x="415707" y="25191"/>
                    </a:cubicBezTo>
                    <a:lnTo>
                      <a:pt x="420946" y="20524"/>
                    </a:lnTo>
                    <a:lnTo>
                      <a:pt x="420946" y="19381"/>
                    </a:lnTo>
                    <a:cubicBezTo>
                      <a:pt x="417707" y="19857"/>
                      <a:pt x="415326" y="22334"/>
                      <a:pt x="412183" y="23096"/>
                    </a:cubicBezTo>
                    <a:lnTo>
                      <a:pt x="412183" y="22048"/>
                    </a:lnTo>
                    <a:cubicBezTo>
                      <a:pt x="411135" y="22048"/>
                      <a:pt x="410088" y="23191"/>
                      <a:pt x="408945" y="23667"/>
                    </a:cubicBezTo>
                    <a:lnTo>
                      <a:pt x="408945" y="22524"/>
                    </a:lnTo>
                    <a:cubicBezTo>
                      <a:pt x="406468" y="22524"/>
                      <a:pt x="398467" y="24429"/>
                      <a:pt x="397610" y="28144"/>
                    </a:cubicBezTo>
                    <a:cubicBezTo>
                      <a:pt x="398362" y="28011"/>
                      <a:pt x="399143" y="28011"/>
                      <a:pt x="399896" y="28144"/>
                    </a:cubicBezTo>
                    <a:lnTo>
                      <a:pt x="399229" y="29192"/>
                    </a:lnTo>
                    <a:cubicBezTo>
                      <a:pt x="396943" y="29192"/>
                      <a:pt x="394943" y="32049"/>
                      <a:pt x="392466" y="29954"/>
                    </a:cubicBezTo>
                    <a:cubicBezTo>
                      <a:pt x="375131" y="34716"/>
                      <a:pt x="375131" y="34716"/>
                      <a:pt x="374655" y="39479"/>
                    </a:cubicBezTo>
                    <a:cubicBezTo>
                      <a:pt x="376169" y="39260"/>
                      <a:pt x="377712" y="39260"/>
                      <a:pt x="379226" y="39479"/>
                    </a:cubicBezTo>
                    <a:cubicBezTo>
                      <a:pt x="378864" y="40193"/>
                      <a:pt x="378379" y="40831"/>
                      <a:pt x="377798" y="41384"/>
                    </a:cubicBezTo>
                    <a:cubicBezTo>
                      <a:pt x="377036" y="41384"/>
                      <a:pt x="377036" y="41384"/>
                      <a:pt x="369321" y="42336"/>
                    </a:cubicBezTo>
                    <a:lnTo>
                      <a:pt x="369321" y="41288"/>
                    </a:lnTo>
                    <a:lnTo>
                      <a:pt x="368368" y="40717"/>
                    </a:lnTo>
                    <a:cubicBezTo>
                      <a:pt x="366711" y="41136"/>
                      <a:pt x="365396" y="42403"/>
                      <a:pt x="364939" y="44051"/>
                    </a:cubicBezTo>
                    <a:lnTo>
                      <a:pt x="365510" y="44051"/>
                    </a:lnTo>
                    <a:lnTo>
                      <a:pt x="365510" y="45099"/>
                    </a:lnTo>
                    <a:lnTo>
                      <a:pt x="365510" y="45099"/>
                    </a:lnTo>
                    <a:lnTo>
                      <a:pt x="366558" y="45099"/>
                    </a:lnTo>
                    <a:lnTo>
                      <a:pt x="366082" y="46146"/>
                    </a:lnTo>
                    <a:cubicBezTo>
                      <a:pt x="359129" y="47289"/>
                      <a:pt x="359129" y="47289"/>
                      <a:pt x="353604" y="53766"/>
                    </a:cubicBezTo>
                    <a:lnTo>
                      <a:pt x="353604" y="55004"/>
                    </a:lnTo>
                    <a:cubicBezTo>
                      <a:pt x="355128" y="54433"/>
                      <a:pt x="356366" y="53290"/>
                      <a:pt x="357890" y="52528"/>
                    </a:cubicBezTo>
                    <a:lnTo>
                      <a:pt x="357890" y="53576"/>
                    </a:lnTo>
                    <a:cubicBezTo>
                      <a:pt x="359453" y="52738"/>
                      <a:pt x="361081" y="52004"/>
                      <a:pt x="362748" y="51385"/>
                    </a:cubicBezTo>
                    <a:cubicBezTo>
                      <a:pt x="362272" y="52033"/>
                      <a:pt x="361891" y="52738"/>
                      <a:pt x="361605" y="53480"/>
                    </a:cubicBezTo>
                    <a:cubicBezTo>
                      <a:pt x="363129" y="53004"/>
                      <a:pt x="364463" y="52147"/>
                      <a:pt x="365987" y="51575"/>
                    </a:cubicBezTo>
                    <a:cubicBezTo>
                      <a:pt x="363605" y="53766"/>
                      <a:pt x="363605" y="53766"/>
                      <a:pt x="363605" y="55195"/>
                    </a:cubicBezTo>
                    <a:lnTo>
                      <a:pt x="364463" y="55957"/>
                    </a:lnTo>
                    <a:cubicBezTo>
                      <a:pt x="362653" y="61196"/>
                      <a:pt x="355985" y="62625"/>
                      <a:pt x="354938" y="68435"/>
                    </a:cubicBezTo>
                    <a:lnTo>
                      <a:pt x="355700" y="69197"/>
                    </a:lnTo>
                    <a:cubicBezTo>
                      <a:pt x="355700" y="69768"/>
                      <a:pt x="355700" y="69768"/>
                      <a:pt x="351795" y="73102"/>
                    </a:cubicBezTo>
                    <a:lnTo>
                      <a:pt x="351795" y="74150"/>
                    </a:lnTo>
                    <a:cubicBezTo>
                      <a:pt x="347413" y="77865"/>
                      <a:pt x="347413" y="77865"/>
                      <a:pt x="347222" y="78722"/>
                    </a:cubicBezTo>
                    <a:lnTo>
                      <a:pt x="348080" y="79388"/>
                    </a:lnTo>
                    <a:cubicBezTo>
                      <a:pt x="344270" y="84056"/>
                      <a:pt x="337888" y="85866"/>
                      <a:pt x="334554" y="91104"/>
                    </a:cubicBezTo>
                    <a:lnTo>
                      <a:pt x="335602" y="91104"/>
                    </a:lnTo>
                    <a:cubicBezTo>
                      <a:pt x="334745" y="91866"/>
                      <a:pt x="333602" y="92247"/>
                      <a:pt x="332745" y="93104"/>
                    </a:cubicBezTo>
                    <a:cubicBezTo>
                      <a:pt x="337031" y="96343"/>
                      <a:pt x="339031" y="88818"/>
                      <a:pt x="342270" y="87485"/>
                    </a:cubicBezTo>
                    <a:lnTo>
                      <a:pt x="339126" y="90723"/>
                    </a:lnTo>
                    <a:cubicBezTo>
                      <a:pt x="339298" y="91438"/>
                      <a:pt x="339698" y="92076"/>
                      <a:pt x="340269" y="92533"/>
                    </a:cubicBezTo>
                    <a:lnTo>
                      <a:pt x="339126" y="92533"/>
                    </a:lnTo>
                    <a:cubicBezTo>
                      <a:pt x="339126" y="93200"/>
                      <a:pt x="339126" y="93200"/>
                      <a:pt x="337031" y="95391"/>
                    </a:cubicBezTo>
                    <a:lnTo>
                      <a:pt x="337983" y="95962"/>
                    </a:lnTo>
                    <a:lnTo>
                      <a:pt x="337031" y="95962"/>
                    </a:lnTo>
                    <a:lnTo>
                      <a:pt x="337602" y="97010"/>
                    </a:lnTo>
                    <a:cubicBezTo>
                      <a:pt x="335888" y="97962"/>
                      <a:pt x="335030" y="99867"/>
                      <a:pt x="333316" y="100915"/>
                    </a:cubicBezTo>
                    <a:cubicBezTo>
                      <a:pt x="331316" y="100439"/>
                      <a:pt x="330173" y="97677"/>
                      <a:pt x="327506" y="98724"/>
                    </a:cubicBezTo>
                    <a:cubicBezTo>
                      <a:pt x="327325" y="100753"/>
                      <a:pt x="327325" y="102791"/>
                      <a:pt x="327506" y="104820"/>
                    </a:cubicBezTo>
                    <a:cubicBezTo>
                      <a:pt x="329601" y="104820"/>
                      <a:pt x="331221" y="103773"/>
                      <a:pt x="333125" y="103392"/>
                    </a:cubicBezTo>
                    <a:cubicBezTo>
                      <a:pt x="332621" y="103982"/>
                      <a:pt x="332230" y="104658"/>
                      <a:pt x="331982" y="105392"/>
                    </a:cubicBezTo>
                    <a:lnTo>
                      <a:pt x="333030" y="105392"/>
                    </a:lnTo>
                    <a:cubicBezTo>
                      <a:pt x="330173" y="107773"/>
                      <a:pt x="330173" y="107773"/>
                      <a:pt x="328458" y="108249"/>
                    </a:cubicBezTo>
                    <a:lnTo>
                      <a:pt x="327315" y="108249"/>
                    </a:lnTo>
                    <a:cubicBezTo>
                      <a:pt x="327315" y="108249"/>
                      <a:pt x="323124" y="111107"/>
                      <a:pt x="322457" y="113583"/>
                    </a:cubicBezTo>
                    <a:lnTo>
                      <a:pt x="323505" y="114155"/>
                    </a:lnTo>
                    <a:cubicBezTo>
                      <a:pt x="315028" y="119013"/>
                      <a:pt x="315028" y="119013"/>
                      <a:pt x="313980" y="119108"/>
                    </a:cubicBezTo>
                    <a:cubicBezTo>
                      <a:pt x="311028" y="119108"/>
                      <a:pt x="310456" y="119679"/>
                      <a:pt x="309980" y="121203"/>
                    </a:cubicBezTo>
                    <a:cubicBezTo>
                      <a:pt x="311628" y="121394"/>
                      <a:pt x="313285" y="121394"/>
                      <a:pt x="314933" y="121203"/>
                    </a:cubicBezTo>
                    <a:cubicBezTo>
                      <a:pt x="311675" y="122518"/>
                      <a:pt x="308503" y="124013"/>
                      <a:pt x="305408" y="125680"/>
                    </a:cubicBezTo>
                    <a:cubicBezTo>
                      <a:pt x="308360" y="125680"/>
                      <a:pt x="308551" y="126918"/>
                      <a:pt x="308741" y="127871"/>
                    </a:cubicBezTo>
                    <a:cubicBezTo>
                      <a:pt x="305884" y="129109"/>
                      <a:pt x="302264" y="127013"/>
                      <a:pt x="299788" y="129966"/>
                    </a:cubicBezTo>
                    <a:lnTo>
                      <a:pt x="299788" y="131204"/>
                    </a:lnTo>
                    <a:cubicBezTo>
                      <a:pt x="301788" y="131681"/>
                      <a:pt x="303884" y="131204"/>
                      <a:pt x="305884" y="131681"/>
                    </a:cubicBezTo>
                    <a:cubicBezTo>
                      <a:pt x="293787" y="137586"/>
                      <a:pt x="293787" y="137586"/>
                      <a:pt x="293216" y="139682"/>
                    </a:cubicBezTo>
                    <a:lnTo>
                      <a:pt x="299026" y="137205"/>
                    </a:lnTo>
                    <a:cubicBezTo>
                      <a:pt x="296359" y="139110"/>
                      <a:pt x="296073" y="139301"/>
                      <a:pt x="295025" y="140920"/>
                    </a:cubicBezTo>
                    <a:cubicBezTo>
                      <a:pt x="295197" y="141682"/>
                      <a:pt x="295635" y="142358"/>
                      <a:pt x="296264" y="142825"/>
                    </a:cubicBezTo>
                    <a:cubicBezTo>
                      <a:pt x="294835" y="143301"/>
                      <a:pt x="290549" y="144825"/>
                      <a:pt x="290072" y="149016"/>
                    </a:cubicBezTo>
                    <a:cubicBezTo>
                      <a:pt x="292454" y="148540"/>
                      <a:pt x="292454" y="148540"/>
                      <a:pt x="293501" y="149016"/>
                    </a:cubicBezTo>
                    <a:cubicBezTo>
                      <a:pt x="292454" y="149778"/>
                      <a:pt x="291339" y="150454"/>
                      <a:pt x="290168" y="151017"/>
                    </a:cubicBezTo>
                    <a:lnTo>
                      <a:pt x="290168" y="152159"/>
                    </a:lnTo>
                    <a:lnTo>
                      <a:pt x="291215" y="152159"/>
                    </a:lnTo>
                    <a:cubicBezTo>
                      <a:pt x="287215" y="153969"/>
                      <a:pt x="287215" y="153969"/>
                      <a:pt x="286263" y="155874"/>
                    </a:cubicBezTo>
                    <a:lnTo>
                      <a:pt x="284738" y="155874"/>
                    </a:lnTo>
                    <a:lnTo>
                      <a:pt x="284738" y="155874"/>
                    </a:lnTo>
                    <a:cubicBezTo>
                      <a:pt x="284738" y="155874"/>
                      <a:pt x="283024" y="160827"/>
                      <a:pt x="282167" y="163780"/>
                    </a:cubicBezTo>
                    <a:lnTo>
                      <a:pt x="282833" y="164542"/>
                    </a:lnTo>
                    <a:cubicBezTo>
                      <a:pt x="279595" y="171114"/>
                      <a:pt x="279595" y="171114"/>
                      <a:pt x="280357" y="173210"/>
                    </a:cubicBezTo>
                    <a:cubicBezTo>
                      <a:pt x="279833" y="173753"/>
                      <a:pt x="279385" y="174353"/>
                      <a:pt x="279023" y="175020"/>
                    </a:cubicBezTo>
                    <a:lnTo>
                      <a:pt x="280166" y="175020"/>
                    </a:lnTo>
                    <a:cubicBezTo>
                      <a:pt x="278262" y="179592"/>
                      <a:pt x="278262" y="179592"/>
                      <a:pt x="278547" y="180449"/>
                    </a:cubicBezTo>
                    <a:lnTo>
                      <a:pt x="279595" y="180449"/>
                    </a:lnTo>
                    <a:cubicBezTo>
                      <a:pt x="277976" y="183402"/>
                      <a:pt x="277976" y="183402"/>
                      <a:pt x="277880" y="183878"/>
                    </a:cubicBezTo>
                    <a:cubicBezTo>
                      <a:pt x="281205" y="184202"/>
                      <a:pt x="284548" y="183430"/>
                      <a:pt x="287405" y="181687"/>
                    </a:cubicBezTo>
                    <a:lnTo>
                      <a:pt x="288548" y="182354"/>
                    </a:lnTo>
                    <a:cubicBezTo>
                      <a:pt x="283881" y="184640"/>
                      <a:pt x="283881" y="185497"/>
                      <a:pt x="283881" y="187497"/>
                    </a:cubicBezTo>
                    <a:lnTo>
                      <a:pt x="284929" y="187497"/>
                    </a:lnTo>
                    <a:cubicBezTo>
                      <a:pt x="284634" y="188212"/>
                      <a:pt x="284377" y="188945"/>
                      <a:pt x="284167" y="189688"/>
                    </a:cubicBezTo>
                    <a:lnTo>
                      <a:pt x="286358" y="188450"/>
                    </a:lnTo>
                    <a:cubicBezTo>
                      <a:pt x="283596" y="192450"/>
                      <a:pt x="284167" y="192927"/>
                      <a:pt x="286358" y="194165"/>
                    </a:cubicBezTo>
                    <a:lnTo>
                      <a:pt x="287310" y="193212"/>
                    </a:lnTo>
                    <a:lnTo>
                      <a:pt x="288358" y="193212"/>
                    </a:lnTo>
                    <a:lnTo>
                      <a:pt x="288358" y="194450"/>
                    </a:lnTo>
                    <a:cubicBezTo>
                      <a:pt x="290454" y="194450"/>
                      <a:pt x="290454" y="194450"/>
                      <a:pt x="291692" y="193974"/>
                    </a:cubicBezTo>
                    <a:cubicBezTo>
                      <a:pt x="292644" y="188926"/>
                      <a:pt x="299312" y="188545"/>
                      <a:pt x="300264" y="183497"/>
                    </a:cubicBezTo>
                    <a:cubicBezTo>
                      <a:pt x="301217" y="178449"/>
                      <a:pt x="306074" y="179115"/>
                      <a:pt x="307884" y="175877"/>
                    </a:cubicBezTo>
                    <a:cubicBezTo>
                      <a:pt x="309694" y="172638"/>
                      <a:pt x="307313" y="171781"/>
                      <a:pt x="307884" y="169686"/>
                    </a:cubicBezTo>
                    <a:cubicBezTo>
                      <a:pt x="308741" y="170352"/>
                      <a:pt x="309122" y="171495"/>
                      <a:pt x="309980" y="172067"/>
                    </a:cubicBezTo>
                    <a:cubicBezTo>
                      <a:pt x="310837" y="172638"/>
                      <a:pt x="312837" y="171305"/>
                      <a:pt x="313599" y="167304"/>
                    </a:cubicBezTo>
                    <a:lnTo>
                      <a:pt x="314838" y="167304"/>
                    </a:lnTo>
                    <a:cubicBezTo>
                      <a:pt x="314838" y="167304"/>
                      <a:pt x="314838" y="167304"/>
                      <a:pt x="316933" y="163971"/>
                    </a:cubicBezTo>
                    <a:cubicBezTo>
                      <a:pt x="317981" y="163971"/>
                      <a:pt x="323315" y="163209"/>
                      <a:pt x="322172" y="158351"/>
                    </a:cubicBezTo>
                    <a:lnTo>
                      <a:pt x="322838" y="157398"/>
                    </a:lnTo>
                    <a:lnTo>
                      <a:pt x="324743" y="158541"/>
                    </a:lnTo>
                    <a:cubicBezTo>
                      <a:pt x="326401" y="156722"/>
                      <a:pt x="327429" y="154417"/>
                      <a:pt x="327696" y="151969"/>
                    </a:cubicBezTo>
                    <a:cubicBezTo>
                      <a:pt x="330620" y="150778"/>
                      <a:pt x="333211" y="148883"/>
                      <a:pt x="335221" y="146445"/>
                    </a:cubicBezTo>
                    <a:lnTo>
                      <a:pt x="335221" y="147873"/>
                    </a:lnTo>
                    <a:lnTo>
                      <a:pt x="335983" y="148730"/>
                    </a:lnTo>
                    <a:lnTo>
                      <a:pt x="339317" y="148730"/>
                    </a:lnTo>
                    <a:cubicBezTo>
                      <a:pt x="339936" y="147340"/>
                      <a:pt x="340774" y="146054"/>
                      <a:pt x="341793" y="144921"/>
                    </a:cubicBezTo>
                    <a:cubicBezTo>
                      <a:pt x="348747" y="139205"/>
                      <a:pt x="348747" y="139205"/>
                      <a:pt x="351318" y="139491"/>
                    </a:cubicBezTo>
                    <a:cubicBezTo>
                      <a:pt x="347032" y="142254"/>
                      <a:pt x="344174" y="144159"/>
                      <a:pt x="343413" y="146921"/>
                    </a:cubicBezTo>
                    <a:cubicBezTo>
                      <a:pt x="344841" y="146921"/>
                      <a:pt x="344841" y="146921"/>
                      <a:pt x="349889" y="144635"/>
                    </a:cubicBezTo>
                    <a:lnTo>
                      <a:pt x="349889" y="145778"/>
                    </a:lnTo>
                    <a:cubicBezTo>
                      <a:pt x="353318" y="145778"/>
                      <a:pt x="353318" y="145778"/>
                      <a:pt x="354652" y="145111"/>
                    </a:cubicBezTo>
                    <a:cubicBezTo>
                      <a:pt x="354528" y="144225"/>
                      <a:pt x="354528" y="143330"/>
                      <a:pt x="354652" y="142444"/>
                    </a:cubicBezTo>
                    <a:cubicBezTo>
                      <a:pt x="363415" y="142444"/>
                      <a:pt x="367701" y="137396"/>
                      <a:pt x="367892" y="134157"/>
                    </a:cubicBezTo>
                    <a:lnTo>
                      <a:pt x="378274" y="125585"/>
                    </a:lnTo>
                    <a:cubicBezTo>
                      <a:pt x="378274" y="125585"/>
                      <a:pt x="379322" y="125585"/>
                      <a:pt x="379798" y="125585"/>
                    </a:cubicBezTo>
                    <a:cubicBezTo>
                      <a:pt x="379598" y="126433"/>
                      <a:pt x="379436" y="127290"/>
                      <a:pt x="379322" y="128157"/>
                    </a:cubicBezTo>
                    <a:cubicBezTo>
                      <a:pt x="385522" y="128718"/>
                      <a:pt x="391771" y="128204"/>
                      <a:pt x="397800" y="126633"/>
                    </a:cubicBezTo>
                    <a:cubicBezTo>
                      <a:pt x="405268" y="123251"/>
                      <a:pt x="412555" y="119460"/>
                      <a:pt x="419613" y="115298"/>
                    </a:cubicBezTo>
                    <a:cubicBezTo>
                      <a:pt x="414383" y="114383"/>
                      <a:pt x="409030" y="114383"/>
                      <a:pt x="403801" y="115298"/>
                    </a:cubicBezTo>
                    <a:lnTo>
                      <a:pt x="399324" y="115298"/>
                    </a:lnTo>
                    <a:lnTo>
                      <a:pt x="399324" y="114345"/>
                    </a:lnTo>
                    <a:cubicBezTo>
                      <a:pt x="407039" y="112059"/>
                      <a:pt x="407039" y="112059"/>
                      <a:pt x="407421" y="111583"/>
                    </a:cubicBezTo>
                    <a:cubicBezTo>
                      <a:pt x="405515" y="111012"/>
                      <a:pt x="403515" y="111583"/>
                      <a:pt x="401610" y="110916"/>
                    </a:cubicBezTo>
                    <a:lnTo>
                      <a:pt x="401610" y="109773"/>
                    </a:lnTo>
                    <a:cubicBezTo>
                      <a:pt x="404468" y="109773"/>
                      <a:pt x="404468" y="109773"/>
                      <a:pt x="404754" y="109202"/>
                    </a:cubicBezTo>
                    <a:lnTo>
                      <a:pt x="404754" y="108059"/>
                    </a:lnTo>
                    <a:cubicBezTo>
                      <a:pt x="413612" y="104820"/>
                      <a:pt x="413612" y="104820"/>
                      <a:pt x="413707" y="103582"/>
                    </a:cubicBezTo>
                    <a:cubicBezTo>
                      <a:pt x="411897" y="102915"/>
                      <a:pt x="411897" y="102915"/>
                      <a:pt x="409040" y="103582"/>
                    </a:cubicBezTo>
                    <a:lnTo>
                      <a:pt x="409040" y="102534"/>
                    </a:lnTo>
                    <a:cubicBezTo>
                      <a:pt x="407230" y="100820"/>
                      <a:pt x="407230" y="100820"/>
                      <a:pt x="406944" y="99963"/>
                    </a:cubicBezTo>
                    <a:cubicBezTo>
                      <a:pt x="416469" y="97962"/>
                      <a:pt x="416469" y="107297"/>
                      <a:pt x="415898" y="111774"/>
                    </a:cubicBezTo>
                    <a:cubicBezTo>
                      <a:pt x="418470" y="111774"/>
                      <a:pt x="418470" y="111774"/>
                      <a:pt x="419136" y="111774"/>
                    </a:cubicBezTo>
                    <a:cubicBezTo>
                      <a:pt x="419365" y="111050"/>
                      <a:pt x="419651" y="110354"/>
                      <a:pt x="419993" y="109678"/>
                    </a:cubicBezTo>
                    <a:cubicBezTo>
                      <a:pt x="420622" y="110145"/>
                      <a:pt x="421108" y="110773"/>
                      <a:pt x="421422" y="111488"/>
                    </a:cubicBezTo>
                    <a:cubicBezTo>
                      <a:pt x="427709" y="113202"/>
                      <a:pt x="425994" y="106916"/>
                      <a:pt x="425994" y="106916"/>
                    </a:cubicBezTo>
                    <a:cubicBezTo>
                      <a:pt x="428185" y="103201"/>
                      <a:pt x="428852" y="102058"/>
                      <a:pt x="426947" y="99963"/>
                    </a:cubicBezTo>
                    <a:lnTo>
                      <a:pt x="425899" y="99963"/>
                    </a:lnTo>
                    <a:cubicBezTo>
                      <a:pt x="425137" y="99010"/>
                      <a:pt x="424851" y="97772"/>
                      <a:pt x="424089" y="96915"/>
                    </a:cubicBezTo>
                    <a:cubicBezTo>
                      <a:pt x="423337" y="96905"/>
                      <a:pt x="422594" y="96743"/>
                      <a:pt x="421898" y="96438"/>
                    </a:cubicBezTo>
                    <a:cubicBezTo>
                      <a:pt x="421898" y="95743"/>
                      <a:pt x="421737" y="95057"/>
                      <a:pt x="421422" y="94438"/>
                    </a:cubicBezTo>
                    <a:cubicBezTo>
                      <a:pt x="421422" y="94438"/>
                      <a:pt x="421422" y="94438"/>
                      <a:pt x="418184" y="95009"/>
                    </a:cubicBezTo>
                    <a:lnTo>
                      <a:pt x="418184" y="93771"/>
                    </a:lnTo>
                    <a:lnTo>
                      <a:pt x="417231" y="93771"/>
                    </a:lnTo>
                    <a:cubicBezTo>
                      <a:pt x="417993" y="93295"/>
                      <a:pt x="417993" y="93295"/>
                      <a:pt x="420374" y="93009"/>
                    </a:cubicBezTo>
                    <a:lnTo>
                      <a:pt x="420374" y="91962"/>
                    </a:lnTo>
                    <a:cubicBezTo>
                      <a:pt x="418088" y="89675"/>
                      <a:pt x="418088" y="89675"/>
                      <a:pt x="417993" y="89295"/>
                    </a:cubicBezTo>
                    <a:lnTo>
                      <a:pt x="419041" y="89295"/>
                    </a:lnTo>
                    <a:lnTo>
                      <a:pt x="419613" y="86818"/>
                    </a:lnTo>
                    <a:cubicBezTo>
                      <a:pt x="421708" y="89009"/>
                      <a:pt x="421708" y="89009"/>
                      <a:pt x="424661" y="87866"/>
                    </a:cubicBezTo>
                    <a:lnTo>
                      <a:pt x="425518" y="88437"/>
                    </a:lnTo>
                    <a:cubicBezTo>
                      <a:pt x="426280" y="86913"/>
                      <a:pt x="425518" y="85104"/>
                      <a:pt x="426375" y="83484"/>
                    </a:cubicBezTo>
                    <a:lnTo>
                      <a:pt x="428756" y="83484"/>
                    </a:lnTo>
                    <a:cubicBezTo>
                      <a:pt x="429328" y="83980"/>
                      <a:pt x="429785" y="84599"/>
                      <a:pt x="430090" y="85294"/>
                    </a:cubicBezTo>
                    <a:cubicBezTo>
                      <a:pt x="435043" y="86723"/>
                      <a:pt x="435043" y="86723"/>
                      <a:pt x="435519" y="87199"/>
                    </a:cubicBezTo>
                    <a:lnTo>
                      <a:pt x="434281" y="87675"/>
                    </a:lnTo>
                    <a:lnTo>
                      <a:pt x="434281" y="88723"/>
                    </a:lnTo>
                    <a:cubicBezTo>
                      <a:pt x="436948" y="88723"/>
                      <a:pt x="443234" y="89199"/>
                      <a:pt x="443806" y="83770"/>
                    </a:cubicBezTo>
                    <a:cubicBezTo>
                      <a:pt x="441901" y="82817"/>
                      <a:pt x="439710" y="82913"/>
                      <a:pt x="437710" y="82055"/>
                    </a:cubicBezTo>
                    <a:cubicBezTo>
                      <a:pt x="440187" y="81008"/>
                      <a:pt x="442187" y="78912"/>
                      <a:pt x="445044" y="78817"/>
                    </a:cubicBezTo>
                    <a:cubicBezTo>
                      <a:pt x="447616" y="81389"/>
                      <a:pt x="447616" y="81389"/>
                      <a:pt x="448759" y="81770"/>
                    </a:cubicBezTo>
                    <a:cubicBezTo>
                      <a:pt x="450569" y="80246"/>
                      <a:pt x="450569" y="80246"/>
                      <a:pt x="450664" y="79198"/>
                    </a:cubicBezTo>
                    <a:lnTo>
                      <a:pt x="446663" y="77865"/>
                    </a:lnTo>
                    <a:cubicBezTo>
                      <a:pt x="446425" y="77122"/>
                      <a:pt x="446425" y="76322"/>
                      <a:pt x="446663" y="75579"/>
                    </a:cubicBezTo>
                    <a:cubicBezTo>
                      <a:pt x="446178" y="74969"/>
                      <a:pt x="445844" y="74254"/>
                      <a:pt x="445711" y="73483"/>
                    </a:cubicBezTo>
                    <a:cubicBezTo>
                      <a:pt x="448759" y="73483"/>
                      <a:pt x="449330" y="74245"/>
                      <a:pt x="449997" y="75198"/>
                    </a:cubicBezTo>
                    <a:cubicBezTo>
                      <a:pt x="451416" y="73207"/>
                      <a:pt x="452121" y="70787"/>
                      <a:pt x="451997" y="68340"/>
                    </a:cubicBezTo>
                    <a:cubicBezTo>
                      <a:pt x="446759" y="67387"/>
                      <a:pt x="449045" y="64339"/>
                      <a:pt x="449807" y="63387"/>
                    </a:cubicBezTo>
                    <a:cubicBezTo>
                      <a:pt x="451331" y="64625"/>
                      <a:pt x="451331" y="64625"/>
                      <a:pt x="454188" y="63863"/>
                    </a:cubicBezTo>
                    <a:cubicBezTo>
                      <a:pt x="454188" y="62910"/>
                      <a:pt x="454188" y="62910"/>
                      <a:pt x="452474" y="61196"/>
                    </a:cubicBezTo>
                    <a:cubicBezTo>
                      <a:pt x="453903" y="60624"/>
                      <a:pt x="453903" y="60624"/>
                      <a:pt x="458093" y="65101"/>
                    </a:cubicBezTo>
                    <a:cubicBezTo>
                      <a:pt x="461141" y="65101"/>
                      <a:pt x="461713" y="63005"/>
                      <a:pt x="462189" y="61291"/>
                    </a:cubicBezTo>
                    <a:lnTo>
                      <a:pt x="461618" y="60338"/>
                    </a:lnTo>
                    <a:cubicBezTo>
                      <a:pt x="460932" y="60367"/>
                      <a:pt x="460265" y="60605"/>
                      <a:pt x="459713" y="61005"/>
                    </a:cubicBezTo>
                    <a:lnTo>
                      <a:pt x="458474" y="61005"/>
                    </a:lnTo>
                    <a:lnTo>
                      <a:pt x="458474" y="59767"/>
                    </a:lnTo>
                    <a:lnTo>
                      <a:pt x="457331" y="59767"/>
                    </a:lnTo>
                    <a:lnTo>
                      <a:pt x="457331" y="58910"/>
                    </a:lnTo>
                    <a:cubicBezTo>
                      <a:pt x="457903" y="57576"/>
                      <a:pt x="457998" y="57386"/>
                      <a:pt x="459903" y="56909"/>
                    </a:cubicBezTo>
                    <a:cubicBezTo>
                      <a:pt x="460532" y="57386"/>
                      <a:pt x="461084" y="57967"/>
                      <a:pt x="461522" y="58624"/>
                    </a:cubicBezTo>
                    <a:lnTo>
                      <a:pt x="462380" y="57957"/>
                    </a:lnTo>
                    <a:cubicBezTo>
                      <a:pt x="462380" y="57005"/>
                      <a:pt x="462380" y="55767"/>
                      <a:pt x="462380" y="54814"/>
                    </a:cubicBezTo>
                    <a:cubicBezTo>
                      <a:pt x="461722" y="54300"/>
                      <a:pt x="460979" y="53919"/>
                      <a:pt x="460189" y="53671"/>
                    </a:cubicBezTo>
                    <a:lnTo>
                      <a:pt x="460189" y="52528"/>
                    </a:lnTo>
                    <a:cubicBezTo>
                      <a:pt x="465837" y="49194"/>
                      <a:pt x="471133" y="45299"/>
                      <a:pt x="476000" y="40908"/>
                    </a:cubicBezTo>
                    <a:cubicBezTo>
                      <a:pt x="474953" y="40908"/>
                      <a:pt x="474953" y="40908"/>
                      <a:pt x="472667" y="41479"/>
                    </a:cubicBezTo>
                    <a:lnTo>
                      <a:pt x="471714" y="41479"/>
                    </a:lnTo>
                    <a:lnTo>
                      <a:pt x="472381" y="40336"/>
                    </a:lnTo>
                    <a:cubicBezTo>
                      <a:pt x="474000" y="40336"/>
                      <a:pt x="475524" y="40336"/>
                      <a:pt x="477143" y="40336"/>
                    </a:cubicBezTo>
                    <a:lnTo>
                      <a:pt x="477143" y="39288"/>
                    </a:lnTo>
                    <a:lnTo>
                      <a:pt x="475238" y="39288"/>
                    </a:lnTo>
                    <a:lnTo>
                      <a:pt x="474286" y="39288"/>
                    </a:lnTo>
                    <a:cubicBezTo>
                      <a:pt x="479525" y="36431"/>
                      <a:pt x="486097" y="37955"/>
                      <a:pt x="491050" y="34335"/>
                    </a:cubicBezTo>
                    <a:cubicBezTo>
                      <a:pt x="492764" y="32049"/>
                      <a:pt x="492764" y="32049"/>
                      <a:pt x="479048" y="34335"/>
                    </a:cubicBezTo>
                    <a:lnTo>
                      <a:pt x="478096" y="33383"/>
                    </a:lnTo>
                    <a:lnTo>
                      <a:pt x="477143" y="33954"/>
                    </a:lnTo>
                    <a:cubicBezTo>
                      <a:pt x="476543" y="33526"/>
                      <a:pt x="476077" y="32926"/>
                      <a:pt x="475810" y="32240"/>
                    </a:cubicBezTo>
                    <a:cubicBezTo>
                      <a:pt x="475810" y="32240"/>
                      <a:pt x="466285" y="39383"/>
                      <a:pt x="463142" y="38812"/>
                    </a:cubicBezTo>
                    <a:cubicBezTo>
                      <a:pt x="466952" y="35383"/>
                      <a:pt x="476763" y="35574"/>
                      <a:pt x="474572" y="28716"/>
                    </a:cubicBezTo>
                    <a:cubicBezTo>
                      <a:pt x="468571" y="27287"/>
                      <a:pt x="465047" y="32525"/>
                      <a:pt x="459903" y="33954"/>
                    </a:cubicBezTo>
                    <a:cubicBezTo>
                      <a:pt x="461904" y="32240"/>
                      <a:pt x="464666" y="31859"/>
                      <a:pt x="466761" y="30240"/>
                    </a:cubicBezTo>
                    <a:lnTo>
                      <a:pt x="466761" y="29096"/>
                    </a:lnTo>
                    <a:cubicBezTo>
                      <a:pt x="465428" y="29096"/>
                      <a:pt x="453331" y="31859"/>
                      <a:pt x="450759" y="32145"/>
                    </a:cubicBezTo>
                    <a:cubicBezTo>
                      <a:pt x="452855" y="29192"/>
                      <a:pt x="456950" y="29478"/>
                      <a:pt x="459141" y="26811"/>
                    </a:cubicBezTo>
                    <a:cubicBezTo>
                      <a:pt x="459141" y="26811"/>
                      <a:pt x="472381" y="29954"/>
                      <a:pt x="475048" y="25667"/>
                    </a:cubicBezTo>
                    <a:cubicBezTo>
                      <a:pt x="474324" y="25572"/>
                      <a:pt x="473581" y="25572"/>
                      <a:pt x="472857" y="25667"/>
                    </a:cubicBezTo>
                    <a:cubicBezTo>
                      <a:pt x="474667" y="23858"/>
                      <a:pt x="474667" y="23858"/>
                      <a:pt x="474953" y="22620"/>
                    </a:cubicBezTo>
                    <a:cubicBezTo>
                      <a:pt x="468447" y="21639"/>
                      <a:pt x="461799" y="22667"/>
                      <a:pt x="455903" y="25572"/>
                    </a:cubicBezTo>
                    <a:lnTo>
                      <a:pt x="455903" y="24429"/>
                    </a:lnTo>
                    <a:cubicBezTo>
                      <a:pt x="461141" y="22048"/>
                      <a:pt x="461141" y="22048"/>
                      <a:pt x="461237" y="21858"/>
                    </a:cubicBezTo>
                    <a:cubicBezTo>
                      <a:pt x="466037" y="22134"/>
                      <a:pt x="470857" y="21686"/>
                      <a:pt x="475524" y="20524"/>
                    </a:cubicBezTo>
                    <a:cubicBezTo>
                      <a:pt x="471714" y="18619"/>
                      <a:pt x="466952" y="20524"/>
                      <a:pt x="463332" y="17762"/>
                    </a:cubicBezTo>
                    <a:cubicBezTo>
                      <a:pt x="455426" y="19571"/>
                      <a:pt x="455426" y="19571"/>
                      <a:pt x="453807" y="21572"/>
                    </a:cubicBezTo>
                    <a:cubicBezTo>
                      <a:pt x="452940" y="22629"/>
                      <a:pt x="451378" y="22781"/>
                      <a:pt x="450321" y="21915"/>
                    </a:cubicBezTo>
                    <a:cubicBezTo>
                      <a:pt x="449807" y="21505"/>
                      <a:pt x="449492" y="20896"/>
                      <a:pt x="449426" y="20238"/>
                    </a:cubicBezTo>
                    <a:cubicBezTo>
                      <a:pt x="452283" y="17952"/>
                      <a:pt x="452283" y="17952"/>
                      <a:pt x="452379" y="17762"/>
                    </a:cubicBezTo>
                    <a:cubicBezTo>
                      <a:pt x="448949" y="17762"/>
                      <a:pt x="448568" y="18238"/>
                      <a:pt x="447140" y="19762"/>
                    </a:cubicBezTo>
                    <a:lnTo>
                      <a:pt x="446187" y="19762"/>
                    </a:lnTo>
                    <a:cubicBezTo>
                      <a:pt x="445330" y="19762"/>
                      <a:pt x="445330" y="19762"/>
                      <a:pt x="443615" y="22048"/>
                    </a:cubicBezTo>
                    <a:cubicBezTo>
                      <a:pt x="446854" y="23191"/>
                      <a:pt x="446854" y="23191"/>
                      <a:pt x="447045" y="23382"/>
                    </a:cubicBezTo>
                    <a:lnTo>
                      <a:pt x="447045" y="24429"/>
                    </a:lnTo>
                    <a:cubicBezTo>
                      <a:pt x="446444" y="24848"/>
                      <a:pt x="445759" y="25144"/>
                      <a:pt x="445044" y="25287"/>
                    </a:cubicBezTo>
                    <a:lnTo>
                      <a:pt x="445044" y="24048"/>
                    </a:lnTo>
                    <a:lnTo>
                      <a:pt x="442663" y="24048"/>
                    </a:lnTo>
                    <a:lnTo>
                      <a:pt x="442091" y="24905"/>
                    </a:lnTo>
                    <a:lnTo>
                      <a:pt x="441234" y="24239"/>
                    </a:lnTo>
                    <a:lnTo>
                      <a:pt x="436281" y="27573"/>
                    </a:lnTo>
                    <a:lnTo>
                      <a:pt x="436281" y="26525"/>
                    </a:lnTo>
                    <a:cubicBezTo>
                      <a:pt x="437996" y="23667"/>
                      <a:pt x="437996" y="23667"/>
                      <a:pt x="436948" y="22429"/>
                    </a:cubicBezTo>
                    <a:lnTo>
                      <a:pt x="436948" y="21286"/>
                    </a:lnTo>
                    <a:cubicBezTo>
                      <a:pt x="433519" y="21286"/>
                      <a:pt x="432281" y="24239"/>
                      <a:pt x="429899" y="25477"/>
                    </a:cubicBezTo>
                    <a:lnTo>
                      <a:pt x="429138" y="24620"/>
                    </a:lnTo>
                    <a:lnTo>
                      <a:pt x="427899" y="24620"/>
                    </a:lnTo>
                    <a:lnTo>
                      <a:pt x="427899" y="23572"/>
                    </a:lnTo>
                    <a:lnTo>
                      <a:pt x="425328" y="24620"/>
                    </a:lnTo>
                    <a:cubicBezTo>
                      <a:pt x="428375" y="21572"/>
                      <a:pt x="428375" y="21572"/>
                      <a:pt x="428756" y="20905"/>
                    </a:cubicBezTo>
                    <a:close/>
                    <a:moveTo>
                      <a:pt x="467809" y="51671"/>
                    </a:moveTo>
                    <a:lnTo>
                      <a:pt x="467809" y="52147"/>
                    </a:lnTo>
                    <a:cubicBezTo>
                      <a:pt x="467752" y="52338"/>
                      <a:pt x="467752" y="52528"/>
                      <a:pt x="467809" y="52719"/>
                    </a:cubicBezTo>
                    <a:lnTo>
                      <a:pt x="467809" y="52719"/>
                    </a:lnTo>
                    <a:lnTo>
                      <a:pt x="468380" y="52242"/>
                    </a:lnTo>
                    <a:lnTo>
                      <a:pt x="469333" y="51290"/>
                    </a:lnTo>
                    <a:cubicBezTo>
                      <a:pt x="469333" y="51290"/>
                      <a:pt x="469333" y="51290"/>
                      <a:pt x="469333" y="51290"/>
                    </a:cubicBezTo>
                    <a:cubicBezTo>
                      <a:pt x="469333" y="51290"/>
                      <a:pt x="469333" y="51290"/>
                      <a:pt x="469333" y="51290"/>
                    </a:cubicBezTo>
                    <a:cubicBezTo>
                      <a:pt x="469019" y="51214"/>
                      <a:pt x="468695" y="51214"/>
                      <a:pt x="468380" y="51290"/>
                    </a:cubicBezTo>
                    <a:close/>
                    <a:moveTo>
                      <a:pt x="469047" y="48051"/>
                    </a:moveTo>
                    <a:cubicBezTo>
                      <a:pt x="468676" y="48127"/>
                      <a:pt x="468342" y="48328"/>
                      <a:pt x="468095" y="48623"/>
                    </a:cubicBezTo>
                    <a:lnTo>
                      <a:pt x="467523" y="49099"/>
                    </a:lnTo>
                    <a:lnTo>
                      <a:pt x="466856" y="49385"/>
                    </a:lnTo>
                    <a:lnTo>
                      <a:pt x="466856" y="49385"/>
                    </a:lnTo>
                    <a:lnTo>
                      <a:pt x="466856" y="49385"/>
                    </a:lnTo>
                    <a:cubicBezTo>
                      <a:pt x="467066" y="49471"/>
                      <a:pt x="467314" y="49471"/>
                      <a:pt x="467523" y="49385"/>
                    </a:cubicBezTo>
                    <a:cubicBezTo>
                      <a:pt x="468257" y="49004"/>
                      <a:pt x="468962" y="48556"/>
                      <a:pt x="469619" y="48051"/>
                    </a:cubicBezTo>
                    <a:lnTo>
                      <a:pt x="469619" y="48051"/>
                    </a:lnTo>
                    <a:cubicBezTo>
                      <a:pt x="469619" y="48051"/>
                      <a:pt x="469523" y="47766"/>
                      <a:pt x="469047" y="47670"/>
                    </a:cubicBezTo>
                    <a:close/>
                    <a:moveTo>
                      <a:pt x="444663" y="18429"/>
                    </a:moveTo>
                    <a:lnTo>
                      <a:pt x="444663" y="18429"/>
                    </a:lnTo>
                    <a:cubicBezTo>
                      <a:pt x="443806" y="18429"/>
                      <a:pt x="441044" y="20810"/>
                      <a:pt x="441234" y="21191"/>
                    </a:cubicBezTo>
                    <a:lnTo>
                      <a:pt x="442949" y="20048"/>
                    </a:lnTo>
                    <a:cubicBezTo>
                      <a:pt x="443606" y="19467"/>
                      <a:pt x="444187" y="18790"/>
                      <a:pt x="444663" y="18048"/>
                    </a:cubicBezTo>
                    <a:close/>
                    <a:moveTo>
                      <a:pt x="463713" y="55100"/>
                    </a:moveTo>
                    <a:cubicBezTo>
                      <a:pt x="463713" y="55576"/>
                      <a:pt x="465142" y="55100"/>
                      <a:pt x="465332" y="55100"/>
                    </a:cubicBezTo>
                    <a:cubicBezTo>
                      <a:pt x="465523" y="55100"/>
                      <a:pt x="465332" y="54338"/>
                      <a:pt x="465332" y="54147"/>
                    </a:cubicBezTo>
                    <a:lnTo>
                      <a:pt x="465332" y="54147"/>
                    </a:lnTo>
                    <a:lnTo>
                      <a:pt x="464666" y="54147"/>
                    </a:lnTo>
                    <a:cubicBezTo>
                      <a:pt x="464666" y="54147"/>
                      <a:pt x="464666" y="54147"/>
                      <a:pt x="464666" y="54814"/>
                    </a:cubicBezTo>
                    <a:lnTo>
                      <a:pt x="464666" y="54814"/>
                    </a:lnTo>
                    <a:cubicBezTo>
                      <a:pt x="464666" y="54814"/>
                      <a:pt x="464666" y="54814"/>
                      <a:pt x="464666" y="54814"/>
                    </a:cubicBezTo>
                    <a:lnTo>
                      <a:pt x="464666" y="54814"/>
                    </a:lnTo>
                    <a:close/>
                    <a:moveTo>
                      <a:pt x="267879" y="129490"/>
                    </a:moveTo>
                    <a:lnTo>
                      <a:pt x="267879" y="129014"/>
                    </a:lnTo>
                    <a:lnTo>
                      <a:pt x="266070" y="129014"/>
                    </a:lnTo>
                    <a:cubicBezTo>
                      <a:pt x="266070" y="128442"/>
                      <a:pt x="266070" y="128442"/>
                      <a:pt x="267403" y="126061"/>
                    </a:cubicBezTo>
                    <a:cubicBezTo>
                      <a:pt x="263688" y="126061"/>
                      <a:pt x="263593" y="130062"/>
                      <a:pt x="261021" y="131300"/>
                    </a:cubicBezTo>
                    <a:cubicBezTo>
                      <a:pt x="260459" y="131052"/>
                      <a:pt x="259926" y="130766"/>
                      <a:pt x="259402" y="130442"/>
                    </a:cubicBezTo>
                    <a:cubicBezTo>
                      <a:pt x="258545" y="130442"/>
                      <a:pt x="258449" y="131967"/>
                      <a:pt x="257973" y="132633"/>
                    </a:cubicBezTo>
                    <a:cubicBezTo>
                      <a:pt x="258173" y="133024"/>
                      <a:pt x="258430" y="133376"/>
                      <a:pt x="258735" y="133681"/>
                    </a:cubicBezTo>
                    <a:cubicBezTo>
                      <a:pt x="257744" y="134681"/>
                      <a:pt x="256878" y="135805"/>
                      <a:pt x="256163" y="137015"/>
                    </a:cubicBezTo>
                    <a:lnTo>
                      <a:pt x="256163" y="137586"/>
                    </a:lnTo>
                    <a:cubicBezTo>
                      <a:pt x="251782" y="153303"/>
                      <a:pt x="245400" y="155970"/>
                      <a:pt x="245305" y="155970"/>
                    </a:cubicBezTo>
                    <a:lnTo>
                      <a:pt x="245305" y="154160"/>
                    </a:lnTo>
                    <a:cubicBezTo>
                      <a:pt x="244162" y="154636"/>
                      <a:pt x="243781" y="155874"/>
                      <a:pt x="242829" y="156446"/>
                    </a:cubicBezTo>
                    <a:cubicBezTo>
                      <a:pt x="241876" y="157017"/>
                      <a:pt x="242352" y="156446"/>
                      <a:pt x="240257" y="158255"/>
                    </a:cubicBezTo>
                    <a:cubicBezTo>
                      <a:pt x="237590" y="155874"/>
                      <a:pt x="240257" y="152350"/>
                      <a:pt x="238256" y="149683"/>
                    </a:cubicBezTo>
                    <a:cubicBezTo>
                      <a:pt x="237399" y="150350"/>
                      <a:pt x="237304" y="150445"/>
                      <a:pt x="235589" y="153303"/>
                    </a:cubicBezTo>
                    <a:cubicBezTo>
                      <a:pt x="235589" y="154255"/>
                      <a:pt x="235113" y="155398"/>
                      <a:pt x="235589" y="156350"/>
                    </a:cubicBezTo>
                    <a:cubicBezTo>
                      <a:pt x="233780" y="163494"/>
                      <a:pt x="233780" y="163494"/>
                      <a:pt x="231017" y="165209"/>
                    </a:cubicBezTo>
                    <a:cubicBezTo>
                      <a:pt x="229398" y="164256"/>
                      <a:pt x="229303" y="162161"/>
                      <a:pt x="227779" y="161113"/>
                    </a:cubicBezTo>
                    <a:cubicBezTo>
                      <a:pt x="227779" y="158160"/>
                      <a:pt x="226160" y="155398"/>
                      <a:pt x="227207" y="152445"/>
                    </a:cubicBezTo>
                    <a:cubicBezTo>
                      <a:pt x="229493" y="145968"/>
                      <a:pt x="234256" y="141015"/>
                      <a:pt x="236732" y="134824"/>
                    </a:cubicBezTo>
                    <a:cubicBezTo>
                      <a:pt x="236732" y="134824"/>
                      <a:pt x="236732" y="134824"/>
                      <a:pt x="233780" y="137682"/>
                    </a:cubicBezTo>
                    <a:cubicBezTo>
                      <a:pt x="233780" y="134824"/>
                      <a:pt x="236542" y="133586"/>
                      <a:pt x="237590" y="131204"/>
                    </a:cubicBezTo>
                    <a:cubicBezTo>
                      <a:pt x="236828" y="130728"/>
                      <a:pt x="236828" y="130728"/>
                      <a:pt x="235589" y="131204"/>
                    </a:cubicBezTo>
                    <a:cubicBezTo>
                      <a:pt x="230446" y="140729"/>
                      <a:pt x="228446" y="138253"/>
                      <a:pt x="227779" y="136824"/>
                    </a:cubicBezTo>
                    <a:cubicBezTo>
                      <a:pt x="227112" y="135396"/>
                      <a:pt x="230541" y="130538"/>
                      <a:pt x="233780" y="130252"/>
                    </a:cubicBezTo>
                    <a:lnTo>
                      <a:pt x="234256" y="129395"/>
                    </a:lnTo>
                    <a:cubicBezTo>
                      <a:pt x="235780" y="127299"/>
                      <a:pt x="235780" y="127299"/>
                      <a:pt x="241114" y="127299"/>
                    </a:cubicBezTo>
                    <a:cubicBezTo>
                      <a:pt x="239685" y="128442"/>
                      <a:pt x="239590" y="128442"/>
                      <a:pt x="240066" y="129395"/>
                    </a:cubicBezTo>
                    <a:cubicBezTo>
                      <a:pt x="243114" y="129395"/>
                      <a:pt x="243114" y="129395"/>
                      <a:pt x="249591" y="122727"/>
                    </a:cubicBezTo>
                    <a:cubicBezTo>
                      <a:pt x="252734" y="119679"/>
                      <a:pt x="257402" y="119394"/>
                      <a:pt x="260831" y="116822"/>
                    </a:cubicBezTo>
                    <a:lnTo>
                      <a:pt x="276547" y="101487"/>
                    </a:lnTo>
                    <a:cubicBezTo>
                      <a:pt x="276547" y="101487"/>
                      <a:pt x="276547" y="101487"/>
                      <a:pt x="273499" y="101487"/>
                    </a:cubicBezTo>
                    <a:cubicBezTo>
                      <a:pt x="273499" y="101487"/>
                      <a:pt x="273499" y="101487"/>
                      <a:pt x="275309" y="98724"/>
                    </a:cubicBezTo>
                    <a:cubicBezTo>
                      <a:pt x="273737" y="99267"/>
                      <a:pt x="272204" y="99934"/>
                      <a:pt x="270737" y="100725"/>
                    </a:cubicBezTo>
                    <a:cubicBezTo>
                      <a:pt x="271975" y="95771"/>
                      <a:pt x="281214" y="97200"/>
                      <a:pt x="280262" y="91200"/>
                    </a:cubicBezTo>
                    <a:cubicBezTo>
                      <a:pt x="281500" y="89675"/>
                      <a:pt x="283405" y="88723"/>
                      <a:pt x="284357" y="86913"/>
                    </a:cubicBezTo>
                    <a:lnTo>
                      <a:pt x="283214" y="86913"/>
                    </a:lnTo>
                    <a:cubicBezTo>
                      <a:pt x="284577" y="85751"/>
                      <a:pt x="286015" y="84665"/>
                      <a:pt x="287501" y="83675"/>
                    </a:cubicBezTo>
                    <a:cubicBezTo>
                      <a:pt x="282643" y="83199"/>
                      <a:pt x="282357" y="89675"/>
                      <a:pt x="277976" y="90057"/>
                    </a:cubicBezTo>
                    <a:cubicBezTo>
                      <a:pt x="277404" y="89104"/>
                      <a:pt x="277404" y="89104"/>
                      <a:pt x="279309" y="86151"/>
                    </a:cubicBezTo>
                    <a:cubicBezTo>
                      <a:pt x="278262" y="86151"/>
                      <a:pt x="278262" y="86151"/>
                      <a:pt x="275975" y="87485"/>
                    </a:cubicBezTo>
                    <a:cubicBezTo>
                      <a:pt x="275975" y="86437"/>
                      <a:pt x="276833" y="85675"/>
                      <a:pt x="277214" y="84723"/>
                    </a:cubicBezTo>
                    <a:cubicBezTo>
                      <a:pt x="277595" y="83770"/>
                      <a:pt x="276642" y="83770"/>
                      <a:pt x="277214" y="83199"/>
                    </a:cubicBezTo>
                    <a:cubicBezTo>
                      <a:pt x="276623" y="83056"/>
                      <a:pt x="275995" y="83056"/>
                      <a:pt x="275404" y="83199"/>
                    </a:cubicBezTo>
                    <a:cubicBezTo>
                      <a:pt x="276452" y="81579"/>
                      <a:pt x="278166" y="80627"/>
                      <a:pt x="279214" y="79103"/>
                    </a:cubicBezTo>
                    <a:lnTo>
                      <a:pt x="279214" y="79103"/>
                    </a:lnTo>
                    <a:lnTo>
                      <a:pt x="279214" y="78627"/>
                    </a:lnTo>
                    <a:cubicBezTo>
                      <a:pt x="277785" y="78627"/>
                      <a:pt x="276642" y="79770"/>
                      <a:pt x="275309" y="80150"/>
                    </a:cubicBezTo>
                    <a:cubicBezTo>
                      <a:pt x="278347" y="77131"/>
                      <a:pt x="281700" y="74445"/>
                      <a:pt x="285310" y="72150"/>
                    </a:cubicBezTo>
                    <a:cubicBezTo>
                      <a:pt x="285310" y="73388"/>
                      <a:pt x="285310" y="73388"/>
                      <a:pt x="283786" y="74817"/>
                    </a:cubicBezTo>
                    <a:cubicBezTo>
                      <a:pt x="285120" y="74817"/>
                      <a:pt x="285500" y="74817"/>
                      <a:pt x="287215" y="72530"/>
                    </a:cubicBezTo>
                    <a:cubicBezTo>
                      <a:pt x="285405" y="68911"/>
                      <a:pt x="308075" y="57767"/>
                      <a:pt x="312647" y="55576"/>
                    </a:cubicBezTo>
                    <a:cubicBezTo>
                      <a:pt x="313218" y="55576"/>
                      <a:pt x="313218" y="55576"/>
                      <a:pt x="315885" y="54814"/>
                    </a:cubicBezTo>
                    <a:lnTo>
                      <a:pt x="316457" y="54814"/>
                    </a:lnTo>
                    <a:lnTo>
                      <a:pt x="317790" y="54814"/>
                    </a:lnTo>
                    <a:cubicBezTo>
                      <a:pt x="317600" y="55204"/>
                      <a:pt x="317600" y="55662"/>
                      <a:pt x="317790" y="56052"/>
                    </a:cubicBezTo>
                    <a:lnTo>
                      <a:pt x="318362" y="56052"/>
                    </a:lnTo>
                    <a:lnTo>
                      <a:pt x="309789" y="61291"/>
                    </a:lnTo>
                    <a:lnTo>
                      <a:pt x="309789" y="61958"/>
                    </a:lnTo>
                    <a:cubicBezTo>
                      <a:pt x="311599" y="61958"/>
                      <a:pt x="312361" y="60243"/>
                      <a:pt x="313790" y="59577"/>
                    </a:cubicBezTo>
                    <a:cubicBezTo>
                      <a:pt x="315304" y="59338"/>
                      <a:pt x="316847" y="59338"/>
                      <a:pt x="318362" y="59577"/>
                    </a:cubicBezTo>
                    <a:cubicBezTo>
                      <a:pt x="313218" y="65387"/>
                      <a:pt x="305408" y="67387"/>
                      <a:pt x="300074" y="72816"/>
                    </a:cubicBezTo>
                    <a:cubicBezTo>
                      <a:pt x="302541" y="72026"/>
                      <a:pt x="304855" y="70835"/>
                      <a:pt x="306932" y="69292"/>
                    </a:cubicBezTo>
                    <a:cubicBezTo>
                      <a:pt x="305503" y="70911"/>
                      <a:pt x="302455" y="70911"/>
                      <a:pt x="302360" y="73864"/>
                    </a:cubicBezTo>
                    <a:cubicBezTo>
                      <a:pt x="303007" y="73569"/>
                      <a:pt x="303589" y="73150"/>
                      <a:pt x="304074" y="72626"/>
                    </a:cubicBezTo>
                    <a:cubicBezTo>
                      <a:pt x="304484" y="72721"/>
                      <a:pt x="304903" y="72721"/>
                      <a:pt x="305313" y="72626"/>
                    </a:cubicBezTo>
                    <a:cubicBezTo>
                      <a:pt x="307789" y="68530"/>
                      <a:pt x="310742" y="69768"/>
                      <a:pt x="310742" y="69768"/>
                    </a:cubicBezTo>
                    <a:cubicBezTo>
                      <a:pt x="310742" y="69768"/>
                      <a:pt x="310742" y="70625"/>
                      <a:pt x="309599" y="71578"/>
                    </a:cubicBezTo>
                    <a:lnTo>
                      <a:pt x="309599" y="72245"/>
                    </a:lnTo>
                    <a:cubicBezTo>
                      <a:pt x="309599" y="72721"/>
                      <a:pt x="309599" y="72721"/>
                      <a:pt x="304836" y="75959"/>
                    </a:cubicBezTo>
                    <a:cubicBezTo>
                      <a:pt x="305655" y="75912"/>
                      <a:pt x="306465" y="75721"/>
                      <a:pt x="307217" y="75388"/>
                    </a:cubicBezTo>
                    <a:cubicBezTo>
                      <a:pt x="305693" y="77103"/>
                      <a:pt x="303503" y="77960"/>
                      <a:pt x="301883" y="79579"/>
                    </a:cubicBezTo>
                    <a:lnTo>
                      <a:pt x="302455" y="79579"/>
                    </a:lnTo>
                    <a:cubicBezTo>
                      <a:pt x="302103" y="80713"/>
                      <a:pt x="301550" y="81779"/>
                      <a:pt x="300836" y="82722"/>
                    </a:cubicBezTo>
                    <a:cubicBezTo>
                      <a:pt x="303312" y="83294"/>
                      <a:pt x="303979" y="80627"/>
                      <a:pt x="305789" y="79865"/>
                    </a:cubicBezTo>
                    <a:cubicBezTo>
                      <a:pt x="306008" y="80217"/>
                      <a:pt x="306170" y="80608"/>
                      <a:pt x="306265" y="81008"/>
                    </a:cubicBezTo>
                    <a:cubicBezTo>
                      <a:pt x="306589" y="81227"/>
                      <a:pt x="306846" y="81522"/>
                      <a:pt x="307027" y="81865"/>
                    </a:cubicBezTo>
                    <a:cubicBezTo>
                      <a:pt x="305598" y="86056"/>
                      <a:pt x="299312" y="86628"/>
                      <a:pt x="299216" y="86628"/>
                    </a:cubicBezTo>
                    <a:lnTo>
                      <a:pt x="299216" y="86628"/>
                    </a:lnTo>
                    <a:cubicBezTo>
                      <a:pt x="298550" y="86628"/>
                      <a:pt x="298550" y="86628"/>
                      <a:pt x="297407" y="88056"/>
                    </a:cubicBezTo>
                    <a:lnTo>
                      <a:pt x="301407" y="88056"/>
                    </a:lnTo>
                    <a:cubicBezTo>
                      <a:pt x="301407" y="88818"/>
                      <a:pt x="301407" y="88818"/>
                      <a:pt x="299407" y="89961"/>
                    </a:cubicBezTo>
                    <a:cubicBezTo>
                      <a:pt x="303026" y="89961"/>
                      <a:pt x="303026" y="89961"/>
                      <a:pt x="303503" y="89961"/>
                    </a:cubicBezTo>
                    <a:cubicBezTo>
                      <a:pt x="303979" y="89961"/>
                      <a:pt x="300550" y="93009"/>
                      <a:pt x="300550" y="93009"/>
                    </a:cubicBezTo>
                    <a:cubicBezTo>
                      <a:pt x="298455" y="91390"/>
                      <a:pt x="296359" y="94343"/>
                      <a:pt x="295025" y="96057"/>
                    </a:cubicBezTo>
                    <a:cubicBezTo>
                      <a:pt x="295978" y="96057"/>
                      <a:pt x="295978" y="96057"/>
                      <a:pt x="299026" y="94152"/>
                    </a:cubicBezTo>
                    <a:lnTo>
                      <a:pt x="299026" y="94914"/>
                    </a:lnTo>
                    <a:lnTo>
                      <a:pt x="302360" y="93676"/>
                    </a:lnTo>
                    <a:cubicBezTo>
                      <a:pt x="302360" y="93676"/>
                      <a:pt x="299121" y="97962"/>
                      <a:pt x="297312" y="98438"/>
                    </a:cubicBezTo>
                    <a:cubicBezTo>
                      <a:pt x="295502" y="98915"/>
                      <a:pt x="291882" y="99867"/>
                      <a:pt x="292073" y="102249"/>
                    </a:cubicBezTo>
                    <a:lnTo>
                      <a:pt x="292739" y="102249"/>
                    </a:lnTo>
                    <a:cubicBezTo>
                      <a:pt x="291406" y="104249"/>
                      <a:pt x="288263" y="103487"/>
                      <a:pt x="287120" y="105868"/>
                    </a:cubicBezTo>
                    <a:cubicBezTo>
                      <a:pt x="286396" y="108011"/>
                      <a:pt x="285300" y="110011"/>
                      <a:pt x="283881" y="111774"/>
                    </a:cubicBezTo>
                    <a:cubicBezTo>
                      <a:pt x="284453" y="113298"/>
                      <a:pt x="284453" y="113298"/>
                      <a:pt x="283881" y="114059"/>
                    </a:cubicBezTo>
                    <a:cubicBezTo>
                      <a:pt x="283310" y="114821"/>
                      <a:pt x="283881" y="116917"/>
                      <a:pt x="280166" y="121584"/>
                    </a:cubicBezTo>
                    <a:cubicBezTo>
                      <a:pt x="280166" y="122156"/>
                      <a:pt x="280166" y="122156"/>
                      <a:pt x="280166" y="122156"/>
                    </a:cubicBezTo>
                    <a:lnTo>
                      <a:pt x="280166" y="122156"/>
                    </a:lnTo>
                    <a:lnTo>
                      <a:pt x="280166" y="122156"/>
                    </a:lnTo>
                    <a:cubicBezTo>
                      <a:pt x="280052" y="122584"/>
                      <a:pt x="279890" y="122994"/>
                      <a:pt x="279690" y="123394"/>
                    </a:cubicBezTo>
                    <a:lnTo>
                      <a:pt x="279690" y="123394"/>
                    </a:lnTo>
                    <a:cubicBezTo>
                      <a:pt x="281167" y="122432"/>
                      <a:pt x="282767" y="121699"/>
                      <a:pt x="284453" y="121203"/>
                    </a:cubicBezTo>
                    <a:cubicBezTo>
                      <a:pt x="284472" y="122242"/>
                      <a:pt x="284138" y="123251"/>
                      <a:pt x="283500" y="124061"/>
                    </a:cubicBezTo>
                    <a:cubicBezTo>
                      <a:pt x="283500" y="124061"/>
                      <a:pt x="277690" y="127775"/>
                      <a:pt x="277499" y="127680"/>
                    </a:cubicBezTo>
                    <a:cubicBezTo>
                      <a:pt x="276842" y="127242"/>
                      <a:pt x="275956" y="127414"/>
                      <a:pt x="275518" y="128061"/>
                    </a:cubicBezTo>
                    <a:cubicBezTo>
                      <a:pt x="275423" y="128204"/>
                      <a:pt x="275347" y="128366"/>
                      <a:pt x="275309" y="128538"/>
                    </a:cubicBezTo>
                    <a:cubicBezTo>
                      <a:pt x="273975" y="132443"/>
                      <a:pt x="268260" y="135015"/>
                      <a:pt x="267593" y="135300"/>
                    </a:cubicBezTo>
                    <a:lnTo>
                      <a:pt x="267593" y="135300"/>
                    </a:lnTo>
                    <a:lnTo>
                      <a:pt x="267022" y="135300"/>
                    </a:lnTo>
                    <a:cubicBezTo>
                      <a:pt x="264812" y="137310"/>
                      <a:pt x="262707" y="139434"/>
                      <a:pt x="260735" y="141682"/>
                    </a:cubicBezTo>
                    <a:cubicBezTo>
                      <a:pt x="260726" y="136548"/>
                      <a:pt x="263393" y="131776"/>
                      <a:pt x="267784" y="129109"/>
                    </a:cubicBezTo>
                    <a:close/>
                    <a:moveTo>
                      <a:pt x="303884" y="64720"/>
                    </a:moveTo>
                    <a:lnTo>
                      <a:pt x="299788" y="67196"/>
                    </a:lnTo>
                    <a:lnTo>
                      <a:pt x="300264" y="67196"/>
                    </a:lnTo>
                    <a:lnTo>
                      <a:pt x="300264" y="67768"/>
                    </a:lnTo>
                    <a:cubicBezTo>
                      <a:pt x="301741" y="66977"/>
                      <a:pt x="302960" y="65787"/>
                      <a:pt x="303788" y="64339"/>
                    </a:cubicBezTo>
                    <a:close/>
                    <a:moveTo>
                      <a:pt x="288072" y="74245"/>
                    </a:moveTo>
                    <a:cubicBezTo>
                      <a:pt x="288072" y="74245"/>
                      <a:pt x="288072" y="74245"/>
                      <a:pt x="289882" y="74245"/>
                    </a:cubicBezTo>
                    <a:lnTo>
                      <a:pt x="288263" y="75674"/>
                    </a:lnTo>
                    <a:cubicBezTo>
                      <a:pt x="292644" y="74626"/>
                      <a:pt x="295121" y="70816"/>
                      <a:pt x="298550" y="68435"/>
                    </a:cubicBezTo>
                    <a:close/>
                    <a:moveTo>
                      <a:pt x="456379" y="71292"/>
                    </a:moveTo>
                    <a:cubicBezTo>
                      <a:pt x="456750" y="70911"/>
                      <a:pt x="457046" y="70454"/>
                      <a:pt x="457236" y="69959"/>
                    </a:cubicBezTo>
                    <a:lnTo>
                      <a:pt x="458474" y="68244"/>
                    </a:lnTo>
                    <a:lnTo>
                      <a:pt x="458474" y="68244"/>
                    </a:lnTo>
                    <a:cubicBezTo>
                      <a:pt x="458474" y="68244"/>
                      <a:pt x="458474" y="67768"/>
                      <a:pt x="458474" y="67768"/>
                    </a:cubicBezTo>
                    <a:lnTo>
                      <a:pt x="457331" y="67196"/>
                    </a:lnTo>
                    <a:lnTo>
                      <a:pt x="457331" y="67196"/>
                    </a:lnTo>
                    <a:lnTo>
                      <a:pt x="457331" y="67196"/>
                    </a:lnTo>
                    <a:lnTo>
                      <a:pt x="457331" y="67196"/>
                    </a:lnTo>
                    <a:cubicBezTo>
                      <a:pt x="457122" y="67768"/>
                      <a:pt x="456836" y="68321"/>
                      <a:pt x="456474" y="68816"/>
                    </a:cubicBezTo>
                    <a:cubicBezTo>
                      <a:pt x="455998" y="69387"/>
                      <a:pt x="455903" y="69768"/>
                      <a:pt x="455998" y="70149"/>
                    </a:cubicBezTo>
                    <a:cubicBezTo>
                      <a:pt x="456093" y="70530"/>
                      <a:pt x="456188" y="71007"/>
                      <a:pt x="456284" y="70911"/>
                    </a:cubicBezTo>
                    <a:close/>
                    <a:moveTo>
                      <a:pt x="430376" y="21953"/>
                    </a:moveTo>
                    <a:lnTo>
                      <a:pt x="431709" y="20905"/>
                    </a:lnTo>
                    <a:lnTo>
                      <a:pt x="434281" y="18524"/>
                    </a:lnTo>
                    <a:lnTo>
                      <a:pt x="431042" y="20524"/>
                    </a:lnTo>
                    <a:cubicBezTo>
                      <a:pt x="431042" y="20524"/>
                      <a:pt x="431042" y="21096"/>
                      <a:pt x="430566" y="21286"/>
                    </a:cubicBezTo>
                    <a:cubicBezTo>
                      <a:pt x="430585" y="21505"/>
                      <a:pt x="430585" y="21734"/>
                      <a:pt x="430566" y="21953"/>
                    </a:cubicBezTo>
                    <a:lnTo>
                      <a:pt x="430566" y="21953"/>
                    </a:lnTo>
                    <a:close/>
                    <a:moveTo>
                      <a:pt x="339888" y="31478"/>
                    </a:moveTo>
                    <a:lnTo>
                      <a:pt x="339888" y="31478"/>
                    </a:lnTo>
                    <a:cubicBezTo>
                      <a:pt x="339412" y="31478"/>
                      <a:pt x="334078" y="34050"/>
                      <a:pt x="334078" y="34050"/>
                    </a:cubicBezTo>
                    <a:cubicBezTo>
                      <a:pt x="335630" y="33602"/>
                      <a:pt x="337154" y="33059"/>
                      <a:pt x="338650" y="32430"/>
                    </a:cubicBezTo>
                    <a:lnTo>
                      <a:pt x="338650" y="32430"/>
                    </a:lnTo>
                    <a:cubicBezTo>
                      <a:pt x="338650" y="32430"/>
                      <a:pt x="339793" y="31002"/>
                      <a:pt x="339793" y="30811"/>
                    </a:cubicBezTo>
                    <a:close/>
                    <a:moveTo>
                      <a:pt x="316266" y="42527"/>
                    </a:moveTo>
                    <a:lnTo>
                      <a:pt x="316742" y="41955"/>
                    </a:lnTo>
                    <a:cubicBezTo>
                      <a:pt x="316742" y="41955"/>
                      <a:pt x="317600" y="41479"/>
                      <a:pt x="317790" y="41098"/>
                    </a:cubicBezTo>
                    <a:lnTo>
                      <a:pt x="317790" y="41098"/>
                    </a:lnTo>
                    <a:cubicBezTo>
                      <a:pt x="316504" y="41441"/>
                      <a:pt x="315285" y="41993"/>
                      <a:pt x="314171" y="42717"/>
                    </a:cubicBezTo>
                    <a:cubicBezTo>
                      <a:pt x="314171" y="42717"/>
                      <a:pt x="309122" y="45861"/>
                      <a:pt x="309122" y="46146"/>
                    </a:cubicBezTo>
                    <a:cubicBezTo>
                      <a:pt x="311237" y="45308"/>
                      <a:pt x="313304" y="44356"/>
                      <a:pt x="315314" y="43289"/>
                    </a:cubicBezTo>
                    <a:lnTo>
                      <a:pt x="316076" y="42813"/>
                    </a:lnTo>
                    <a:close/>
                    <a:moveTo>
                      <a:pt x="317028" y="50242"/>
                    </a:moveTo>
                    <a:lnTo>
                      <a:pt x="318933" y="48718"/>
                    </a:lnTo>
                    <a:cubicBezTo>
                      <a:pt x="318266" y="48718"/>
                      <a:pt x="317600" y="48718"/>
                      <a:pt x="316933" y="48718"/>
                    </a:cubicBezTo>
                    <a:lnTo>
                      <a:pt x="317885" y="47956"/>
                    </a:lnTo>
                    <a:lnTo>
                      <a:pt x="308360" y="52242"/>
                    </a:lnTo>
                    <a:lnTo>
                      <a:pt x="306455" y="53385"/>
                    </a:lnTo>
                    <a:cubicBezTo>
                      <a:pt x="306074" y="53547"/>
                      <a:pt x="305722" y="53776"/>
                      <a:pt x="305408" y="54052"/>
                    </a:cubicBezTo>
                    <a:cubicBezTo>
                      <a:pt x="303493" y="55252"/>
                      <a:pt x="301655" y="56557"/>
                      <a:pt x="299883" y="57957"/>
                    </a:cubicBezTo>
                    <a:cubicBezTo>
                      <a:pt x="298759" y="58719"/>
                      <a:pt x="297588" y="59386"/>
                      <a:pt x="296359" y="59958"/>
                    </a:cubicBezTo>
                    <a:cubicBezTo>
                      <a:pt x="295568" y="60567"/>
                      <a:pt x="294892" y="61310"/>
                      <a:pt x="294359" y="62148"/>
                    </a:cubicBezTo>
                    <a:lnTo>
                      <a:pt x="294359" y="62148"/>
                    </a:lnTo>
                    <a:cubicBezTo>
                      <a:pt x="297245" y="61081"/>
                      <a:pt x="299902" y="59462"/>
                      <a:pt x="302169" y="57386"/>
                    </a:cubicBezTo>
                    <a:cubicBezTo>
                      <a:pt x="302931" y="56624"/>
                      <a:pt x="303693" y="55957"/>
                      <a:pt x="304646" y="56624"/>
                    </a:cubicBezTo>
                    <a:lnTo>
                      <a:pt x="304646" y="56624"/>
                    </a:lnTo>
                    <a:cubicBezTo>
                      <a:pt x="304170" y="57100"/>
                      <a:pt x="303312" y="56624"/>
                      <a:pt x="303217" y="57862"/>
                    </a:cubicBezTo>
                    <a:cubicBezTo>
                      <a:pt x="304008" y="57948"/>
                      <a:pt x="304808" y="57948"/>
                      <a:pt x="305598" y="57862"/>
                    </a:cubicBezTo>
                    <a:cubicBezTo>
                      <a:pt x="306455" y="57862"/>
                      <a:pt x="306837" y="56719"/>
                      <a:pt x="307598" y="56338"/>
                    </a:cubicBezTo>
                    <a:cubicBezTo>
                      <a:pt x="308360" y="55957"/>
                      <a:pt x="309789" y="56338"/>
                      <a:pt x="310837" y="55767"/>
                    </a:cubicBezTo>
                    <a:lnTo>
                      <a:pt x="317219" y="52719"/>
                    </a:lnTo>
                    <a:cubicBezTo>
                      <a:pt x="317219" y="52719"/>
                      <a:pt x="317219" y="52719"/>
                      <a:pt x="319314" y="49956"/>
                    </a:cubicBezTo>
                    <a:cubicBezTo>
                      <a:pt x="318266" y="49385"/>
                      <a:pt x="317695" y="50147"/>
                      <a:pt x="316933" y="49385"/>
                    </a:cubicBezTo>
                    <a:close/>
                    <a:moveTo>
                      <a:pt x="320172" y="61005"/>
                    </a:moveTo>
                    <a:lnTo>
                      <a:pt x="318743" y="61005"/>
                    </a:lnTo>
                    <a:cubicBezTo>
                      <a:pt x="318743" y="61005"/>
                      <a:pt x="318171" y="61005"/>
                      <a:pt x="317790" y="61005"/>
                    </a:cubicBezTo>
                    <a:cubicBezTo>
                      <a:pt x="316571" y="61463"/>
                      <a:pt x="315466" y="62177"/>
                      <a:pt x="314552" y="63101"/>
                    </a:cubicBezTo>
                    <a:lnTo>
                      <a:pt x="313790" y="63672"/>
                    </a:lnTo>
                    <a:cubicBezTo>
                      <a:pt x="312790" y="64682"/>
                      <a:pt x="311704" y="65606"/>
                      <a:pt x="310551" y="66434"/>
                    </a:cubicBezTo>
                    <a:cubicBezTo>
                      <a:pt x="309884" y="66434"/>
                      <a:pt x="309313" y="67196"/>
                      <a:pt x="309218" y="67482"/>
                    </a:cubicBezTo>
                    <a:cubicBezTo>
                      <a:pt x="309122" y="67768"/>
                      <a:pt x="310075" y="67482"/>
                      <a:pt x="310551" y="67482"/>
                    </a:cubicBezTo>
                    <a:lnTo>
                      <a:pt x="311789" y="67482"/>
                    </a:lnTo>
                    <a:cubicBezTo>
                      <a:pt x="312456" y="67482"/>
                      <a:pt x="312551" y="67482"/>
                      <a:pt x="312647" y="67482"/>
                    </a:cubicBezTo>
                    <a:cubicBezTo>
                      <a:pt x="312742" y="67482"/>
                      <a:pt x="312075" y="67958"/>
                      <a:pt x="312171" y="68435"/>
                    </a:cubicBezTo>
                    <a:cubicBezTo>
                      <a:pt x="312266" y="68911"/>
                      <a:pt x="313885" y="69387"/>
                      <a:pt x="314647" y="68435"/>
                    </a:cubicBezTo>
                    <a:lnTo>
                      <a:pt x="316171" y="67006"/>
                    </a:lnTo>
                    <a:cubicBezTo>
                      <a:pt x="316904" y="66063"/>
                      <a:pt x="317771" y="65225"/>
                      <a:pt x="318743" y="64529"/>
                    </a:cubicBezTo>
                    <a:cubicBezTo>
                      <a:pt x="319733" y="63606"/>
                      <a:pt x="320343" y="62348"/>
                      <a:pt x="320457" y="61005"/>
                    </a:cubicBezTo>
                    <a:lnTo>
                      <a:pt x="320457" y="61005"/>
                    </a:lnTo>
                    <a:close/>
                    <a:moveTo>
                      <a:pt x="383322" y="16238"/>
                    </a:moveTo>
                    <a:lnTo>
                      <a:pt x="383322" y="16238"/>
                    </a:lnTo>
                    <a:cubicBezTo>
                      <a:pt x="382751" y="16238"/>
                      <a:pt x="379893" y="17381"/>
                      <a:pt x="379893" y="17381"/>
                    </a:cubicBezTo>
                    <a:lnTo>
                      <a:pt x="375702" y="19571"/>
                    </a:lnTo>
                    <a:cubicBezTo>
                      <a:pt x="374273" y="20238"/>
                      <a:pt x="372559" y="20429"/>
                      <a:pt x="371035" y="21096"/>
                    </a:cubicBezTo>
                    <a:cubicBezTo>
                      <a:pt x="371035" y="21096"/>
                      <a:pt x="368558" y="22524"/>
                      <a:pt x="368273" y="22810"/>
                    </a:cubicBezTo>
                    <a:lnTo>
                      <a:pt x="368273" y="22810"/>
                    </a:lnTo>
                    <a:cubicBezTo>
                      <a:pt x="369035" y="22810"/>
                      <a:pt x="369511" y="22810"/>
                      <a:pt x="370178" y="22810"/>
                    </a:cubicBezTo>
                    <a:lnTo>
                      <a:pt x="370178" y="22810"/>
                    </a:lnTo>
                    <a:cubicBezTo>
                      <a:pt x="371206" y="22581"/>
                      <a:pt x="372226" y="22296"/>
                      <a:pt x="373226" y="21953"/>
                    </a:cubicBezTo>
                    <a:lnTo>
                      <a:pt x="373226" y="21953"/>
                    </a:lnTo>
                    <a:cubicBezTo>
                      <a:pt x="373892" y="21953"/>
                      <a:pt x="379798" y="18714"/>
                      <a:pt x="380465" y="18238"/>
                    </a:cubicBezTo>
                    <a:lnTo>
                      <a:pt x="380465" y="18238"/>
                    </a:lnTo>
                    <a:lnTo>
                      <a:pt x="381322" y="18238"/>
                    </a:lnTo>
                    <a:cubicBezTo>
                      <a:pt x="381322" y="18238"/>
                      <a:pt x="381131" y="16714"/>
                      <a:pt x="383227" y="15571"/>
                    </a:cubicBezTo>
                    <a:close/>
                    <a:moveTo>
                      <a:pt x="372083" y="19000"/>
                    </a:moveTo>
                    <a:cubicBezTo>
                      <a:pt x="370702" y="19419"/>
                      <a:pt x="369368" y="19962"/>
                      <a:pt x="368082" y="20619"/>
                    </a:cubicBezTo>
                    <a:lnTo>
                      <a:pt x="368558" y="20619"/>
                    </a:lnTo>
                    <a:cubicBezTo>
                      <a:pt x="368558" y="20619"/>
                      <a:pt x="368558" y="20619"/>
                      <a:pt x="368558" y="20619"/>
                    </a:cubicBezTo>
                    <a:lnTo>
                      <a:pt x="368558" y="20619"/>
                    </a:lnTo>
                    <a:lnTo>
                      <a:pt x="369987" y="20619"/>
                    </a:lnTo>
                    <a:cubicBezTo>
                      <a:pt x="370654" y="20333"/>
                      <a:pt x="371292" y="19981"/>
                      <a:pt x="371892" y="19571"/>
                    </a:cubicBezTo>
                    <a:lnTo>
                      <a:pt x="371892" y="19571"/>
                    </a:lnTo>
                    <a:close/>
                    <a:moveTo>
                      <a:pt x="365510" y="17667"/>
                    </a:moveTo>
                    <a:lnTo>
                      <a:pt x="367034" y="17667"/>
                    </a:lnTo>
                    <a:lnTo>
                      <a:pt x="368654" y="16809"/>
                    </a:lnTo>
                    <a:close/>
                    <a:moveTo>
                      <a:pt x="410659" y="9475"/>
                    </a:moveTo>
                    <a:lnTo>
                      <a:pt x="410659" y="9475"/>
                    </a:lnTo>
                    <a:cubicBezTo>
                      <a:pt x="411135" y="8999"/>
                      <a:pt x="411230" y="8904"/>
                      <a:pt x="413612" y="8332"/>
                    </a:cubicBezTo>
                    <a:lnTo>
                      <a:pt x="413612" y="8332"/>
                    </a:lnTo>
                    <a:lnTo>
                      <a:pt x="417517" y="7570"/>
                    </a:lnTo>
                    <a:lnTo>
                      <a:pt x="413993" y="9570"/>
                    </a:lnTo>
                    <a:cubicBezTo>
                      <a:pt x="416660" y="10046"/>
                      <a:pt x="418374" y="7475"/>
                      <a:pt x="420851" y="7284"/>
                    </a:cubicBezTo>
                    <a:lnTo>
                      <a:pt x="420851" y="7284"/>
                    </a:lnTo>
                    <a:lnTo>
                      <a:pt x="420851" y="7284"/>
                    </a:lnTo>
                    <a:cubicBezTo>
                      <a:pt x="418803" y="8113"/>
                      <a:pt x="416907" y="9275"/>
                      <a:pt x="415231" y="10713"/>
                    </a:cubicBezTo>
                    <a:cubicBezTo>
                      <a:pt x="417136" y="10713"/>
                      <a:pt x="418660" y="7570"/>
                      <a:pt x="420851" y="9189"/>
                    </a:cubicBezTo>
                    <a:cubicBezTo>
                      <a:pt x="423899" y="8046"/>
                      <a:pt x="423899" y="8046"/>
                      <a:pt x="424375" y="8237"/>
                    </a:cubicBezTo>
                    <a:lnTo>
                      <a:pt x="423804" y="8237"/>
                    </a:lnTo>
                    <a:cubicBezTo>
                      <a:pt x="424765" y="7541"/>
                      <a:pt x="426013" y="7360"/>
                      <a:pt x="427137" y="7761"/>
                    </a:cubicBezTo>
                    <a:lnTo>
                      <a:pt x="426375" y="8427"/>
                    </a:lnTo>
                    <a:lnTo>
                      <a:pt x="426375" y="8427"/>
                    </a:lnTo>
                    <a:cubicBezTo>
                      <a:pt x="424156" y="9961"/>
                      <a:pt x="421832" y="11332"/>
                      <a:pt x="419422" y="12523"/>
                    </a:cubicBezTo>
                    <a:cubicBezTo>
                      <a:pt x="421775" y="11342"/>
                      <a:pt x="424194" y="10285"/>
                      <a:pt x="426661" y="9380"/>
                    </a:cubicBezTo>
                    <a:lnTo>
                      <a:pt x="425708" y="10142"/>
                    </a:lnTo>
                    <a:lnTo>
                      <a:pt x="425708" y="10142"/>
                    </a:lnTo>
                    <a:cubicBezTo>
                      <a:pt x="425708" y="10904"/>
                      <a:pt x="424756" y="11475"/>
                      <a:pt x="424851" y="12333"/>
                    </a:cubicBezTo>
                    <a:cubicBezTo>
                      <a:pt x="424947" y="13190"/>
                      <a:pt x="422946" y="12809"/>
                      <a:pt x="422089" y="13380"/>
                    </a:cubicBezTo>
                    <a:lnTo>
                      <a:pt x="422089" y="13380"/>
                    </a:lnTo>
                    <a:cubicBezTo>
                      <a:pt x="425423" y="12523"/>
                      <a:pt x="425423" y="12523"/>
                      <a:pt x="426185" y="12713"/>
                    </a:cubicBezTo>
                    <a:lnTo>
                      <a:pt x="425042" y="13761"/>
                    </a:lnTo>
                    <a:lnTo>
                      <a:pt x="425042" y="13761"/>
                    </a:lnTo>
                    <a:lnTo>
                      <a:pt x="424565" y="13761"/>
                    </a:lnTo>
                    <a:lnTo>
                      <a:pt x="424565" y="13761"/>
                    </a:lnTo>
                    <a:cubicBezTo>
                      <a:pt x="418755" y="17000"/>
                      <a:pt x="411707" y="14714"/>
                      <a:pt x="405515" y="18048"/>
                    </a:cubicBezTo>
                    <a:cubicBezTo>
                      <a:pt x="407706" y="18048"/>
                      <a:pt x="409516" y="17190"/>
                      <a:pt x="411612" y="17095"/>
                    </a:cubicBezTo>
                    <a:lnTo>
                      <a:pt x="411612" y="17095"/>
                    </a:lnTo>
                    <a:cubicBezTo>
                      <a:pt x="407811" y="18543"/>
                      <a:pt x="403925" y="19781"/>
                      <a:pt x="399991" y="20810"/>
                    </a:cubicBezTo>
                    <a:lnTo>
                      <a:pt x="399991" y="20810"/>
                    </a:lnTo>
                    <a:cubicBezTo>
                      <a:pt x="400505" y="20514"/>
                      <a:pt x="400982" y="20162"/>
                      <a:pt x="401420" y="19762"/>
                    </a:cubicBezTo>
                    <a:cubicBezTo>
                      <a:pt x="398372" y="20524"/>
                      <a:pt x="395705" y="22620"/>
                      <a:pt x="392752" y="23572"/>
                    </a:cubicBezTo>
                    <a:lnTo>
                      <a:pt x="392752" y="23572"/>
                    </a:lnTo>
                    <a:cubicBezTo>
                      <a:pt x="390942" y="23572"/>
                      <a:pt x="389513" y="25191"/>
                      <a:pt x="387608" y="24715"/>
                    </a:cubicBezTo>
                    <a:lnTo>
                      <a:pt x="388275" y="23858"/>
                    </a:lnTo>
                    <a:cubicBezTo>
                      <a:pt x="387704" y="24172"/>
                      <a:pt x="387094" y="24429"/>
                      <a:pt x="386465" y="24620"/>
                    </a:cubicBezTo>
                    <a:lnTo>
                      <a:pt x="386465" y="24620"/>
                    </a:lnTo>
                    <a:lnTo>
                      <a:pt x="384465" y="25382"/>
                    </a:lnTo>
                    <a:lnTo>
                      <a:pt x="384465" y="25382"/>
                    </a:lnTo>
                    <a:lnTo>
                      <a:pt x="384465" y="25382"/>
                    </a:lnTo>
                    <a:cubicBezTo>
                      <a:pt x="383037" y="25382"/>
                      <a:pt x="381798" y="25953"/>
                      <a:pt x="378941" y="27858"/>
                    </a:cubicBezTo>
                    <a:cubicBezTo>
                      <a:pt x="378941" y="27858"/>
                      <a:pt x="379512" y="27858"/>
                      <a:pt x="380084" y="28620"/>
                    </a:cubicBezTo>
                    <a:cubicBezTo>
                      <a:pt x="380655" y="29382"/>
                      <a:pt x="378083" y="29478"/>
                      <a:pt x="377036" y="30049"/>
                    </a:cubicBezTo>
                    <a:lnTo>
                      <a:pt x="377036" y="30049"/>
                    </a:lnTo>
                    <a:lnTo>
                      <a:pt x="370368" y="32907"/>
                    </a:lnTo>
                    <a:cubicBezTo>
                      <a:pt x="369797" y="33030"/>
                      <a:pt x="369197" y="32802"/>
                      <a:pt x="368844" y="32335"/>
                    </a:cubicBezTo>
                    <a:cubicBezTo>
                      <a:pt x="368844" y="32335"/>
                      <a:pt x="364653" y="33669"/>
                      <a:pt x="364177" y="33954"/>
                    </a:cubicBezTo>
                    <a:cubicBezTo>
                      <a:pt x="361891" y="35383"/>
                      <a:pt x="361700" y="35478"/>
                      <a:pt x="360748" y="34716"/>
                    </a:cubicBezTo>
                    <a:cubicBezTo>
                      <a:pt x="359796" y="33954"/>
                      <a:pt x="360748" y="34240"/>
                      <a:pt x="362653" y="32716"/>
                    </a:cubicBezTo>
                    <a:lnTo>
                      <a:pt x="360272" y="33764"/>
                    </a:lnTo>
                    <a:cubicBezTo>
                      <a:pt x="360176" y="34011"/>
                      <a:pt x="360176" y="34278"/>
                      <a:pt x="360272" y="34526"/>
                    </a:cubicBezTo>
                    <a:cubicBezTo>
                      <a:pt x="359386" y="35431"/>
                      <a:pt x="358433" y="36259"/>
                      <a:pt x="357414" y="37002"/>
                    </a:cubicBezTo>
                    <a:lnTo>
                      <a:pt x="357414" y="37002"/>
                    </a:lnTo>
                    <a:cubicBezTo>
                      <a:pt x="355376" y="38974"/>
                      <a:pt x="352842" y="40365"/>
                      <a:pt x="350080" y="41003"/>
                    </a:cubicBezTo>
                    <a:cubicBezTo>
                      <a:pt x="350080" y="41003"/>
                      <a:pt x="350080" y="41003"/>
                      <a:pt x="347984" y="41003"/>
                    </a:cubicBezTo>
                    <a:cubicBezTo>
                      <a:pt x="349470" y="40469"/>
                      <a:pt x="350994" y="40088"/>
                      <a:pt x="352556" y="39860"/>
                    </a:cubicBezTo>
                    <a:lnTo>
                      <a:pt x="351699" y="39860"/>
                    </a:lnTo>
                    <a:cubicBezTo>
                      <a:pt x="351699" y="39860"/>
                      <a:pt x="351699" y="39860"/>
                      <a:pt x="353414" y="38526"/>
                    </a:cubicBezTo>
                    <a:cubicBezTo>
                      <a:pt x="353414" y="38526"/>
                      <a:pt x="353414" y="38526"/>
                      <a:pt x="350842" y="39383"/>
                    </a:cubicBezTo>
                    <a:lnTo>
                      <a:pt x="351604" y="38717"/>
                    </a:lnTo>
                    <a:lnTo>
                      <a:pt x="350747" y="38717"/>
                    </a:lnTo>
                    <a:lnTo>
                      <a:pt x="351604" y="38050"/>
                    </a:lnTo>
                    <a:lnTo>
                      <a:pt x="351604" y="38050"/>
                    </a:lnTo>
                    <a:lnTo>
                      <a:pt x="352175" y="37574"/>
                    </a:lnTo>
                    <a:cubicBezTo>
                      <a:pt x="351347" y="37755"/>
                      <a:pt x="350547" y="38050"/>
                      <a:pt x="349794" y="38431"/>
                    </a:cubicBezTo>
                    <a:lnTo>
                      <a:pt x="349794" y="38431"/>
                    </a:lnTo>
                    <a:lnTo>
                      <a:pt x="350747" y="37479"/>
                    </a:lnTo>
                    <a:lnTo>
                      <a:pt x="350747" y="37479"/>
                    </a:lnTo>
                    <a:cubicBezTo>
                      <a:pt x="351032" y="37098"/>
                      <a:pt x="351385" y="36774"/>
                      <a:pt x="351795" y="36526"/>
                    </a:cubicBezTo>
                    <a:cubicBezTo>
                      <a:pt x="351128" y="36526"/>
                      <a:pt x="350651" y="37098"/>
                      <a:pt x="349985" y="36526"/>
                    </a:cubicBezTo>
                    <a:cubicBezTo>
                      <a:pt x="349318" y="35954"/>
                      <a:pt x="349985" y="36526"/>
                      <a:pt x="351223" y="35669"/>
                    </a:cubicBezTo>
                    <a:lnTo>
                      <a:pt x="349699" y="36240"/>
                    </a:lnTo>
                    <a:cubicBezTo>
                      <a:pt x="350366" y="35612"/>
                      <a:pt x="351147" y="35088"/>
                      <a:pt x="351985" y="34716"/>
                    </a:cubicBezTo>
                    <a:lnTo>
                      <a:pt x="351223" y="34716"/>
                    </a:lnTo>
                    <a:cubicBezTo>
                      <a:pt x="351223" y="34716"/>
                      <a:pt x="351223" y="34716"/>
                      <a:pt x="353604" y="33288"/>
                    </a:cubicBezTo>
                    <a:cubicBezTo>
                      <a:pt x="352756" y="33707"/>
                      <a:pt x="351861" y="34021"/>
                      <a:pt x="350937" y="34240"/>
                    </a:cubicBezTo>
                    <a:cubicBezTo>
                      <a:pt x="353290" y="32821"/>
                      <a:pt x="355785" y="31640"/>
                      <a:pt x="358367" y="30716"/>
                    </a:cubicBezTo>
                    <a:lnTo>
                      <a:pt x="358367" y="30716"/>
                    </a:lnTo>
                    <a:lnTo>
                      <a:pt x="358367" y="30716"/>
                    </a:lnTo>
                    <a:cubicBezTo>
                      <a:pt x="358367" y="30716"/>
                      <a:pt x="358367" y="30716"/>
                      <a:pt x="360843" y="29858"/>
                    </a:cubicBezTo>
                    <a:lnTo>
                      <a:pt x="360176" y="30621"/>
                    </a:lnTo>
                    <a:cubicBezTo>
                      <a:pt x="361320" y="31383"/>
                      <a:pt x="363320" y="29382"/>
                      <a:pt x="363320" y="29382"/>
                    </a:cubicBezTo>
                    <a:cubicBezTo>
                      <a:pt x="363320" y="29382"/>
                      <a:pt x="364082" y="28334"/>
                      <a:pt x="367606" y="26715"/>
                    </a:cubicBezTo>
                    <a:lnTo>
                      <a:pt x="367606" y="26715"/>
                    </a:lnTo>
                    <a:lnTo>
                      <a:pt x="369606" y="26239"/>
                    </a:lnTo>
                    <a:cubicBezTo>
                      <a:pt x="368178" y="29954"/>
                      <a:pt x="362653" y="28239"/>
                      <a:pt x="361510" y="32335"/>
                    </a:cubicBezTo>
                    <a:cubicBezTo>
                      <a:pt x="364596" y="32345"/>
                      <a:pt x="367568" y="31144"/>
                      <a:pt x="369797" y="29001"/>
                    </a:cubicBezTo>
                    <a:cubicBezTo>
                      <a:pt x="368463" y="29001"/>
                      <a:pt x="367130" y="29858"/>
                      <a:pt x="365701" y="30049"/>
                    </a:cubicBezTo>
                    <a:cubicBezTo>
                      <a:pt x="369311" y="27858"/>
                      <a:pt x="373102" y="25972"/>
                      <a:pt x="377036" y="24429"/>
                    </a:cubicBezTo>
                    <a:cubicBezTo>
                      <a:pt x="375350" y="25172"/>
                      <a:pt x="373597" y="25753"/>
                      <a:pt x="371797" y="26144"/>
                    </a:cubicBezTo>
                    <a:cubicBezTo>
                      <a:pt x="371797" y="26144"/>
                      <a:pt x="372559" y="25572"/>
                      <a:pt x="372845" y="25191"/>
                    </a:cubicBezTo>
                    <a:lnTo>
                      <a:pt x="371988" y="25191"/>
                    </a:lnTo>
                    <a:cubicBezTo>
                      <a:pt x="372464" y="24048"/>
                      <a:pt x="379607" y="21667"/>
                      <a:pt x="379703" y="21667"/>
                    </a:cubicBezTo>
                    <a:lnTo>
                      <a:pt x="379703" y="21667"/>
                    </a:lnTo>
                    <a:lnTo>
                      <a:pt x="381417" y="21667"/>
                    </a:lnTo>
                    <a:lnTo>
                      <a:pt x="381417" y="22143"/>
                    </a:lnTo>
                    <a:cubicBezTo>
                      <a:pt x="380293" y="22791"/>
                      <a:pt x="379341" y="23705"/>
                      <a:pt x="378655" y="24810"/>
                    </a:cubicBezTo>
                    <a:lnTo>
                      <a:pt x="380846" y="23763"/>
                    </a:lnTo>
                    <a:cubicBezTo>
                      <a:pt x="385484" y="20029"/>
                      <a:pt x="390742" y="17124"/>
                      <a:pt x="396372" y="15190"/>
                    </a:cubicBezTo>
                    <a:cubicBezTo>
                      <a:pt x="393800" y="17381"/>
                      <a:pt x="390752" y="18809"/>
                      <a:pt x="388180" y="21000"/>
                    </a:cubicBezTo>
                    <a:cubicBezTo>
                      <a:pt x="389895" y="21000"/>
                      <a:pt x="391038" y="19571"/>
                      <a:pt x="392562" y="19191"/>
                    </a:cubicBezTo>
                    <a:cubicBezTo>
                      <a:pt x="394085" y="18809"/>
                      <a:pt x="395705" y="19191"/>
                      <a:pt x="397229" y="18429"/>
                    </a:cubicBezTo>
                    <a:cubicBezTo>
                      <a:pt x="398657" y="15952"/>
                      <a:pt x="401420" y="17381"/>
                      <a:pt x="403325" y="16524"/>
                    </a:cubicBezTo>
                    <a:lnTo>
                      <a:pt x="403325" y="16524"/>
                    </a:lnTo>
                    <a:cubicBezTo>
                      <a:pt x="405306" y="15295"/>
                      <a:pt x="407421" y="14276"/>
                      <a:pt x="409611" y="13475"/>
                    </a:cubicBezTo>
                    <a:lnTo>
                      <a:pt x="407516" y="14142"/>
                    </a:lnTo>
                    <a:lnTo>
                      <a:pt x="408563" y="13475"/>
                    </a:lnTo>
                    <a:cubicBezTo>
                      <a:pt x="405144" y="15066"/>
                      <a:pt x="401524" y="16152"/>
                      <a:pt x="397800" y="16714"/>
                    </a:cubicBezTo>
                    <a:cubicBezTo>
                      <a:pt x="398848" y="15762"/>
                      <a:pt x="400467" y="15666"/>
                      <a:pt x="400943" y="14142"/>
                    </a:cubicBezTo>
                    <a:cubicBezTo>
                      <a:pt x="401420" y="12618"/>
                      <a:pt x="404658" y="13190"/>
                      <a:pt x="406468" y="12333"/>
                    </a:cubicBezTo>
                    <a:cubicBezTo>
                      <a:pt x="404563" y="12333"/>
                      <a:pt x="402944" y="13285"/>
                      <a:pt x="401134" y="13571"/>
                    </a:cubicBezTo>
                    <a:lnTo>
                      <a:pt x="402658" y="12904"/>
                    </a:lnTo>
                    <a:cubicBezTo>
                      <a:pt x="401629" y="13190"/>
                      <a:pt x="400543" y="13190"/>
                      <a:pt x="399515" y="12904"/>
                    </a:cubicBezTo>
                    <a:cubicBezTo>
                      <a:pt x="400372" y="10237"/>
                      <a:pt x="403515" y="12142"/>
                      <a:pt x="405325" y="11094"/>
                    </a:cubicBezTo>
                    <a:lnTo>
                      <a:pt x="405325" y="11094"/>
                    </a:lnTo>
                    <a:cubicBezTo>
                      <a:pt x="404792" y="11180"/>
                      <a:pt x="404239" y="11180"/>
                      <a:pt x="403706" y="11094"/>
                    </a:cubicBezTo>
                    <a:cubicBezTo>
                      <a:pt x="405039" y="10142"/>
                      <a:pt x="405039" y="10142"/>
                      <a:pt x="410183" y="8618"/>
                    </a:cubicBezTo>
                    <a:lnTo>
                      <a:pt x="410183" y="8618"/>
                    </a:lnTo>
                    <a:cubicBezTo>
                      <a:pt x="410306" y="8684"/>
                      <a:pt x="410430" y="8751"/>
                      <a:pt x="410564" y="8808"/>
                    </a:cubicBezTo>
                    <a:close/>
                    <a:moveTo>
                      <a:pt x="404372" y="13380"/>
                    </a:moveTo>
                    <a:lnTo>
                      <a:pt x="402658" y="13380"/>
                    </a:lnTo>
                    <a:close/>
                    <a:moveTo>
                      <a:pt x="420660" y="11094"/>
                    </a:moveTo>
                    <a:cubicBezTo>
                      <a:pt x="421679" y="10647"/>
                      <a:pt x="422641" y="10075"/>
                      <a:pt x="423518" y="9380"/>
                    </a:cubicBezTo>
                    <a:close/>
                    <a:moveTo>
                      <a:pt x="366082" y="24620"/>
                    </a:moveTo>
                    <a:lnTo>
                      <a:pt x="366749" y="24620"/>
                    </a:lnTo>
                    <a:lnTo>
                      <a:pt x="366749" y="24620"/>
                    </a:lnTo>
                    <a:cubicBezTo>
                      <a:pt x="366311" y="24563"/>
                      <a:pt x="365853" y="24563"/>
                      <a:pt x="365415" y="24620"/>
                    </a:cubicBezTo>
                    <a:cubicBezTo>
                      <a:pt x="364177" y="24620"/>
                      <a:pt x="363701" y="25287"/>
                      <a:pt x="363605" y="25667"/>
                    </a:cubicBezTo>
                    <a:cubicBezTo>
                      <a:pt x="363510" y="26049"/>
                      <a:pt x="363605" y="25667"/>
                      <a:pt x="364844" y="25667"/>
                    </a:cubicBezTo>
                    <a:lnTo>
                      <a:pt x="366654" y="25001"/>
                    </a:lnTo>
                    <a:lnTo>
                      <a:pt x="367797" y="24334"/>
                    </a:lnTo>
                    <a:lnTo>
                      <a:pt x="365606" y="25001"/>
                    </a:lnTo>
                    <a:lnTo>
                      <a:pt x="365606" y="25001"/>
                    </a:lnTo>
                    <a:cubicBezTo>
                      <a:pt x="365606" y="25001"/>
                      <a:pt x="365796" y="24048"/>
                      <a:pt x="365987" y="23953"/>
                    </a:cubicBezTo>
                    <a:close/>
                    <a:moveTo>
                      <a:pt x="375607" y="18905"/>
                    </a:moveTo>
                    <a:lnTo>
                      <a:pt x="375607" y="18905"/>
                    </a:lnTo>
                    <a:cubicBezTo>
                      <a:pt x="376464" y="18905"/>
                      <a:pt x="377226" y="17857"/>
                      <a:pt x="378083" y="17571"/>
                    </a:cubicBezTo>
                    <a:cubicBezTo>
                      <a:pt x="379550" y="17124"/>
                      <a:pt x="380979" y="16590"/>
                      <a:pt x="382370" y="15952"/>
                    </a:cubicBezTo>
                    <a:lnTo>
                      <a:pt x="382846" y="15952"/>
                    </a:lnTo>
                    <a:lnTo>
                      <a:pt x="383513" y="15952"/>
                    </a:lnTo>
                    <a:lnTo>
                      <a:pt x="383513" y="15952"/>
                    </a:lnTo>
                    <a:cubicBezTo>
                      <a:pt x="384922" y="15380"/>
                      <a:pt x="386294" y="14714"/>
                      <a:pt x="387608" y="13952"/>
                    </a:cubicBezTo>
                    <a:cubicBezTo>
                      <a:pt x="387142" y="14085"/>
                      <a:pt x="386647" y="14085"/>
                      <a:pt x="386180" y="13952"/>
                    </a:cubicBezTo>
                    <a:cubicBezTo>
                      <a:pt x="390752" y="11856"/>
                      <a:pt x="390752" y="11856"/>
                      <a:pt x="390942" y="11571"/>
                    </a:cubicBezTo>
                    <a:lnTo>
                      <a:pt x="390942" y="11571"/>
                    </a:lnTo>
                    <a:cubicBezTo>
                      <a:pt x="389580" y="11818"/>
                      <a:pt x="388266" y="12275"/>
                      <a:pt x="387037" y="12904"/>
                    </a:cubicBezTo>
                    <a:lnTo>
                      <a:pt x="387037" y="12904"/>
                    </a:lnTo>
                    <a:lnTo>
                      <a:pt x="381322" y="15380"/>
                    </a:lnTo>
                    <a:lnTo>
                      <a:pt x="381893" y="15380"/>
                    </a:lnTo>
                    <a:lnTo>
                      <a:pt x="381893" y="15380"/>
                    </a:lnTo>
                    <a:cubicBezTo>
                      <a:pt x="380436" y="15828"/>
                      <a:pt x="379026" y="16438"/>
                      <a:pt x="377703" y="17190"/>
                    </a:cubicBezTo>
                    <a:cubicBezTo>
                      <a:pt x="378179" y="17190"/>
                      <a:pt x="378655" y="17190"/>
                      <a:pt x="379131" y="17190"/>
                    </a:cubicBezTo>
                    <a:lnTo>
                      <a:pt x="378560" y="17190"/>
                    </a:lnTo>
                    <a:lnTo>
                      <a:pt x="378560" y="17190"/>
                    </a:lnTo>
                    <a:cubicBezTo>
                      <a:pt x="375979" y="18305"/>
                      <a:pt x="373464" y="19581"/>
                      <a:pt x="371035" y="21000"/>
                    </a:cubicBezTo>
                    <a:cubicBezTo>
                      <a:pt x="372511" y="20210"/>
                      <a:pt x="373912" y="19286"/>
                      <a:pt x="375226" y="18238"/>
                    </a:cubicBezTo>
                    <a:close/>
                    <a:moveTo>
                      <a:pt x="353604" y="71483"/>
                    </a:moveTo>
                    <a:lnTo>
                      <a:pt x="353604" y="71483"/>
                    </a:lnTo>
                    <a:cubicBezTo>
                      <a:pt x="353633" y="71197"/>
                      <a:pt x="353633" y="70911"/>
                      <a:pt x="353604" y="70625"/>
                    </a:cubicBezTo>
                    <a:lnTo>
                      <a:pt x="353604" y="70625"/>
                    </a:lnTo>
                    <a:lnTo>
                      <a:pt x="353604" y="70625"/>
                    </a:lnTo>
                    <a:lnTo>
                      <a:pt x="353604" y="70625"/>
                    </a:lnTo>
                    <a:lnTo>
                      <a:pt x="353604" y="70625"/>
                    </a:lnTo>
                    <a:cubicBezTo>
                      <a:pt x="353604" y="70625"/>
                      <a:pt x="352461" y="71483"/>
                      <a:pt x="352271" y="72150"/>
                    </a:cubicBezTo>
                    <a:lnTo>
                      <a:pt x="352271" y="72150"/>
                    </a:lnTo>
                    <a:lnTo>
                      <a:pt x="352271" y="72150"/>
                    </a:lnTo>
                    <a:cubicBezTo>
                      <a:pt x="352652" y="71750"/>
                      <a:pt x="352966" y="71302"/>
                      <a:pt x="353223" y="70816"/>
                    </a:cubicBezTo>
                    <a:close/>
                    <a:moveTo>
                      <a:pt x="318838" y="106535"/>
                    </a:moveTo>
                    <a:cubicBezTo>
                      <a:pt x="318838" y="106535"/>
                      <a:pt x="318266" y="107297"/>
                      <a:pt x="318266" y="109011"/>
                    </a:cubicBezTo>
                    <a:cubicBezTo>
                      <a:pt x="318266" y="110726"/>
                      <a:pt x="319124" y="110250"/>
                      <a:pt x="319505" y="110916"/>
                    </a:cubicBezTo>
                    <a:lnTo>
                      <a:pt x="319505" y="110916"/>
                    </a:lnTo>
                    <a:cubicBezTo>
                      <a:pt x="319686" y="111021"/>
                      <a:pt x="319895" y="111021"/>
                      <a:pt x="320076" y="110916"/>
                    </a:cubicBezTo>
                    <a:cubicBezTo>
                      <a:pt x="320419" y="110992"/>
                      <a:pt x="320781" y="110992"/>
                      <a:pt x="321124" y="110916"/>
                    </a:cubicBezTo>
                    <a:cubicBezTo>
                      <a:pt x="321924" y="110507"/>
                      <a:pt x="322753" y="110164"/>
                      <a:pt x="323600" y="109869"/>
                    </a:cubicBezTo>
                    <a:lnTo>
                      <a:pt x="324172" y="109869"/>
                    </a:lnTo>
                    <a:lnTo>
                      <a:pt x="324172" y="109869"/>
                    </a:lnTo>
                    <a:cubicBezTo>
                      <a:pt x="324667" y="109202"/>
                      <a:pt x="324962" y="108411"/>
                      <a:pt x="325029" y="107583"/>
                    </a:cubicBezTo>
                    <a:cubicBezTo>
                      <a:pt x="325029" y="107583"/>
                      <a:pt x="325029" y="107583"/>
                      <a:pt x="325029" y="106916"/>
                    </a:cubicBezTo>
                    <a:cubicBezTo>
                      <a:pt x="325029" y="106249"/>
                      <a:pt x="325029" y="105392"/>
                      <a:pt x="325029" y="104630"/>
                    </a:cubicBezTo>
                    <a:cubicBezTo>
                      <a:pt x="324972" y="104411"/>
                      <a:pt x="324972" y="104182"/>
                      <a:pt x="325029" y="103963"/>
                    </a:cubicBezTo>
                    <a:cubicBezTo>
                      <a:pt x="325505" y="101963"/>
                      <a:pt x="325029" y="101963"/>
                      <a:pt x="325029" y="101772"/>
                    </a:cubicBezTo>
                    <a:cubicBezTo>
                      <a:pt x="324267" y="101896"/>
                      <a:pt x="323562" y="102268"/>
                      <a:pt x="323029" y="102820"/>
                    </a:cubicBezTo>
                    <a:cubicBezTo>
                      <a:pt x="322267" y="103582"/>
                      <a:pt x="321696" y="104534"/>
                      <a:pt x="320933" y="105296"/>
                    </a:cubicBezTo>
                    <a:cubicBezTo>
                      <a:pt x="320172" y="106058"/>
                      <a:pt x="319695" y="105296"/>
                      <a:pt x="318838" y="106535"/>
                    </a:cubicBezTo>
                    <a:close/>
                    <a:moveTo>
                      <a:pt x="356366" y="23953"/>
                    </a:moveTo>
                    <a:cubicBezTo>
                      <a:pt x="356366" y="23953"/>
                      <a:pt x="351509" y="26144"/>
                      <a:pt x="351413" y="26334"/>
                    </a:cubicBezTo>
                    <a:lnTo>
                      <a:pt x="355319" y="24715"/>
                    </a:lnTo>
                    <a:cubicBezTo>
                      <a:pt x="355757" y="24553"/>
                      <a:pt x="356176" y="24325"/>
                      <a:pt x="356557" y="24048"/>
                    </a:cubicBezTo>
                    <a:lnTo>
                      <a:pt x="356557" y="24048"/>
                    </a:lnTo>
                    <a:close/>
                    <a:moveTo>
                      <a:pt x="349413" y="27573"/>
                    </a:moveTo>
                    <a:cubicBezTo>
                      <a:pt x="349413" y="27573"/>
                      <a:pt x="349413" y="27573"/>
                      <a:pt x="349413" y="27573"/>
                    </a:cubicBezTo>
                    <a:cubicBezTo>
                      <a:pt x="348184" y="27944"/>
                      <a:pt x="347003" y="28449"/>
                      <a:pt x="345889" y="29096"/>
                    </a:cubicBezTo>
                    <a:lnTo>
                      <a:pt x="348937" y="28049"/>
                    </a:lnTo>
                    <a:close/>
                    <a:moveTo>
                      <a:pt x="339888" y="31954"/>
                    </a:moveTo>
                    <a:lnTo>
                      <a:pt x="339888" y="31954"/>
                    </a:lnTo>
                    <a:lnTo>
                      <a:pt x="343603" y="30525"/>
                    </a:lnTo>
                    <a:lnTo>
                      <a:pt x="345698" y="29382"/>
                    </a:lnTo>
                    <a:cubicBezTo>
                      <a:pt x="344327" y="30058"/>
                      <a:pt x="342888" y="30601"/>
                      <a:pt x="341412" y="31002"/>
                    </a:cubicBezTo>
                    <a:cubicBezTo>
                      <a:pt x="340364" y="31383"/>
                      <a:pt x="340364" y="31383"/>
                      <a:pt x="340174" y="31668"/>
                    </a:cubicBezTo>
                    <a:close/>
                    <a:moveTo>
                      <a:pt x="352556" y="32430"/>
                    </a:moveTo>
                    <a:lnTo>
                      <a:pt x="352556" y="32430"/>
                    </a:lnTo>
                    <a:cubicBezTo>
                      <a:pt x="352185" y="32535"/>
                      <a:pt x="351833" y="32697"/>
                      <a:pt x="351509" y="32907"/>
                    </a:cubicBezTo>
                    <a:lnTo>
                      <a:pt x="349889" y="33859"/>
                    </a:lnTo>
                    <a:lnTo>
                      <a:pt x="349032" y="33859"/>
                    </a:lnTo>
                    <a:cubicBezTo>
                      <a:pt x="349032" y="33859"/>
                      <a:pt x="349032" y="33859"/>
                      <a:pt x="349032" y="33859"/>
                    </a:cubicBezTo>
                    <a:lnTo>
                      <a:pt x="349032" y="33859"/>
                    </a:lnTo>
                    <a:lnTo>
                      <a:pt x="352175" y="32430"/>
                    </a:lnTo>
                    <a:cubicBezTo>
                      <a:pt x="352175" y="32430"/>
                      <a:pt x="353128" y="31763"/>
                      <a:pt x="352938" y="31668"/>
                    </a:cubicBezTo>
                    <a:close/>
                    <a:moveTo>
                      <a:pt x="344365" y="80722"/>
                    </a:moveTo>
                    <a:lnTo>
                      <a:pt x="343889" y="80722"/>
                    </a:lnTo>
                    <a:lnTo>
                      <a:pt x="343413" y="80722"/>
                    </a:lnTo>
                    <a:lnTo>
                      <a:pt x="343413" y="80722"/>
                    </a:lnTo>
                    <a:cubicBezTo>
                      <a:pt x="343413" y="80722"/>
                      <a:pt x="342460" y="82055"/>
                      <a:pt x="342841" y="82055"/>
                    </a:cubicBezTo>
                    <a:lnTo>
                      <a:pt x="343413" y="82055"/>
                    </a:lnTo>
                    <a:cubicBezTo>
                      <a:pt x="343413" y="82055"/>
                      <a:pt x="343413" y="82055"/>
                      <a:pt x="343889" y="82055"/>
                    </a:cubicBezTo>
                    <a:cubicBezTo>
                      <a:pt x="344536" y="81675"/>
                      <a:pt x="345146" y="81227"/>
                      <a:pt x="345698" y="80722"/>
                    </a:cubicBezTo>
                    <a:cubicBezTo>
                      <a:pt x="345698" y="80722"/>
                      <a:pt x="345698" y="80722"/>
                      <a:pt x="345698" y="80722"/>
                    </a:cubicBezTo>
                    <a:lnTo>
                      <a:pt x="344270" y="80722"/>
                    </a:lnTo>
                    <a:close/>
                    <a:moveTo>
                      <a:pt x="347604" y="77103"/>
                    </a:moveTo>
                    <a:lnTo>
                      <a:pt x="347604" y="77103"/>
                    </a:lnTo>
                    <a:lnTo>
                      <a:pt x="347604" y="77103"/>
                    </a:lnTo>
                    <a:lnTo>
                      <a:pt x="345889" y="78246"/>
                    </a:lnTo>
                    <a:cubicBezTo>
                      <a:pt x="345689" y="78436"/>
                      <a:pt x="345527" y="78655"/>
                      <a:pt x="345413" y="78912"/>
                    </a:cubicBezTo>
                    <a:cubicBezTo>
                      <a:pt x="345413" y="78912"/>
                      <a:pt x="345413" y="78912"/>
                      <a:pt x="345413" y="78912"/>
                    </a:cubicBezTo>
                    <a:lnTo>
                      <a:pt x="347222" y="77579"/>
                    </a:lnTo>
                    <a:lnTo>
                      <a:pt x="347222" y="77579"/>
                    </a:lnTo>
                    <a:cubicBezTo>
                      <a:pt x="347222" y="77579"/>
                      <a:pt x="347889" y="76912"/>
                      <a:pt x="347889" y="76817"/>
                    </a:cubicBezTo>
                    <a:close/>
                    <a:moveTo>
                      <a:pt x="332363" y="36526"/>
                    </a:moveTo>
                    <a:lnTo>
                      <a:pt x="331697" y="36526"/>
                    </a:lnTo>
                    <a:lnTo>
                      <a:pt x="331697" y="36526"/>
                    </a:lnTo>
                    <a:lnTo>
                      <a:pt x="331697" y="36526"/>
                    </a:lnTo>
                    <a:lnTo>
                      <a:pt x="331125" y="36526"/>
                    </a:lnTo>
                    <a:cubicBezTo>
                      <a:pt x="330268" y="36526"/>
                      <a:pt x="329553" y="37193"/>
                      <a:pt x="329506" y="38050"/>
                    </a:cubicBezTo>
                    <a:lnTo>
                      <a:pt x="329506" y="38050"/>
                    </a:lnTo>
                    <a:lnTo>
                      <a:pt x="329506" y="38050"/>
                    </a:lnTo>
                    <a:cubicBezTo>
                      <a:pt x="329506" y="38050"/>
                      <a:pt x="335126" y="35764"/>
                      <a:pt x="343413" y="31763"/>
                    </a:cubicBezTo>
                    <a:lnTo>
                      <a:pt x="343413" y="31763"/>
                    </a:lnTo>
                    <a:cubicBezTo>
                      <a:pt x="343413" y="31763"/>
                      <a:pt x="350842" y="27763"/>
                      <a:pt x="351795" y="27096"/>
                    </a:cubicBezTo>
                    <a:lnTo>
                      <a:pt x="351795" y="27096"/>
                    </a:lnTo>
                    <a:lnTo>
                      <a:pt x="351318" y="27096"/>
                    </a:lnTo>
                    <a:cubicBezTo>
                      <a:pt x="349604" y="27096"/>
                      <a:pt x="348365" y="28525"/>
                      <a:pt x="346746" y="28906"/>
                    </a:cubicBezTo>
                    <a:cubicBezTo>
                      <a:pt x="347384" y="28401"/>
                      <a:pt x="348089" y="27992"/>
                      <a:pt x="348842" y="27668"/>
                    </a:cubicBezTo>
                    <a:cubicBezTo>
                      <a:pt x="347604" y="27668"/>
                      <a:pt x="337126" y="33288"/>
                      <a:pt x="333602" y="35097"/>
                    </a:cubicBezTo>
                    <a:close/>
                    <a:moveTo>
                      <a:pt x="387799" y="15285"/>
                    </a:moveTo>
                    <a:cubicBezTo>
                      <a:pt x="387323" y="15762"/>
                      <a:pt x="386561" y="15952"/>
                      <a:pt x="386084" y="16428"/>
                    </a:cubicBezTo>
                    <a:cubicBezTo>
                      <a:pt x="387894" y="15857"/>
                      <a:pt x="387894" y="15857"/>
                      <a:pt x="388275" y="15857"/>
                    </a:cubicBezTo>
                    <a:lnTo>
                      <a:pt x="388275" y="15857"/>
                    </a:lnTo>
                    <a:lnTo>
                      <a:pt x="385704" y="17286"/>
                    </a:lnTo>
                    <a:lnTo>
                      <a:pt x="385704" y="17286"/>
                    </a:lnTo>
                    <a:lnTo>
                      <a:pt x="384751" y="17286"/>
                    </a:lnTo>
                    <a:cubicBezTo>
                      <a:pt x="383417" y="15952"/>
                      <a:pt x="371988" y="23667"/>
                      <a:pt x="371797" y="23763"/>
                    </a:cubicBezTo>
                    <a:cubicBezTo>
                      <a:pt x="373416" y="23763"/>
                      <a:pt x="373797" y="23763"/>
                      <a:pt x="374083" y="23763"/>
                    </a:cubicBezTo>
                    <a:lnTo>
                      <a:pt x="372749" y="24525"/>
                    </a:lnTo>
                    <a:lnTo>
                      <a:pt x="375607" y="23286"/>
                    </a:lnTo>
                    <a:cubicBezTo>
                      <a:pt x="378464" y="21953"/>
                      <a:pt x="378464" y="21953"/>
                      <a:pt x="378846" y="21953"/>
                    </a:cubicBezTo>
                    <a:lnTo>
                      <a:pt x="378846" y="21953"/>
                    </a:lnTo>
                    <a:lnTo>
                      <a:pt x="378846" y="21953"/>
                    </a:lnTo>
                    <a:cubicBezTo>
                      <a:pt x="377893" y="21953"/>
                      <a:pt x="377893" y="21953"/>
                      <a:pt x="377607" y="22620"/>
                    </a:cubicBezTo>
                    <a:cubicBezTo>
                      <a:pt x="378941" y="22620"/>
                      <a:pt x="380274" y="21572"/>
                      <a:pt x="381608" y="21286"/>
                    </a:cubicBezTo>
                    <a:cubicBezTo>
                      <a:pt x="382941" y="21000"/>
                      <a:pt x="385894" y="19953"/>
                      <a:pt x="385989" y="19953"/>
                    </a:cubicBezTo>
                    <a:lnTo>
                      <a:pt x="385989" y="19953"/>
                    </a:lnTo>
                    <a:cubicBezTo>
                      <a:pt x="386561" y="19953"/>
                      <a:pt x="386561" y="19953"/>
                      <a:pt x="386656" y="19953"/>
                    </a:cubicBezTo>
                    <a:lnTo>
                      <a:pt x="386656" y="19953"/>
                    </a:lnTo>
                    <a:lnTo>
                      <a:pt x="386656" y="19953"/>
                    </a:lnTo>
                    <a:cubicBezTo>
                      <a:pt x="389609" y="17381"/>
                      <a:pt x="394181" y="18143"/>
                      <a:pt x="396753" y="15000"/>
                    </a:cubicBezTo>
                    <a:cubicBezTo>
                      <a:pt x="396086" y="15000"/>
                      <a:pt x="395514" y="15571"/>
                      <a:pt x="394752" y="15666"/>
                    </a:cubicBezTo>
                    <a:cubicBezTo>
                      <a:pt x="396343" y="15038"/>
                      <a:pt x="397867" y="14276"/>
                      <a:pt x="399324" y="13380"/>
                    </a:cubicBezTo>
                    <a:lnTo>
                      <a:pt x="399324" y="13380"/>
                    </a:lnTo>
                    <a:cubicBezTo>
                      <a:pt x="402467" y="11856"/>
                      <a:pt x="405706" y="10618"/>
                      <a:pt x="408849" y="9094"/>
                    </a:cubicBezTo>
                    <a:cubicBezTo>
                      <a:pt x="409992" y="8523"/>
                      <a:pt x="409992" y="8523"/>
                      <a:pt x="410278" y="8237"/>
                    </a:cubicBezTo>
                    <a:lnTo>
                      <a:pt x="408182" y="8904"/>
                    </a:lnTo>
                    <a:lnTo>
                      <a:pt x="408182" y="8904"/>
                    </a:lnTo>
                    <a:cubicBezTo>
                      <a:pt x="405544" y="9618"/>
                      <a:pt x="402963" y="10542"/>
                      <a:pt x="400467" y="11666"/>
                    </a:cubicBezTo>
                    <a:cubicBezTo>
                      <a:pt x="399515" y="12142"/>
                      <a:pt x="399515" y="12142"/>
                      <a:pt x="399229" y="12142"/>
                    </a:cubicBezTo>
                    <a:lnTo>
                      <a:pt x="399229" y="12142"/>
                    </a:lnTo>
                    <a:lnTo>
                      <a:pt x="399229" y="12142"/>
                    </a:lnTo>
                    <a:cubicBezTo>
                      <a:pt x="397800" y="11666"/>
                      <a:pt x="396848" y="12999"/>
                      <a:pt x="395609" y="13285"/>
                    </a:cubicBezTo>
                    <a:lnTo>
                      <a:pt x="396181" y="13285"/>
                    </a:lnTo>
                    <a:cubicBezTo>
                      <a:pt x="394857" y="13599"/>
                      <a:pt x="393571" y="14076"/>
                      <a:pt x="392371" y="14714"/>
                    </a:cubicBezTo>
                    <a:lnTo>
                      <a:pt x="392371" y="14714"/>
                    </a:lnTo>
                    <a:cubicBezTo>
                      <a:pt x="392371" y="15190"/>
                      <a:pt x="391704" y="15285"/>
                      <a:pt x="390466" y="15571"/>
                    </a:cubicBezTo>
                    <a:cubicBezTo>
                      <a:pt x="389390" y="15771"/>
                      <a:pt x="388361" y="16162"/>
                      <a:pt x="387418" y="16714"/>
                    </a:cubicBezTo>
                    <a:close/>
                    <a:moveTo>
                      <a:pt x="393514" y="11666"/>
                    </a:moveTo>
                    <a:lnTo>
                      <a:pt x="393990" y="11666"/>
                    </a:lnTo>
                    <a:cubicBezTo>
                      <a:pt x="395905" y="11008"/>
                      <a:pt x="397781" y="10247"/>
                      <a:pt x="399610" y="9380"/>
                    </a:cubicBezTo>
                    <a:lnTo>
                      <a:pt x="398467" y="9380"/>
                    </a:lnTo>
                    <a:lnTo>
                      <a:pt x="393895" y="10999"/>
                    </a:lnTo>
                    <a:lnTo>
                      <a:pt x="393895" y="10999"/>
                    </a:lnTo>
                    <a:lnTo>
                      <a:pt x="394657" y="10999"/>
                    </a:lnTo>
                    <a:cubicBezTo>
                      <a:pt x="394276" y="10961"/>
                      <a:pt x="393895" y="10961"/>
                      <a:pt x="393514" y="10999"/>
                    </a:cubicBezTo>
                    <a:close/>
                    <a:moveTo>
                      <a:pt x="626400" y="23191"/>
                    </a:moveTo>
                    <a:cubicBezTo>
                      <a:pt x="626400" y="23191"/>
                      <a:pt x="626400" y="23191"/>
                      <a:pt x="627067" y="23191"/>
                    </a:cubicBezTo>
                    <a:lnTo>
                      <a:pt x="627067" y="23191"/>
                    </a:lnTo>
                    <a:cubicBezTo>
                      <a:pt x="627543" y="23191"/>
                      <a:pt x="627067" y="24048"/>
                      <a:pt x="627543" y="24334"/>
                    </a:cubicBezTo>
                    <a:lnTo>
                      <a:pt x="627543" y="24334"/>
                    </a:lnTo>
                    <a:lnTo>
                      <a:pt x="628115" y="24334"/>
                    </a:lnTo>
                    <a:lnTo>
                      <a:pt x="628115" y="24334"/>
                    </a:lnTo>
                    <a:lnTo>
                      <a:pt x="628686" y="24334"/>
                    </a:lnTo>
                    <a:lnTo>
                      <a:pt x="630020" y="24334"/>
                    </a:lnTo>
                    <a:cubicBezTo>
                      <a:pt x="630172" y="23648"/>
                      <a:pt x="630172" y="22924"/>
                      <a:pt x="630020" y="22238"/>
                    </a:cubicBezTo>
                    <a:cubicBezTo>
                      <a:pt x="629782" y="21924"/>
                      <a:pt x="629448" y="21686"/>
                      <a:pt x="629067" y="21572"/>
                    </a:cubicBezTo>
                    <a:cubicBezTo>
                      <a:pt x="629067" y="21572"/>
                      <a:pt x="629067" y="21572"/>
                      <a:pt x="629067" y="21572"/>
                    </a:cubicBezTo>
                    <a:cubicBezTo>
                      <a:pt x="629067" y="21572"/>
                      <a:pt x="629067" y="22238"/>
                      <a:pt x="627924" y="22238"/>
                    </a:cubicBezTo>
                    <a:lnTo>
                      <a:pt x="627924" y="22238"/>
                    </a:lnTo>
                    <a:cubicBezTo>
                      <a:pt x="627734" y="22334"/>
                      <a:pt x="626686" y="22905"/>
                      <a:pt x="626686" y="22905"/>
                    </a:cubicBezTo>
                    <a:close/>
                    <a:moveTo>
                      <a:pt x="670787" y="10713"/>
                    </a:moveTo>
                    <a:cubicBezTo>
                      <a:pt x="669548" y="10713"/>
                      <a:pt x="668501" y="9856"/>
                      <a:pt x="667263" y="9951"/>
                    </a:cubicBezTo>
                    <a:lnTo>
                      <a:pt x="667263" y="9951"/>
                    </a:lnTo>
                    <a:cubicBezTo>
                      <a:pt x="667739" y="9951"/>
                      <a:pt x="668405" y="9951"/>
                      <a:pt x="668691" y="10808"/>
                    </a:cubicBezTo>
                    <a:cubicBezTo>
                      <a:pt x="668977" y="11666"/>
                      <a:pt x="668120" y="10808"/>
                      <a:pt x="667834" y="10808"/>
                    </a:cubicBezTo>
                    <a:cubicBezTo>
                      <a:pt x="668653" y="11694"/>
                      <a:pt x="669710" y="12323"/>
                      <a:pt x="670882" y="12618"/>
                    </a:cubicBezTo>
                    <a:cubicBezTo>
                      <a:pt x="672311" y="12618"/>
                      <a:pt x="672406" y="12618"/>
                      <a:pt x="672501" y="13190"/>
                    </a:cubicBezTo>
                    <a:cubicBezTo>
                      <a:pt x="672597" y="13761"/>
                      <a:pt x="671930" y="13190"/>
                      <a:pt x="671644" y="13190"/>
                    </a:cubicBezTo>
                    <a:cubicBezTo>
                      <a:pt x="671358" y="13190"/>
                      <a:pt x="674406" y="15000"/>
                      <a:pt x="674406" y="15000"/>
                    </a:cubicBezTo>
                    <a:lnTo>
                      <a:pt x="674406" y="15000"/>
                    </a:lnTo>
                    <a:lnTo>
                      <a:pt x="673835" y="15000"/>
                    </a:lnTo>
                    <a:lnTo>
                      <a:pt x="673835" y="15000"/>
                    </a:lnTo>
                    <a:cubicBezTo>
                      <a:pt x="674882" y="15000"/>
                      <a:pt x="675835" y="15857"/>
                      <a:pt x="676883" y="15571"/>
                    </a:cubicBezTo>
                    <a:lnTo>
                      <a:pt x="676883" y="15571"/>
                    </a:lnTo>
                    <a:cubicBezTo>
                      <a:pt x="675835" y="14809"/>
                      <a:pt x="674501" y="14619"/>
                      <a:pt x="673358" y="13857"/>
                    </a:cubicBezTo>
                    <a:lnTo>
                      <a:pt x="679740" y="15762"/>
                    </a:lnTo>
                    <a:lnTo>
                      <a:pt x="679740" y="15762"/>
                    </a:lnTo>
                    <a:lnTo>
                      <a:pt x="679740" y="15762"/>
                    </a:lnTo>
                    <a:lnTo>
                      <a:pt x="681264" y="15762"/>
                    </a:lnTo>
                    <a:cubicBezTo>
                      <a:pt x="681083" y="15523"/>
                      <a:pt x="680855" y="15333"/>
                      <a:pt x="680597" y="15190"/>
                    </a:cubicBezTo>
                    <a:lnTo>
                      <a:pt x="680597" y="15190"/>
                    </a:lnTo>
                    <a:lnTo>
                      <a:pt x="680121" y="15190"/>
                    </a:lnTo>
                    <a:cubicBezTo>
                      <a:pt x="678597" y="14523"/>
                      <a:pt x="676978" y="14142"/>
                      <a:pt x="675549" y="13380"/>
                    </a:cubicBezTo>
                    <a:cubicBezTo>
                      <a:pt x="674987" y="13095"/>
                      <a:pt x="674444" y="12780"/>
                      <a:pt x="673930" y="12428"/>
                    </a:cubicBezTo>
                    <a:lnTo>
                      <a:pt x="666405" y="9570"/>
                    </a:lnTo>
                    <a:cubicBezTo>
                      <a:pt x="666129" y="9475"/>
                      <a:pt x="665824" y="9475"/>
                      <a:pt x="665548" y="9570"/>
                    </a:cubicBezTo>
                    <a:lnTo>
                      <a:pt x="665548" y="9570"/>
                    </a:lnTo>
                    <a:cubicBezTo>
                      <a:pt x="666462" y="10447"/>
                      <a:pt x="667624" y="11018"/>
                      <a:pt x="668882" y="11190"/>
                    </a:cubicBezTo>
                    <a:cubicBezTo>
                      <a:pt x="668882" y="11190"/>
                      <a:pt x="670787" y="9951"/>
                      <a:pt x="671072" y="10428"/>
                    </a:cubicBezTo>
                    <a:close/>
                    <a:moveTo>
                      <a:pt x="675454" y="73483"/>
                    </a:moveTo>
                    <a:cubicBezTo>
                      <a:pt x="675454" y="73483"/>
                      <a:pt x="676502" y="73483"/>
                      <a:pt x="678692" y="73483"/>
                    </a:cubicBezTo>
                    <a:lnTo>
                      <a:pt x="678692" y="73959"/>
                    </a:lnTo>
                    <a:cubicBezTo>
                      <a:pt x="678692" y="74721"/>
                      <a:pt x="677740" y="75007"/>
                      <a:pt x="677549" y="75769"/>
                    </a:cubicBezTo>
                    <a:cubicBezTo>
                      <a:pt x="678312" y="75855"/>
                      <a:pt x="679073" y="75855"/>
                      <a:pt x="679835" y="75769"/>
                    </a:cubicBezTo>
                    <a:cubicBezTo>
                      <a:pt x="680883" y="75769"/>
                      <a:pt x="681836" y="75102"/>
                      <a:pt x="682883" y="75007"/>
                    </a:cubicBezTo>
                    <a:cubicBezTo>
                      <a:pt x="683931" y="74912"/>
                      <a:pt x="682883" y="75007"/>
                      <a:pt x="682883" y="75007"/>
                    </a:cubicBezTo>
                    <a:cubicBezTo>
                      <a:pt x="685931" y="75864"/>
                      <a:pt x="685360" y="74340"/>
                      <a:pt x="685074" y="73674"/>
                    </a:cubicBezTo>
                    <a:cubicBezTo>
                      <a:pt x="684789" y="73007"/>
                      <a:pt x="685074" y="72816"/>
                      <a:pt x="682312" y="69578"/>
                    </a:cubicBezTo>
                    <a:cubicBezTo>
                      <a:pt x="681740" y="68816"/>
                      <a:pt x="682312" y="67863"/>
                      <a:pt x="682312" y="67006"/>
                    </a:cubicBezTo>
                    <a:cubicBezTo>
                      <a:pt x="682026" y="66977"/>
                      <a:pt x="681740" y="66977"/>
                      <a:pt x="681455" y="67006"/>
                    </a:cubicBezTo>
                    <a:cubicBezTo>
                      <a:pt x="680683" y="66501"/>
                      <a:pt x="679998" y="65854"/>
                      <a:pt x="679455" y="65101"/>
                    </a:cubicBezTo>
                    <a:cubicBezTo>
                      <a:pt x="680226" y="64625"/>
                      <a:pt x="681121" y="64358"/>
                      <a:pt x="682026" y="64339"/>
                    </a:cubicBezTo>
                    <a:lnTo>
                      <a:pt x="682598" y="64339"/>
                    </a:lnTo>
                    <a:cubicBezTo>
                      <a:pt x="682598" y="64339"/>
                      <a:pt x="682598" y="64339"/>
                      <a:pt x="682026" y="62434"/>
                    </a:cubicBezTo>
                    <a:cubicBezTo>
                      <a:pt x="681455" y="60529"/>
                      <a:pt x="682026" y="61482"/>
                      <a:pt x="682026" y="60815"/>
                    </a:cubicBezTo>
                    <a:cubicBezTo>
                      <a:pt x="682026" y="60148"/>
                      <a:pt x="682026" y="60815"/>
                      <a:pt x="680216" y="58719"/>
                    </a:cubicBezTo>
                    <a:cubicBezTo>
                      <a:pt x="678407" y="56624"/>
                      <a:pt x="680788" y="57386"/>
                      <a:pt x="681359" y="57195"/>
                    </a:cubicBezTo>
                    <a:cubicBezTo>
                      <a:pt x="681931" y="57005"/>
                      <a:pt x="681931" y="57195"/>
                      <a:pt x="682026" y="56719"/>
                    </a:cubicBezTo>
                    <a:lnTo>
                      <a:pt x="682026" y="53385"/>
                    </a:lnTo>
                    <a:lnTo>
                      <a:pt x="682026" y="53385"/>
                    </a:lnTo>
                    <a:cubicBezTo>
                      <a:pt x="682026" y="52147"/>
                      <a:pt x="684217" y="50337"/>
                      <a:pt x="684217" y="50337"/>
                    </a:cubicBezTo>
                    <a:cubicBezTo>
                      <a:pt x="686027" y="49671"/>
                      <a:pt x="685170" y="48718"/>
                      <a:pt x="682407" y="45670"/>
                    </a:cubicBezTo>
                    <a:cubicBezTo>
                      <a:pt x="681417" y="44689"/>
                      <a:pt x="680093" y="44108"/>
                      <a:pt x="678692" y="44051"/>
                    </a:cubicBezTo>
                    <a:cubicBezTo>
                      <a:pt x="675168" y="44051"/>
                      <a:pt x="677073" y="46337"/>
                      <a:pt x="677740" y="46908"/>
                    </a:cubicBezTo>
                    <a:cubicBezTo>
                      <a:pt x="678407" y="47480"/>
                      <a:pt x="677740" y="47384"/>
                      <a:pt x="677740" y="47670"/>
                    </a:cubicBezTo>
                    <a:lnTo>
                      <a:pt x="676597" y="47670"/>
                    </a:lnTo>
                    <a:lnTo>
                      <a:pt x="676597" y="47670"/>
                    </a:lnTo>
                    <a:cubicBezTo>
                      <a:pt x="677264" y="48718"/>
                      <a:pt x="677264" y="48718"/>
                      <a:pt x="677168" y="49099"/>
                    </a:cubicBezTo>
                    <a:cubicBezTo>
                      <a:pt x="677073" y="49480"/>
                      <a:pt x="676311" y="50242"/>
                      <a:pt x="675645" y="50528"/>
                    </a:cubicBezTo>
                    <a:cubicBezTo>
                      <a:pt x="674921" y="50671"/>
                      <a:pt x="674178" y="50671"/>
                      <a:pt x="673454" y="50528"/>
                    </a:cubicBezTo>
                    <a:lnTo>
                      <a:pt x="672311" y="51099"/>
                    </a:lnTo>
                    <a:lnTo>
                      <a:pt x="672311" y="52242"/>
                    </a:lnTo>
                    <a:cubicBezTo>
                      <a:pt x="670691" y="52242"/>
                      <a:pt x="670406" y="52242"/>
                      <a:pt x="670310" y="52242"/>
                    </a:cubicBezTo>
                    <a:cubicBezTo>
                      <a:pt x="670215" y="52242"/>
                      <a:pt x="671739" y="54242"/>
                      <a:pt x="671644" y="55576"/>
                    </a:cubicBezTo>
                    <a:cubicBezTo>
                      <a:pt x="671549" y="56909"/>
                      <a:pt x="670310" y="56433"/>
                      <a:pt x="669930" y="57195"/>
                    </a:cubicBezTo>
                    <a:cubicBezTo>
                      <a:pt x="669548" y="57957"/>
                      <a:pt x="669930" y="58529"/>
                      <a:pt x="670787" y="59291"/>
                    </a:cubicBezTo>
                    <a:cubicBezTo>
                      <a:pt x="671644" y="60053"/>
                      <a:pt x="671834" y="60815"/>
                      <a:pt x="670120" y="60910"/>
                    </a:cubicBezTo>
                    <a:cubicBezTo>
                      <a:pt x="668405" y="61005"/>
                      <a:pt x="669548" y="63005"/>
                      <a:pt x="671454" y="63958"/>
                    </a:cubicBezTo>
                    <a:cubicBezTo>
                      <a:pt x="672254" y="64225"/>
                      <a:pt x="672911" y="64806"/>
                      <a:pt x="673263" y="65577"/>
                    </a:cubicBezTo>
                    <a:lnTo>
                      <a:pt x="673263" y="66625"/>
                    </a:lnTo>
                    <a:cubicBezTo>
                      <a:pt x="673263" y="66625"/>
                      <a:pt x="673263" y="67292"/>
                      <a:pt x="673263" y="67768"/>
                    </a:cubicBezTo>
                    <a:cubicBezTo>
                      <a:pt x="673263" y="68244"/>
                      <a:pt x="673930" y="68530"/>
                      <a:pt x="674025" y="69006"/>
                    </a:cubicBezTo>
                    <a:lnTo>
                      <a:pt x="674025" y="69006"/>
                    </a:lnTo>
                    <a:cubicBezTo>
                      <a:pt x="674025" y="69006"/>
                      <a:pt x="673358" y="69006"/>
                      <a:pt x="673168" y="69006"/>
                    </a:cubicBezTo>
                    <a:cubicBezTo>
                      <a:pt x="672978" y="69006"/>
                      <a:pt x="674121" y="69673"/>
                      <a:pt x="674216" y="70340"/>
                    </a:cubicBezTo>
                    <a:cubicBezTo>
                      <a:pt x="674311" y="71007"/>
                      <a:pt x="673644" y="71483"/>
                      <a:pt x="674216" y="72150"/>
                    </a:cubicBezTo>
                    <a:close/>
                    <a:moveTo>
                      <a:pt x="662024" y="9284"/>
                    </a:moveTo>
                    <a:cubicBezTo>
                      <a:pt x="662024" y="9284"/>
                      <a:pt x="661262" y="9284"/>
                      <a:pt x="660881" y="9284"/>
                    </a:cubicBezTo>
                    <a:cubicBezTo>
                      <a:pt x="660500" y="9284"/>
                      <a:pt x="660881" y="9284"/>
                      <a:pt x="661452" y="9856"/>
                    </a:cubicBezTo>
                    <a:cubicBezTo>
                      <a:pt x="662033" y="10161"/>
                      <a:pt x="662643" y="10418"/>
                      <a:pt x="663262" y="10618"/>
                    </a:cubicBezTo>
                    <a:cubicBezTo>
                      <a:pt x="663262" y="10618"/>
                      <a:pt x="664214" y="10618"/>
                      <a:pt x="664310" y="10618"/>
                    </a:cubicBezTo>
                    <a:cubicBezTo>
                      <a:pt x="664405" y="10618"/>
                      <a:pt x="664310" y="10618"/>
                      <a:pt x="663833" y="10618"/>
                    </a:cubicBezTo>
                    <a:cubicBezTo>
                      <a:pt x="664614" y="11151"/>
                      <a:pt x="665548" y="11418"/>
                      <a:pt x="666500" y="11380"/>
                    </a:cubicBezTo>
                    <a:cubicBezTo>
                      <a:pt x="666500" y="10808"/>
                      <a:pt x="667263" y="11380"/>
                      <a:pt x="667739" y="11380"/>
                    </a:cubicBezTo>
                    <a:lnTo>
                      <a:pt x="667739" y="11380"/>
                    </a:lnTo>
                    <a:cubicBezTo>
                      <a:pt x="667739" y="11380"/>
                      <a:pt x="666691" y="11380"/>
                      <a:pt x="666881" y="10523"/>
                    </a:cubicBezTo>
                    <a:cubicBezTo>
                      <a:pt x="667053" y="10266"/>
                      <a:pt x="667053" y="9923"/>
                      <a:pt x="666881" y="9666"/>
                    </a:cubicBezTo>
                    <a:cubicBezTo>
                      <a:pt x="666348" y="9265"/>
                      <a:pt x="665767" y="8913"/>
                      <a:pt x="665167" y="8618"/>
                    </a:cubicBezTo>
                    <a:cubicBezTo>
                      <a:pt x="664691" y="8618"/>
                      <a:pt x="663167" y="7475"/>
                      <a:pt x="662881" y="7284"/>
                    </a:cubicBezTo>
                    <a:lnTo>
                      <a:pt x="662881" y="7284"/>
                    </a:lnTo>
                    <a:cubicBezTo>
                      <a:pt x="662881" y="7284"/>
                      <a:pt x="662881" y="7284"/>
                      <a:pt x="662881" y="7284"/>
                    </a:cubicBezTo>
                    <a:lnTo>
                      <a:pt x="662881" y="7284"/>
                    </a:lnTo>
                    <a:lnTo>
                      <a:pt x="660976" y="7284"/>
                    </a:lnTo>
                    <a:cubicBezTo>
                      <a:pt x="660243" y="7237"/>
                      <a:pt x="659519" y="7237"/>
                      <a:pt x="658785" y="7284"/>
                    </a:cubicBezTo>
                    <a:lnTo>
                      <a:pt x="658785" y="7284"/>
                    </a:lnTo>
                    <a:cubicBezTo>
                      <a:pt x="659747" y="7837"/>
                      <a:pt x="660776" y="8284"/>
                      <a:pt x="661833" y="8618"/>
                    </a:cubicBezTo>
                    <a:cubicBezTo>
                      <a:pt x="662309" y="8713"/>
                      <a:pt x="662309" y="8904"/>
                      <a:pt x="662309" y="8999"/>
                    </a:cubicBezTo>
                    <a:close/>
                    <a:moveTo>
                      <a:pt x="670406" y="13666"/>
                    </a:moveTo>
                    <a:lnTo>
                      <a:pt x="669644" y="13190"/>
                    </a:lnTo>
                    <a:lnTo>
                      <a:pt x="669072" y="13190"/>
                    </a:lnTo>
                    <a:lnTo>
                      <a:pt x="667643" y="13190"/>
                    </a:lnTo>
                    <a:lnTo>
                      <a:pt x="666881" y="13190"/>
                    </a:lnTo>
                    <a:cubicBezTo>
                      <a:pt x="666881" y="13190"/>
                      <a:pt x="667929" y="14047"/>
                      <a:pt x="668501" y="14238"/>
                    </a:cubicBezTo>
                    <a:lnTo>
                      <a:pt x="669167" y="14238"/>
                    </a:lnTo>
                    <a:lnTo>
                      <a:pt x="669167" y="14238"/>
                    </a:lnTo>
                    <a:cubicBezTo>
                      <a:pt x="669167" y="14238"/>
                      <a:pt x="669167" y="14238"/>
                      <a:pt x="670310" y="14238"/>
                    </a:cubicBezTo>
                    <a:lnTo>
                      <a:pt x="671358" y="14238"/>
                    </a:lnTo>
                    <a:lnTo>
                      <a:pt x="671358" y="14238"/>
                    </a:lnTo>
                    <a:cubicBezTo>
                      <a:pt x="671358" y="13761"/>
                      <a:pt x="670787" y="13666"/>
                      <a:pt x="670787" y="13571"/>
                    </a:cubicBezTo>
                    <a:lnTo>
                      <a:pt x="670787" y="13571"/>
                    </a:lnTo>
                    <a:close/>
                    <a:moveTo>
                      <a:pt x="679169" y="903"/>
                    </a:moveTo>
                    <a:lnTo>
                      <a:pt x="678407" y="903"/>
                    </a:lnTo>
                    <a:lnTo>
                      <a:pt x="678407" y="903"/>
                    </a:lnTo>
                    <a:lnTo>
                      <a:pt x="678407" y="903"/>
                    </a:lnTo>
                    <a:cubicBezTo>
                      <a:pt x="679350" y="1084"/>
                      <a:pt x="680274" y="1331"/>
                      <a:pt x="681169" y="1665"/>
                    </a:cubicBezTo>
                    <a:lnTo>
                      <a:pt x="678121" y="903"/>
                    </a:lnTo>
                    <a:cubicBezTo>
                      <a:pt x="679740" y="903"/>
                      <a:pt x="687646" y="3474"/>
                      <a:pt x="687646" y="3284"/>
                    </a:cubicBezTo>
                    <a:lnTo>
                      <a:pt x="678121" y="712"/>
                    </a:lnTo>
                    <a:lnTo>
                      <a:pt x="674882" y="-50"/>
                    </a:lnTo>
                    <a:cubicBezTo>
                      <a:pt x="675359" y="36"/>
                      <a:pt x="675835" y="36"/>
                      <a:pt x="676311" y="-50"/>
                    </a:cubicBezTo>
                    <a:cubicBezTo>
                      <a:pt x="677378" y="74"/>
                      <a:pt x="678426" y="293"/>
                      <a:pt x="679455" y="617"/>
                    </a:cubicBezTo>
                    <a:close/>
                    <a:moveTo>
                      <a:pt x="679169" y="12618"/>
                    </a:moveTo>
                    <a:lnTo>
                      <a:pt x="690027" y="17381"/>
                    </a:lnTo>
                    <a:lnTo>
                      <a:pt x="690027" y="17381"/>
                    </a:lnTo>
                    <a:lnTo>
                      <a:pt x="688884" y="16714"/>
                    </a:lnTo>
                    <a:lnTo>
                      <a:pt x="685360" y="14809"/>
                    </a:lnTo>
                    <a:lnTo>
                      <a:pt x="686313" y="14809"/>
                    </a:lnTo>
                    <a:cubicBezTo>
                      <a:pt x="686313" y="14809"/>
                      <a:pt x="686313" y="13761"/>
                      <a:pt x="682979" y="12428"/>
                    </a:cubicBezTo>
                    <a:lnTo>
                      <a:pt x="679455" y="11094"/>
                    </a:lnTo>
                    <a:cubicBezTo>
                      <a:pt x="679455" y="11094"/>
                      <a:pt x="674216" y="9666"/>
                      <a:pt x="673549" y="9666"/>
                    </a:cubicBezTo>
                    <a:cubicBezTo>
                      <a:pt x="672882" y="9666"/>
                      <a:pt x="674216" y="9666"/>
                      <a:pt x="674501" y="10332"/>
                    </a:cubicBezTo>
                    <a:cubicBezTo>
                      <a:pt x="674787" y="10999"/>
                      <a:pt x="672501" y="9666"/>
                      <a:pt x="671454" y="9475"/>
                    </a:cubicBezTo>
                    <a:lnTo>
                      <a:pt x="671454" y="9475"/>
                    </a:lnTo>
                    <a:cubicBezTo>
                      <a:pt x="672187" y="10027"/>
                      <a:pt x="673035" y="10418"/>
                      <a:pt x="673930" y="10618"/>
                    </a:cubicBezTo>
                    <a:cubicBezTo>
                      <a:pt x="675873" y="10932"/>
                      <a:pt x="677769" y="11504"/>
                      <a:pt x="679550" y="12333"/>
                    </a:cubicBezTo>
                    <a:close/>
                    <a:moveTo>
                      <a:pt x="636687" y="30049"/>
                    </a:moveTo>
                    <a:lnTo>
                      <a:pt x="636687" y="30049"/>
                    </a:lnTo>
                    <a:cubicBezTo>
                      <a:pt x="636687" y="30049"/>
                      <a:pt x="636211" y="30049"/>
                      <a:pt x="636687" y="30525"/>
                    </a:cubicBezTo>
                    <a:cubicBezTo>
                      <a:pt x="637164" y="31002"/>
                      <a:pt x="637449" y="31287"/>
                      <a:pt x="637449" y="31287"/>
                    </a:cubicBezTo>
                    <a:lnTo>
                      <a:pt x="638021" y="31287"/>
                    </a:lnTo>
                    <a:lnTo>
                      <a:pt x="638592" y="31287"/>
                    </a:lnTo>
                    <a:lnTo>
                      <a:pt x="639354" y="31287"/>
                    </a:lnTo>
                    <a:lnTo>
                      <a:pt x="639354" y="31287"/>
                    </a:lnTo>
                    <a:cubicBezTo>
                      <a:pt x="639354" y="31287"/>
                      <a:pt x="639354" y="31287"/>
                      <a:pt x="639354" y="31287"/>
                    </a:cubicBezTo>
                    <a:lnTo>
                      <a:pt x="639354" y="31287"/>
                    </a:lnTo>
                    <a:cubicBezTo>
                      <a:pt x="639354" y="31287"/>
                      <a:pt x="638306" y="29763"/>
                      <a:pt x="637068" y="29763"/>
                    </a:cubicBezTo>
                    <a:close/>
                    <a:moveTo>
                      <a:pt x="639830" y="30049"/>
                    </a:moveTo>
                    <a:lnTo>
                      <a:pt x="640688" y="30049"/>
                    </a:lnTo>
                    <a:lnTo>
                      <a:pt x="640116" y="29478"/>
                    </a:lnTo>
                    <a:cubicBezTo>
                      <a:pt x="640116" y="29478"/>
                      <a:pt x="640116" y="29478"/>
                      <a:pt x="639354" y="28716"/>
                    </a:cubicBezTo>
                    <a:cubicBezTo>
                      <a:pt x="638592" y="27954"/>
                      <a:pt x="639354" y="28716"/>
                      <a:pt x="639354" y="28239"/>
                    </a:cubicBezTo>
                    <a:lnTo>
                      <a:pt x="639354" y="27763"/>
                    </a:lnTo>
                    <a:cubicBezTo>
                      <a:pt x="638840" y="27391"/>
                      <a:pt x="638259" y="27134"/>
                      <a:pt x="637640" y="27001"/>
                    </a:cubicBezTo>
                    <a:lnTo>
                      <a:pt x="637640" y="27001"/>
                    </a:lnTo>
                    <a:lnTo>
                      <a:pt x="637640" y="27001"/>
                    </a:lnTo>
                    <a:cubicBezTo>
                      <a:pt x="637640" y="27001"/>
                      <a:pt x="637164" y="27001"/>
                      <a:pt x="636973" y="27001"/>
                    </a:cubicBezTo>
                    <a:cubicBezTo>
                      <a:pt x="636782" y="27001"/>
                      <a:pt x="639354" y="29763"/>
                      <a:pt x="640212" y="30335"/>
                    </a:cubicBezTo>
                    <a:close/>
                    <a:moveTo>
                      <a:pt x="639830" y="21477"/>
                    </a:moveTo>
                    <a:cubicBezTo>
                      <a:pt x="640230" y="21772"/>
                      <a:pt x="640583" y="22124"/>
                      <a:pt x="640878" y="22524"/>
                    </a:cubicBezTo>
                    <a:cubicBezTo>
                      <a:pt x="640878" y="23000"/>
                      <a:pt x="640878" y="23667"/>
                      <a:pt x="641450" y="24144"/>
                    </a:cubicBezTo>
                    <a:lnTo>
                      <a:pt x="641450" y="24144"/>
                    </a:lnTo>
                    <a:cubicBezTo>
                      <a:pt x="642621" y="24744"/>
                      <a:pt x="643869" y="25191"/>
                      <a:pt x="645164" y="25477"/>
                    </a:cubicBezTo>
                    <a:cubicBezTo>
                      <a:pt x="645926" y="25477"/>
                      <a:pt x="646212" y="25477"/>
                      <a:pt x="646022" y="24715"/>
                    </a:cubicBezTo>
                    <a:cubicBezTo>
                      <a:pt x="645869" y="24410"/>
                      <a:pt x="645679" y="24115"/>
                      <a:pt x="645450" y="23858"/>
                    </a:cubicBezTo>
                    <a:cubicBezTo>
                      <a:pt x="644879" y="23191"/>
                      <a:pt x="644117" y="22715"/>
                      <a:pt x="643545" y="22048"/>
                    </a:cubicBezTo>
                    <a:lnTo>
                      <a:pt x="643545" y="22048"/>
                    </a:lnTo>
                    <a:cubicBezTo>
                      <a:pt x="642297" y="21105"/>
                      <a:pt x="640812" y="20543"/>
                      <a:pt x="639259" y="20429"/>
                    </a:cubicBezTo>
                    <a:lnTo>
                      <a:pt x="639259" y="20429"/>
                    </a:lnTo>
                    <a:cubicBezTo>
                      <a:pt x="639259" y="20429"/>
                      <a:pt x="639830" y="20810"/>
                      <a:pt x="640116" y="21381"/>
                    </a:cubicBezTo>
                    <a:close/>
                    <a:moveTo>
                      <a:pt x="638021" y="26334"/>
                    </a:moveTo>
                    <a:cubicBezTo>
                      <a:pt x="638021" y="26334"/>
                      <a:pt x="638021" y="26334"/>
                      <a:pt x="639259" y="27096"/>
                    </a:cubicBezTo>
                    <a:cubicBezTo>
                      <a:pt x="640497" y="27858"/>
                      <a:pt x="640307" y="27096"/>
                      <a:pt x="640212" y="27954"/>
                    </a:cubicBezTo>
                    <a:lnTo>
                      <a:pt x="640212" y="27954"/>
                    </a:lnTo>
                    <a:cubicBezTo>
                      <a:pt x="640621" y="28058"/>
                      <a:pt x="641040" y="28058"/>
                      <a:pt x="641450" y="27954"/>
                    </a:cubicBezTo>
                    <a:cubicBezTo>
                      <a:pt x="641450" y="27954"/>
                      <a:pt x="642688" y="27954"/>
                      <a:pt x="642783" y="27954"/>
                    </a:cubicBezTo>
                    <a:cubicBezTo>
                      <a:pt x="642879" y="27954"/>
                      <a:pt x="644307" y="27954"/>
                      <a:pt x="644403" y="27954"/>
                    </a:cubicBezTo>
                    <a:lnTo>
                      <a:pt x="643450" y="27001"/>
                    </a:lnTo>
                    <a:cubicBezTo>
                      <a:pt x="643450" y="27001"/>
                      <a:pt x="643450" y="26429"/>
                      <a:pt x="643450" y="26239"/>
                    </a:cubicBezTo>
                    <a:lnTo>
                      <a:pt x="643450" y="26239"/>
                    </a:lnTo>
                    <a:lnTo>
                      <a:pt x="643450" y="26239"/>
                    </a:lnTo>
                    <a:lnTo>
                      <a:pt x="643450" y="26239"/>
                    </a:lnTo>
                    <a:cubicBezTo>
                      <a:pt x="642297" y="25229"/>
                      <a:pt x="640792" y="24715"/>
                      <a:pt x="639259" y="24810"/>
                    </a:cubicBezTo>
                    <a:cubicBezTo>
                      <a:pt x="638973" y="24620"/>
                      <a:pt x="638592" y="24620"/>
                      <a:pt x="638306" y="24810"/>
                    </a:cubicBezTo>
                    <a:cubicBezTo>
                      <a:pt x="638306" y="25287"/>
                      <a:pt x="638306" y="25477"/>
                      <a:pt x="638306" y="25858"/>
                    </a:cubicBezTo>
                    <a:cubicBezTo>
                      <a:pt x="638306" y="26239"/>
                      <a:pt x="638306" y="26144"/>
                      <a:pt x="638306" y="26239"/>
                    </a:cubicBezTo>
                    <a:close/>
                    <a:moveTo>
                      <a:pt x="696028" y="7284"/>
                    </a:moveTo>
                    <a:lnTo>
                      <a:pt x="696028" y="7284"/>
                    </a:lnTo>
                    <a:lnTo>
                      <a:pt x="696028" y="7284"/>
                    </a:lnTo>
                    <a:lnTo>
                      <a:pt x="696599" y="7284"/>
                    </a:lnTo>
                    <a:lnTo>
                      <a:pt x="699743" y="8332"/>
                    </a:lnTo>
                    <a:cubicBezTo>
                      <a:pt x="699743" y="8332"/>
                      <a:pt x="700219" y="8332"/>
                      <a:pt x="700409" y="8332"/>
                    </a:cubicBezTo>
                    <a:lnTo>
                      <a:pt x="699838" y="8332"/>
                    </a:lnTo>
                    <a:lnTo>
                      <a:pt x="694409" y="6713"/>
                    </a:lnTo>
                    <a:close/>
                    <a:moveTo>
                      <a:pt x="684693" y="2712"/>
                    </a:moveTo>
                    <a:cubicBezTo>
                      <a:pt x="680883" y="1569"/>
                      <a:pt x="677549" y="903"/>
                      <a:pt x="677549" y="903"/>
                    </a:cubicBezTo>
                    <a:cubicBezTo>
                      <a:pt x="677549" y="903"/>
                      <a:pt x="679645" y="1379"/>
                      <a:pt x="680597" y="1855"/>
                    </a:cubicBezTo>
                    <a:lnTo>
                      <a:pt x="678312" y="1855"/>
                    </a:lnTo>
                    <a:cubicBezTo>
                      <a:pt x="682217" y="3188"/>
                      <a:pt x="686217" y="3855"/>
                      <a:pt x="690027" y="5189"/>
                    </a:cubicBezTo>
                    <a:lnTo>
                      <a:pt x="685360" y="4046"/>
                    </a:lnTo>
                    <a:cubicBezTo>
                      <a:pt x="685608" y="4093"/>
                      <a:pt x="685874" y="4093"/>
                      <a:pt x="686122" y="4046"/>
                    </a:cubicBezTo>
                    <a:lnTo>
                      <a:pt x="686122" y="4046"/>
                    </a:lnTo>
                    <a:lnTo>
                      <a:pt x="689646" y="5094"/>
                    </a:lnTo>
                    <a:cubicBezTo>
                      <a:pt x="695266" y="6808"/>
                      <a:pt x="700886" y="8713"/>
                      <a:pt x="706601" y="10332"/>
                    </a:cubicBezTo>
                    <a:lnTo>
                      <a:pt x="706601" y="10332"/>
                    </a:lnTo>
                    <a:cubicBezTo>
                      <a:pt x="707934" y="10332"/>
                      <a:pt x="709077" y="11285"/>
                      <a:pt x="710411" y="11475"/>
                    </a:cubicBezTo>
                    <a:cubicBezTo>
                      <a:pt x="707077" y="10075"/>
                      <a:pt x="703629" y="8932"/>
                      <a:pt x="700124" y="8046"/>
                    </a:cubicBezTo>
                    <a:cubicBezTo>
                      <a:pt x="700781" y="8284"/>
                      <a:pt x="701448" y="8475"/>
                      <a:pt x="702124" y="8618"/>
                    </a:cubicBezTo>
                    <a:cubicBezTo>
                      <a:pt x="696980" y="6046"/>
                      <a:pt x="691075" y="5570"/>
                      <a:pt x="685646" y="3474"/>
                    </a:cubicBezTo>
                    <a:cubicBezTo>
                      <a:pt x="687846" y="4236"/>
                      <a:pt x="690113" y="4808"/>
                      <a:pt x="692408" y="5189"/>
                    </a:cubicBezTo>
                    <a:close/>
                    <a:moveTo>
                      <a:pt x="634497" y="21762"/>
                    </a:moveTo>
                    <a:cubicBezTo>
                      <a:pt x="634497" y="21762"/>
                      <a:pt x="634497" y="22429"/>
                      <a:pt x="634497" y="22429"/>
                    </a:cubicBezTo>
                    <a:lnTo>
                      <a:pt x="634973" y="23000"/>
                    </a:lnTo>
                    <a:cubicBezTo>
                      <a:pt x="635458" y="23410"/>
                      <a:pt x="636059" y="23677"/>
                      <a:pt x="636687" y="23763"/>
                    </a:cubicBezTo>
                    <a:lnTo>
                      <a:pt x="636687" y="23763"/>
                    </a:lnTo>
                    <a:cubicBezTo>
                      <a:pt x="636687" y="23763"/>
                      <a:pt x="636687" y="23763"/>
                      <a:pt x="636687" y="23763"/>
                    </a:cubicBezTo>
                    <a:cubicBezTo>
                      <a:pt x="636687" y="23763"/>
                      <a:pt x="636687" y="23763"/>
                      <a:pt x="636687" y="23763"/>
                    </a:cubicBezTo>
                    <a:lnTo>
                      <a:pt x="636687" y="23763"/>
                    </a:lnTo>
                    <a:lnTo>
                      <a:pt x="635925" y="22905"/>
                    </a:lnTo>
                    <a:cubicBezTo>
                      <a:pt x="635925" y="22905"/>
                      <a:pt x="635925" y="22905"/>
                      <a:pt x="634782" y="22905"/>
                    </a:cubicBezTo>
                    <a:close/>
                    <a:moveTo>
                      <a:pt x="707553" y="25667"/>
                    </a:moveTo>
                    <a:cubicBezTo>
                      <a:pt x="706744" y="25258"/>
                      <a:pt x="705877" y="24972"/>
                      <a:pt x="704981" y="24810"/>
                    </a:cubicBezTo>
                    <a:lnTo>
                      <a:pt x="704981" y="24810"/>
                    </a:lnTo>
                    <a:cubicBezTo>
                      <a:pt x="705277" y="25087"/>
                      <a:pt x="705601" y="25344"/>
                      <a:pt x="705934" y="25572"/>
                    </a:cubicBezTo>
                    <a:lnTo>
                      <a:pt x="707744" y="25572"/>
                    </a:lnTo>
                    <a:close/>
                    <a:moveTo>
                      <a:pt x="724508" y="15571"/>
                    </a:moveTo>
                    <a:cubicBezTo>
                      <a:pt x="724508" y="15571"/>
                      <a:pt x="724508" y="15571"/>
                      <a:pt x="724508" y="15571"/>
                    </a:cubicBezTo>
                    <a:cubicBezTo>
                      <a:pt x="724508" y="15571"/>
                      <a:pt x="723079" y="14809"/>
                      <a:pt x="722222" y="14523"/>
                    </a:cubicBezTo>
                    <a:cubicBezTo>
                      <a:pt x="719259" y="13409"/>
                      <a:pt x="716240" y="12456"/>
                      <a:pt x="713173" y="11666"/>
                    </a:cubicBezTo>
                    <a:lnTo>
                      <a:pt x="713173" y="11666"/>
                    </a:lnTo>
                    <a:cubicBezTo>
                      <a:pt x="713173" y="11666"/>
                      <a:pt x="723460" y="15095"/>
                      <a:pt x="724793" y="15476"/>
                    </a:cubicBezTo>
                    <a:close/>
                    <a:moveTo>
                      <a:pt x="710887" y="10808"/>
                    </a:moveTo>
                    <a:lnTo>
                      <a:pt x="709172" y="10237"/>
                    </a:lnTo>
                    <a:lnTo>
                      <a:pt x="709172" y="10237"/>
                    </a:lnTo>
                    <a:cubicBezTo>
                      <a:pt x="709839" y="10237"/>
                      <a:pt x="717173" y="13190"/>
                      <a:pt x="717935" y="13285"/>
                    </a:cubicBezTo>
                    <a:close/>
                    <a:moveTo>
                      <a:pt x="702696" y="23858"/>
                    </a:moveTo>
                    <a:lnTo>
                      <a:pt x="702696" y="23858"/>
                    </a:lnTo>
                    <a:cubicBezTo>
                      <a:pt x="701762" y="23382"/>
                      <a:pt x="700772" y="23029"/>
                      <a:pt x="699743" y="22810"/>
                    </a:cubicBezTo>
                    <a:lnTo>
                      <a:pt x="699743" y="22810"/>
                    </a:lnTo>
                    <a:cubicBezTo>
                      <a:pt x="700295" y="23315"/>
                      <a:pt x="700905" y="23763"/>
                      <a:pt x="701553" y="24144"/>
                    </a:cubicBezTo>
                    <a:lnTo>
                      <a:pt x="704410" y="26049"/>
                    </a:lnTo>
                    <a:cubicBezTo>
                      <a:pt x="704410" y="26049"/>
                      <a:pt x="705172" y="26049"/>
                      <a:pt x="705267" y="26049"/>
                    </a:cubicBezTo>
                    <a:lnTo>
                      <a:pt x="704315" y="25001"/>
                    </a:lnTo>
                    <a:close/>
                    <a:moveTo>
                      <a:pt x="696695" y="92438"/>
                    </a:moveTo>
                    <a:cubicBezTo>
                      <a:pt x="695933" y="92438"/>
                      <a:pt x="696695" y="90914"/>
                      <a:pt x="695933" y="90342"/>
                    </a:cubicBezTo>
                    <a:cubicBezTo>
                      <a:pt x="695171" y="89771"/>
                      <a:pt x="693551" y="89580"/>
                      <a:pt x="692694" y="88533"/>
                    </a:cubicBezTo>
                    <a:cubicBezTo>
                      <a:pt x="690599" y="85961"/>
                      <a:pt x="690599" y="85961"/>
                      <a:pt x="689646" y="85484"/>
                    </a:cubicBezTo>
                    <a:lnTo>
                      <a:pt x="689170" y="85484"/>
                    </a:lnTo>
                    <a:cubicBezTo>
                      <a:pt x="688694" y="85484"/>
                      <a:pt x="688694" y="85484"/>
                      <a:pt x="685741" y="79674"/>
                    </a:cubicBezTo>
                    <a:cubicBezTo>
                      <a:pt x="685741" y="79674"/>
                      <a:pt x="686408" y="79674"/>
                      <a:pt x="686598" y="79674"/>
                    </a:cubicBezTo>
                    <a:cubicBezTo>
                      <a:pt x="686789" y="79674"/>
                      <a:pt x="686598" y="78246"/>
                      <a:pt x="685931" y="77960"/>
                    </a:cubicBezTo>
                    <a:cubicBezTo>
                      <a:pt x="684665" y="77884"/>
                      <a:pt x="683388" y="77884"/>
                      <a:pt x="682122" y="77960"/>
                    </a:cubicBezTo>
                    <a:lnTo>
                      <a:pt x="679455" y="77960"/>
                    </a:lnTo>
                    <a:cubicBezTo>
                      <a:pt x="679455" y="77960"/>
                      <a:pt x="678883" y="78627"/>
                      <a:pt x="678502" y="78722"/>
                    </a:cubicBezTo>
                    <a:cubicBezTo>
                      <a:pt x="678121" y="78817"/>
                      <a:pt x="677835" y="78722"/>
                      <a:pt x="677549" y="78722"/>
                    </a:cubicBezTo>
                    <a:cubicBezTo>
                      <a:pt x="677264" y="78722"/>
                      <a:pt x="677549" y="79770"/>
                      <a:pt x="679550" y="81484"/>
                    </a:cubicBezTo>
                    <a:lnTo>
                      <a:pt x="682026" y="84913"/>
                    </a:lnTo>
                    <a:cubicBezTo>
                      <a:pt x="682026" y="85484"/>
                      <a:pt x="682026" y="85484"/>
                      <a:pt x="681074" y="85675"/>
                    </a:cubicBezTo>
                    <a:lnTo>
                      <a:pt x="681074" y="85675"/>
                    </a:lnTo>
                    <a:cubicBezTo>
                      <a:pt x="681074" y="87104"/>
                      <a:pt x="681074" y="87104"/>
                      <a:pt x="681074" y="87104"/>
                    </a:cubicBezTo>
                    <a:cubicBezTo>
                      <a:pt x="681074" y="87104"/>
                      <a:pt x="679169" y="87104"/>
                      <a:pt x="679359" y="87866"/>
                    </a:cubicBezTo>
                    <a:cubicBezTo>
                      <a:pt x="679550" y="88628"/>
                      <a:pt x="680216" y="88913"/>
                      <a:pt x="681931" y="90342"/>
                    </a:cubicBezTo>
                    <a:cubicBezTo>
                      <a:pt x="683646" y="91771"/>
                      <a:pt x="683264" y="92057"/>
                      <a:pt x="684122" y="92914"/>
                    </a:cubicBezTo>
                    <a:cubicBezTo>
                      <a:pt x="684598" y="93390"/>
                      <a:pt x="685103" y="93838"/>
                      <a:pt x="685646" y="94248"/>
                    </a:cubicBezTo>
                    <a:cubicBezTo>
                      <a:pt x="685646" y="94248"/>
                      <a:pt x="687074" y="94248"/>
                      <a:pt x="686693" y="93009"/>
                    </a:cubicBezTo>
                    <a:cubicBezTo>
                      <a:pt x="686313" y="91771"/>
                      <a:pt x="686693" y="92152"/>
                      <a:pt x="686693" y="92057"/>
                    </a:cubicBezTo>
                    <a:cubicBezTo>
                      <a:pt x="686693" y="91962"/>
                      <a:pt x="687265" y="93295"/>
                      <a:pt x="688027" y="93581"/>
                    </a:cubicBezTo>
                    <a:cubicBezTo>
                      <a:pt x="689027" y="93809"/>
                      <a:pt x="690075" y="93809"/>
                      <a:pt x="691075" y="93581"/>
                    </a:cubicBezTo>
                    <a:cubicBezTo>
                      <a:pt x="691551" y="93581"/>
                      <a:pt x="691932" y="93581"/>
                      <a:pt x="691932" y="93581"/>
                    </a:cubicBezTo>
                    <a:cubicBezTo>
                      <a:pt x="691932" y="93581"/>
                      <a:pt x="691932" y="94724"/>
                      <a:pt x="692504" y="94629"/>
                    </a:cubicBezTo>
                    <a:cubicBezTo>
                      <a:pt x="692951" y="94571"/>
                      <a:pt x="693399" y="94571"/>
                      <a:pt x="693837" y="94629"/>
                    </a:cubicBezTo>
                    <a:cubicBezTo>
                      <a:pt x="693837" y="95200"/>
                      <a:pt x="693837" y="95200"/>
                      <a:pt x="693361" y="95391"/>
                    </a:cubicBezTo>
                    <a:cubicBezTo>
                      <a:pt x="692885" y="95581"/>
                      <a:pt x="697076" y="98248"/>
                      <a:pt x="698219" y="98058"/>
                    </a:cubicBezTo>
                    <a:cubicBezTo>
                      <a:pt x="699362" y="97867"/>
                      <a:pt x="699933" y="97200"/>
                      <a:pt x="700886" y="97010"/>
                    </a:cubicBezTo>
                    <a:cubicBezTo>
                      <a:pt x="701838" y="96819"/>
                      <a:pt x="701648" y="97010"/>
                      <a:pt x="702791" y="97010"/>
                    </a:cubicBezTo>
                    <a:lnTo>
                      <a:pt x="703362" y="97010"/>
                    </a:lnTo>
                    <a:cubicBezTo>
                      <a:pt x="703362" y="97010"/>
                      <a:pt x="703362" y="97010"/>
                      <a:pt x="703839" y="95581"/>
                    </a:cubicBezTo>
                    <a:lnTo>
                      <a:pt x="703839" y="95581"/>
                    </a:lnTo>
                    <a:cubicBezTo>
                      <a:pt x="703372" y="95476"/>
                      <a:pt x="702876" y="95476"/>
                      <a:pt x="702410" y="95581"/>
                    </a:cubicBezTo>
                    <a:lnTo>
                      <a:pt x="701838" y="95581"/>
                    </a:lnTo>
                    <a:cubicBezTo>
                      <a:pt x="701838" y="95581"/>
                      <a:pt x="701076" y="94724"/>
                      <a:pt x="700695" y="94438"/>
                    </a:cubicBezTo>
                    <a:cubicBezTo>
                      <a:pt x="700314" y="94152"/>
                      <a:pt x="699933" y="94438"/>
                      <a:pt x="699647" y="94438"/>
                    </a:cubicBezTo>
                    <a:cubicBezTo>
                      <a:pt x="699362" y="94438"/>
                      <a:pt x="697742" y="92914"/>
                      <a:pt x="696980" y="92342"/>
                    </a:cubicBezTo>
                    <a:close/>
                    <a:moveTo>
                      <a:pt x="688313" y="109964"/>
                    </a:moveTo>
                    <a:lnTo>
                      <a:pt x="685931" y="109964"/>
                    </a:lnTo>
                    <a:cubicBezTo>
                      <a:pt x="684836" y="109916"/>
                      <a:pt x="683855" y="110630"/>
                      <a:pt x="683550" y="111678"/>
                    </a:cubicBezTo>
                    <a:cubicBezTo>
                      <a:pt x="683550" y="111678"/>
                      <a:pt x="683550" y="112631"/>
                      <a:pt x="683550" y="113012"/>
                    </a:cubicBezTo>
                    <a:cubicBezTo>
                      <a:pt x="683550" y="115774"/>
                      <a:pt x="687074" y="115488"/>
                      <a:pt x="687265" y="115393"/>
                    </a:cubicBezTo>
                    <a:cubicBezTo>
                      <a:pt x="687455" y="115298"/>
                      <a:pt x="688789" y="114726"/>
                      <a:pt x="688694" y="113679"/>
                    </a:cubicBezTo>
                    <a:cubicBezTo>
                      <a:pt x="688598" y="112631"/>
                      <a:pt x="688694" y="113012"/>
                      <a:pt x="689170" y="113679"/>
                    </a:cubicBezTo>
                    <a:lnTo>
                      <a:pt x="689170" y="113679"/>
                    </a:lnTo>
                    <a:cubicBezTo>
                      <a:pt x="689741" y="113679"/>
                      <a:pt x="689932" y="113107"/>
                      <a:pt x="689932" y="112821"/>
                    </a:cubicBezTo>
                    <a:lnTo>
                      <a:pt x="689170" y="110726"/>
                    </a:lnTo>
                    <a:cubicBezTo>
                      <a:pt x="689170" y="110726"/>
                      <a:pt x="689265" y="109964"/>
                      <a:pt x="688598" y="109869"/>
                    </a:cubicBezTo>
                    <a:close/>
                    <a:moveTo>
                      <a:pt x="707363" y="95391"/>
                    </a:moveTo>
                    <a:lnTo>
                      <a:pt x="705743" y="95391"/>
                    </a:lnTo>
                    <a:cubicBezTo>
                      <a:pt x="705743" y="95391"/>
                      <a:pt x="705172" y="95391"/>
                      <a:pt x="704791" y="95391"/>
                    </a:cubicBezTo>
                    <a:lnTo>
                      <a:pt x="704791" y="95391"/>
                    </a:lnTo>
                    <a:cubicBezTo>
                      <a:pt x="704791" y="95391"/>
                      <a:pt x="704791" y="96057"/>
                      <a:pt x="704791" y="96057"/>
                    </a:cubicBezTo>
                    <a:lnTo>
                      <a:pt x="705363" y="96057"/>
                    </a:lnTo>
                    <a:lnTo>
                      <a:pt x="706124" y="96057"/>
                    </a:lnTo>
                    <a:lnTo>
                      <a:pt x="707458" y="96629"/>
                    </a:lnTo>
                    <a:cubicBezTo>
                      <a:pt x="707458" y="96629"/>
                      <a:pt x="707934" y="96629"/>
                      <a:pt x="708030" y="96629"/>
                    </a:cubicBezTo>
                    <a:cubicBezTo>
                      <a:pt x="708163" y="96295"/>
                      <a:pt x="708163" y="95914"/>
                      <a:pt x="708030" y="95581"/>
                    </a:cubicBezTo>
                    <a:cubicBezTo>
                      <a:pt x="707782" y="95400"/>
                      <a:pt x="707477" y="95295"/>
                      <a:pt x="707172" y="95295"/>
                    </a:cubicBezTo>
                    <a:close/>
                    <a:moveTo>
                      <a:pt x="634401" y="19191"/>
                    </a:moveTo>
                    <a:cubicBezTo>
                      <a:pt x="634839" y="19448"/>
                      <a:pt x="635249" y="19733"/>
                      <a:pt x="635639" y="20048"/>
                    </a:cubicBezTo>
                    <a:lnTo>
                      <a:pt x="636116" y="20048"/>
                    </a:lnTo>
                    <a:cubicBezTo>
                      <a:pt x="635963" y="19714"/>
                      <a:pt x="635735" y="19419"/>
                      <a:pt x="635449" y="19191"/>
                    </a:cubicBezTo>
                    <a:lnTo>
                      <a:pt x="635449" y="19191"/>
                    </a:lnTo>
                    <a:lnTo>
                      <a:pt x="633925" y="19191"/>
                    </a:lnTo>
                    <a:lnTo>
                      <a:pt x="633925" y="19191"/>
                    </a:lnTo>
                    <a:close/>
                    <a:moveTo>
                      <a:pt x="546866" y="55671"/>
                    </a:moveTo>
                    <a:cubicBezTo>
                      <a:pt x="546238" y="55557"/>
                      <a:pt x="545590" y="55557"/>
                      <a:pt x="544962" y="55671"/>
                    </a:cubicBezTo>
                    <a:lnTo>
                      <a:pt x="544962" y="55671"/>
                    </a:lnTo>
                    <a:cubicBezTo>
                      <a:pt x="544199" y="55671"/>
                      <a:pt x="544962" y="56909"/>
                      <a:pt x="544962" y="56909"/>
                    </a:cubicBezTo>
                    <a:lnTo>
                      <a:pt x="546105" y="57671"/>
                    </a:lnTo>
                    <a:lnTo>
                      <a:pt x="546962" y="58338"/>
                    </a:lnTo>
                    <a:lnTo>
                      <a:pt x="547629" y="58338"/>
                    </a:lnTo>
                    <a:cubicBezTo>
                      <a:pt x="548390" y="58338"/>
                      <a:pt x="548390" y="58338"/>
                      <a:pt x="548486" y="58338"/>
                    </a:cubicBezTo>
                    <a:cubicBezTo>
                      <a:pt x="548562" y="58053"/>
                      <a:pt x="548562" y="57767"/>
                      <a:pt x="548486" y="57481"/>
                    </a:cubicBezTo>
                    <a:close/>
                    <a:moveTo>
                      <a:pt x="485906" y="263507"/>
                    </a:moveTo>
                    <a:cubicBezTo>
                      <a:pt x="484763" y="261411"/>
                      <a:pt x="486383" y="259602"/>
                      <a:pt x="486383" y="257696"/>
                    </a:cubicBezTo>
                    <a:cubicBezTo>
                      <a:pt x="486383" y="255792"/>
                      <a:pt x="483811" y="255125"/>
                      <a:pt x="483335" y="253315"/>
                    </a:cubicBezTo>
                    <a:lnTo>
                      <a:pt x="483335" y="253315"/>
                    </a:lnTo>
                    <a:lnTo>
                      <a:pt x="483335" y="253315"/>
                    </a:lnTo>
                    <a:lnTo>
                      <a:pt x="483335" y="253315"/>
                    </a:lnTo>
                    <a:cubicBezTo>
                      <a:pt x="483906" y="252648"/>
                      <a:pt x="483906" y="252648"/>
                      <a:pt x="478858" y="248648"/>
                    </a:cubicBezTo>
                    <a:cubicBezTo>
                      <a:pt x="476381" y="246743"/>
                      <a:pt x="478858" y="243409"/>
                      <a:pt x="476572" y="241313"/>
                    </a:cubicBezTo>
                    <a:cubicBezTo>
                      <a:pt x="474972" y="239513"/>
                      <a:pt x="472552" y="238685"/>
                      <a:pt x="470190" y="239123"/>
                    </a:cubicBezTo>
                    <a:lnTo>
                      <a:pt x="469238" y="239123"/>
                    </a:lnTo>
                    <a:cubicBezTo>
                      <a:pt x="469238" y="237884"/>
                      <a:pt x="470762" y="237027"/>
                      <a:pt x="472762" y="235884"/>
                    </a:cubicBezTo>
                    <a:cubicBezTo>
                      <a:pt x="474762" y="234741"/>
                      <a:pt x="474572" y="234837"/>
                      <a:pt x="475810" y="232074"/>
                    </a:cubicBezTo>
                    <a:cubicBezTo>
                      <a:pt x="476848" y="229531"/>
                      <a:pt x="477610" y="226874"/>
                      <a:pt x="478096" y="224169"/>
                    </a:cubicBezTo>
                    <a:cubicBezTo>
                      <a:pt x="478096" y="221311"/>
                      <a:pt x="473905" y="218644"/>
                      <a:pt x="466285" y="224740"/>
                    </a:cubicBezTo>
                    <a:lnTo>
                      <a:pt x="466285" y="224740"/>
                    </a:lnTo>
                    <a:cubicBezTo>
                      <a:pt x="466437" y="222787"/>
                      <a:pt x="467590" y="221054"/>
                      <a:pt x="469333" y="220168"/>
                    </a:cubicBezTo>
                    <a:cubicBezTo>
                      <a:pt x="469905" y="220168"/>
                      <a:pt x="471143" y="219216"/>
                      <a:pt x="472762" y="214358"/>
                    </a:cubicBezTo>
                    <a:cubicBezTo>
                      <a:pt x="472762" y="214358"/>
                      <a:pt x="472762" y="214358"/>
                      <a:pt x="470095" y="213596"/>
                    </a:cubicBezTo>
                    <a:cubicBezTo>
                      <a:pt x="467466" y="214015"/>
                      <a:pt x="464885" y="214682"/>
                      <a:pt x="462380" y="215596"/>
                    </a:cubicBezTo>
                    <a:cubicBezTo>
                      <a:pt x="460284" y="216834"/>
                      <a:pt x="459522" y="219120"/>
                      <a:pt x="457713" y="220549"/>
                    </a:cubicBezTo>
                    <a:cubicBezTo>
                      <a:pt x="457598" y="221625"/>
                      <a:pt x="457598" y="222711"/>
                      <a:pt x="457713" y="223788"/>
                    </a:cubicBezTo>
                    <a:cubicBezTo>
                      <a:pt x="457713" y="224645"/>
                      <a:pt x="457713" y="224645"/>
                      <a:pt x="457141" y="225026"/>
                    </a:cubicBezTo>
                    <a:cubicBezTo>
                      <a:pt x="456570" y="225407"/>
                      <a:pt x="455522" y="223597"/>
                      <a:pt x="454760" y="222930"/>
                    </a:cubicBezTo>
                    <a:lnTo>
                      <a:pt x="454188" y="222930"/>
                    </a:lnTo>
                    <a:cubicBezTo>
                      <a:pt x="453140" y="225692"/>
                      <a:pt x="456570" y="227979"/>
                      <a:pt x="457903" y="228741"/>
                    </a:cubicBezTo>
                    <a:cubicBezTo>
                      <a:pt x="457046" y="230455"/>
                      <a:pt x="455903" y="231884"/>
                      <a:pt x="455141" y="233694"/>
                    </a:cubicBezTo>
                    <a:cubicBezTo>
                      <a:pt x="454569" y="235313"/>
                      <a:pt x="454093" y="236970"/>
                      <a:pt x="453712" y="238646"/>
                    </a:cubicBezTo>
                    <a:lnTo>
                      <a:pt x="453712" y="238646"/>
                    </a:lnTo>
                    <a:cubicBezTo>
                      <a:pt x="455617" y="237694"/>
                      <a:pt x="457331" y="232836"/>
                      <a:pt x="459141" y="235313"/>
                    </a:cubicBezTo>
                    <a:cubicBezTo>
                      <a:pt x="454664" y="244838"/>
                      <a:pt x="455807" y="246362"/>
                      <a:pt x="456379" y="247314"/>
                    </a:cubicBezTo>
                    <a:lnTo>
                      <a:pt x="461237" y="248457"/>
                    </a:lnTo>
                    <a:cubicBezTo>
                      <a:pt x="461808" y="248457"/>
                      <a:pt x="462380" y="248457"/>
                      <a:pt x="464094" y="247314"/>
                    </a:cubicBezTo>
                    <a:cubicBezTo>
                      <a:pt x="465809" y="246171"/>
                      <a:pt x="465237" y="246648"/>
                      <a:pt x="465713" y="246743"/>
                    </a:cubicBezTo>
                    <a:cubicBezTo>
                      <a:pt x="466190" y="249124"/>
                      <a:pt x="463808" y="250458"/>
                      <a:pt x="463523" y="252553"/>
                    </a:cubicBezTo>
                    <a:cubicBezTo>
                      <a:pt x="463237" y="254649"/>
                      <a:pt x="463523" y="254553"/>
                      <a:pt x="467333" y="256649"/>
                    </a:cubicBezTo>
                    <a:cubicBezTo>
                      <a:pt x="467809" y="258363"/>
                      <a:pt x="469238" y="263030"/>
                      <a:pt x="460475" y="262459"/>
                    </a:cubicBezTo>
                    <a:cubicBezTo>
                      <a:pt x="459237" y="262459"/>
                      <a:pt x="456665" y="262459"/>
                      <a:pt x="456570" y="266745"/>
                    </a:cubicBezTo>
                    <a:cubicBezTo>
                      <a:pt x="456570" y="268936"/>
                      <a:pt x="459332" y="268269"/>
                      <a:pt x="460284" y="269698"/>
                    </a:cubicBezTo>
                    <a:cubicBezTo>
                      <a:pt x="458474" y="271032"/>
                      <a:pt x="456093" y="271413"/>
                      <a:pt x="454379" y="272937"/>
                    </a:cubicBezTo>
                    <a:cubicBezTo>
                      <a:pt x="454379" y="272937"/>
                      <a:pt x="451902" y="275794"/>
                      <a:pt x="451807" y="277699"/>
                    </a:cubicBezTo>
                    <a:cubicBezTo>
                      <a:pt x="452055" y="277785"/>
                      <a:pt x="452321" y="277785"/>
                      <a:pt x="452569" y="277699"/>
                    </a:cubicBezTo>
                    <a:cubicBezTo>
                      <a:pt x="453807" y="277699"/>
                      <a:pt x="454950" y="277128"/>
                      <a:pt x="456188" y="277223"/>
                    </a:cubicBezTo>
                    <a:cubicBezTo>
                      <a:pt x="457427" y="277318"/>
                      <a:pt x="458570" y="279223"/>
                      <a:pt x="460284" y="279509"/>
                    </a:cubicBezTo>
                    <a:cubicBezTo>
                      <a:pt x="461932" y="279661"/>
                      <a:pt x="463589" y="279661"/>
                      <a:pt x="465237" y="279509"/>
                    </a:cubicBezTo>
                    <a:cubicBezTo>
                      <a:pt x="466952" y="279509"/>
                      <a:pt x="466952" y="279509"/>
                      <a:pt x="467333" y="279509"/>
                    </a:cubicBezTo>
                    <a:cubicBezTo>
                      <a:pt x="467714" y="279509"/>
                      <a:pt x="466761" y="280080"/>
                      <a:pt x="465332" y="280271"/>
                    </a:cubicBezTo>
                    <a:cubicBezTo>
                      <a:pt x="462342" y="280509"/>
                      <a:pt x="459379" y="280985"/>
                      <a:pt x="456474" y="281700"/>
                    </a:cubicBezTo>
                    <a:cubicBezTo>
                      <a:pt x="456474" y="281700"/>
                      <a:pt x="444854" y="288653"/>
                      <a:pt x="445330" y="291225"/>
                    </a:cubicBezTo>
                    <a:cubicBezTo>
                      <a:pt x="445787" y="291596"/>
                      <a:pt x="446368" y="291768"/>
                      <a:pt x="446949" y="291701"/>
                    </a:cubicBezTo>
                    <a:lnTo>
                      <a:pt x="447806" y="291701"/>
                    </a:lnTo>
                    <a:cubicBezTo>
                      <a:pt x="449997" y="291701"/>
                      <a:pt x="451807" y="290177"/>
                      <a:pt x="453998" y="289796"/>
                    </a:cubicBezTo>
                    <a:cubicBezTo>
                      <a:pt x="456188" y="289415"/>
                      <a:pt x="457617" y="289796"/>
                      <a:pt x="459332" y="289796"/>
                    </a:cubicBezTo>
                    <a:cubicBezTo>
                      <a:pt x="461046" y="289796"/>
                      <a:pt x="463713" y="286271"/>
                      <a:pt x="466475" y="285509"/>
                    </a:cubicBezTo>
                    <a:cubicBezTo>
                      <a:pt x="469238" y="284748"/>
                      <a:pt x="470000" y="287034"/>
                      <a:pt x="471905" y="286462"/>
                    </a:cubicBezTo>
                    <a:cubicBezTo>
                      <a:pt x="474105" y="285576"/>
                      <a:pt x="476410" y="284967"/>
                      <a:pt x="478763" y="284652"/>
                    </a:cubicBezTo>
                    <a:cubicBezTo>
                      <a:pt x="481172" y="284843"/>
                      <a:pt x="483592" y="284843"/>
                      <a:pt x="486002" y="284652"/>
                    </a:cubicBezTo>
                    <a:cubicBezTo>
                      <a:pt x="489021" y="283357"/>
                      <a:pt x="491869" y="281690"/>
                      <a:pt x="494479" y="279699"/>
                    </a:cubicBezTo>
                    <a:cubicBezTo>
                      <a:pt x="493146" y="277985"/>
                      <a:pt x="489050" y="279128"/>
                      <a:pt x="489335" y="276270"/>
                    </a:cubicBezTo>
                    <a:cubicBezTo>
                      <a:pt x="489335" y="276270"/>
                      <a:pt x="489335" y="274270"/>
                      <a:pt x="490859" y="274080"/>
                    </a:cubicBezTo>
                    <a:cubicBezTo>
                      <a:pt x="494193" y="273508"/>
                      <a:pt x="495241" y="269793"/>
                      <a:pt x="495527" y="268174"/>
                    </a:cubicBezTo>
                    <a:cubicBezTo>
                      <a:pt x="495813" y="266555"/>
                      <a:pt x="494384" y="259506"/>
                      <a:pt x="490097" y="263983"/>
                    </a:cubicBezTo>
                    <a:cubicBezTo>
                      <a:pt x="488478" y="265317"/>
                      <a:pt x="487335" y="266459"/>
                      <a:pt x="485906" y="263507"/>
                    </a:cubicBezTo>
                    <a:close/>
                    <a:moveTo>
                      <a:pt x="559821" y="41479"/>
                    </a:moveTo>
                    <a:cubicBezTo>
                      <a:pt x="560144" y="41565"/>
                      <a:pt x="560440" y="41727"/>
                      <a:pt x="560678" y="41955"/>
                    </a:cubicBezTo>
                    <a:cubicBezTo>
                      <a:pt x="560678" y="41955"/>
                      <a:pt x="560678" y="41955"/>
                      <a:pt x="560678" y="42432"/>
                    </a:cubicBezTo>
                    <a:cubicBezTo>
                      <a:pt x="560678" y="42908"/>
                      <a:pt x="560678" y="43860"/>
                      <a:pt x="560678" y="43860"/>
                    </a:cubicBezTo>
                    <a:lnTo>
                      <a:pt x="560678" y="43860"/>
                    </a:lnTo>
                    <a:cubicBezTo>
                      <a:pt x="560678" y="43860"/>
                      <a:pt x="561345" y="44527"/>
                      <a:pt x="562488" y="43860"/>
                    </a:cubicBezTo>
                    <a:cubicBezTo>
                      <a:pt x="563630" y="43194"/>
                      <a:pt x="562488" y="43860"/>
                      <a:pt x="562488" y="43860"/>
                    </a:cubicBezTo>
                    <a:cubicBezTo>
                      <a:pt x="562488" y="43860"/>
                      <a:pt x="563249" y="43384"/>
                      <a:pt x="563630" y="43098"/>
                    </a:cubicBezTo>
                    <a:lnTo>
                      <a:pt x="564107" y="43098"/>
                    </a:lnTo>
                    <a:cubicBezTo>
                      <a:pt x="565155" y="42432"/>
                      <a:pt x="566488" y="43098"/>
                      <a:pt x="567536" y="42241"/>
                    </a:cubicBezTo>
                    <a:cubicBezTo>
                      <a:pt x="568583" y="41384"/>
                      <a:pt x="569536" y="41288"/>
                      <a:pt x="569536" y="40908"/>
                    </a:cubicBezTo>
                    <a:cubicBezTo>
                      <a:pt x="569641" y="40727"/>
                      <a:pt x="569641" y="40517"/>
                      <a:pt x="569536" y="40336"/>
                    </a:cubicBezTo>
                    <a:lnTo>
                      <a:pt x="569060" y="40336"/>
                    </a:lnTo>
                    <a:cubicBezTo>
                      <a:pt x="567726" y="39383"/>
                      <a:pt x="565916" y="39765"/>
                      <a:pt x="564488" y="38907"/>
                    </a:cubicBezTo>
                    <a:cubicBezTo>
                      <a:pt x="563059" y="38050"/>
                      <a:pt x="564488" y="36717"/>
                      <a:pt x="563630" y="36526"/>
                    </a:cubicBezTo>
                    <a:cubicBezTo>
                      <a:pt x="562773" y="36336"/>
                      <a:pt x="561630" y="37288"/>
                      <a:pt x="561440" y="38526"/>
                    </a:cubicBezTo>
                    <a:cubicBezTo>
                      <a:pt x="561249" y="39765"/>
                      <a:pt x="561440" y="39003"/>
                      <a:pt x="562106" y="39193"/>
                    </a:cubicBezTo>
                    <a:cubicBezTo>
                      <a:pt x="562506" y="39383"/>
                      <a:pt x="562888" y="39603"/>
                      <a:pt x="563249" y="39860"/>
                    </a:cubicBezTo>
                    <a:cubicBezTo>
                      <a:pt x="563354" y="40212"/>
                      <a:pt x="563154" y="40584"/>
                      <a:pt x="562802" y="40689"/>
                    </a:cubicBezTo>
                    <a:cubicBezTo>
                      <a:pt x="562735" y="40708"/>
                      <a:pt x="562659" y="40717"/>
                      <a:pt x="562583" y="40717"/>
                    </a:cubicBezTo>
                    <a:cubicBezTo>
                      <a:pt x="561630" y="40717"/>
                      <a:pt x="560773" y="40717"/>
                      <a:pt x="559821" y="40146"/>
                    </a:cubicBezTo>
                    <a:cubicBezTo>
                      <a:pt x="558868" y="39574"/>
                      <a:pt x="558868" y="40717"/>
                      <a:pt x="558963" y="40812"/>
                    </a:cubicBezTo>
                    <a:cubicBezTo>
                      <a:pt x="559058" y="40908"/>
                      <a:pt x="558487" y="41003"/>
                      <a:pt x="559439" y="41479"/>
                    </a:cubicBezTo>
                    <a:close/>
                    <a:moveTo>
                      <a:pt x="433233" y="276175"/>
                    </a:moveTo>
                    <a:lnTo>
                      <a:pt x="433233" y="276175"/>
                    </a:lnTo>
                    <a:cubicBezTo>
                      <a:pt x="435519" y="275413"/>
                      <a:pt x="436853" y="273222"/>
                      <a:pt x="438948" y="272270"/>
                    </a:cubicBezTo>
                    <a:cubicBezTo>
                      <a:pt x="439739" y="272155"/>
                      <a:pt x="440539" y="272155"/>
                      <a:pt x="441330" y="272270"/>
                    </a:cubicBezTo>
                    <a:cubicBezTo>
                      <a:pt x="443349" y="272155"/>
                      <a:pt x="445359" y="271870"/>
                      <a:pt x="447330" y="271413"/>
                    </a:cubicBezTo>
                    <a:lnTo>
                      <a:pt x="450378" y="265602"/>
                    </a:lnTo>
                    <a:cubicBezTo>
                      <a:pt x="450816" y="263859"/>
                      <a:pt x="451016" y="262068"/>
                      <a:pt x="450950" y="260268"/>
                    </a:cubicBezTo>
                    <a:cubicBezTo>
                      <a:pt x="450645" y="258220"/>
                      <a:pt x="450455" y="256153"/>
                      <a:pt x="450378" y="254077"/>
                    </a:cubicBezTo>
                    <a:cubicBezTo>
                      <a:pt x="450855" y="252458"/>
                      <a:pt x="452950" y="252744"/>
                      <a:pt x="453617" y="251410"/>
                    </a:cubicBezTo>
                    <a:cubicBezTo>
                      <a:pt x="454283" y="250077"/>
                      <a:pt x="452569" y="249029"/>
                      <a:pt x="451712" y="248838"/>
                    </a:cubicBezTo>
                    <a:cubicBezTo>
                      <a:pt x="450855" y="248648"/>
                      <a:pt x="452855" y="247409"/>
                      <a:pt x="452569" y="246362"/>
                    </a:cubicBezTo>
                    <a:cubicBezTo>
                      <a:pt x="452007" y="245638"/>
                      <a:pt x="451293" y="245057"/>
                      <a:pt x="450473" y="244647"/>
                    </a:cubicBezTo>
                    <a:cubicBezTo>
                      <a:pt x="449845" y="244314"/>
                      <a:pt x="449169" y="244057"/>
                      <a:pt x="448473" y="243885"/>
                    </a:cubicBezTo>
                    <a:cubicBezTo>
                      <a:pt x="447997" y="243885"/>
                      <a:pt x="447330" y="243885"/>
                      <a:pt x="445997" y="244838"/>
                    </a:cubicBezTo>
                    <a:cubicBezTo>
                      <a:pt x="444663" y="245790"/>
                      <a:pt x="444854" y="245695"/>
                      <a:pt x="444568" y="245409"/>
                    </a:cubicBezTo>
                    <a:cubicBezTo>
                      <a:pt x="444282" y="245124"/>
                      <a:pt x="444568" y="244266"/>
                      <a:pt x="443615" y="243980"/>
                    </a:cubicBezTo>
                    <a:cubicBezTo>
                      <a:pt x="442958" y="243866"/>
                      <a:pt x="442272" y="243866"/>
                      <a:pt x="441615" y="243980"/>
                    </a:cubicBezTo>
                    <a:cubicBezTo>
                      <a:pt x="439805" y="244552"/>
                      <a:pt x="438091" y="245419"/>
                      <a:pt x="436567" y="246552"/>
                    </a:cubicBezTo>
                    <a:cubicBezTo>
                      <a:pt x="435614" y="247695"/>
                      <a:pt x="436091" y="249029"/>
                      <a:pt x="435805" y="250362"/>
                    </a:cubicBezTo>
                    <a:cubicBezTo>
                      <a:pt x="435824" y="250772"/>
                      <a:pt x="435824" y="251191"/>
                      <a:pt x="435805" y="251600"/>
                    </a:cubicBezTo>
                    <a:cubicBezTo>
                      <a:pt x="435805" y="253505"/>
                      <a:pt x="435805" y="253601"/>
                      <a:pt x="435329" y="253601"/>
                    </a:cubicBezTo>
                    <a:cubicBezTo>
                      <a:pt x="434853" y="253601"/>
                      <a:pt x="434472" y="253125"/>
                      <a:pt x="433900" y="252648"/>
                    </a:cubicBezTo>
                    <a:cubicBezTo>
                      <a:pt x="433205" y="251905"/>
                      <a:pt x="432252" y="251458"/>
                      <a:pt x="431233" y="251410"/>
                    </a:cubicBezTo>
                    <a:cubicBezTo>
                      <a:pt x="429823" y="251791"/>
                      <a:pt x="428452" y="252296"/>
                      <a:pt x="427137" y="252934"/>
                    </a:cubicBezTo>
                    <a:cubicBezTo>
                      <a:pt x="427137" y="252934"/>
                      <a:pt x="427137" y="252934"/>
                      <a:pt x="428852" y="255125"/>
                    </a:cubicBezTo>
                    <a:lnTo>
                      <a:pt x="428852" y="255125"/>
                    </a:lnTo>
                    <a:cubicBezTo>
                      <a:pt x="427995" y="255125"/>
                      <a:pt x="427042" y="255125"/>
                      <a:pt x="426280" y="255125"/>
                    </a:cubicBezTo>
                    <a:cubicBezTo>
                      <a:pt x="425518" y="255125"/>
                      <a:pt x="425328" y="255792"/>
                      <a:pt x="425518" y="256268"/>
                    </a:cubicBezTo>
                    <a:cubicBezTo>
                      <a:pt x="425708" y="256744"/>
                      <a:pt x="426756" y="257030"/>
                      <a:pt x="427232" y="257601"/>
                    </a:cubicBezTo>
                    <a:cubicBezTo>
                      <a:pt x="427709" y="258173"/>
                      <a:pt x="427232" y="258459"/>
                      <a:pt x="427232" y="258744"/>
                    </a:cubicBezTo>
                    <a:cubicBezTo>
                      <a:pt x="427232" y="259030"/>
                      <a:pt x="429614" y="258744"/>
                      <a:pt x="430852" y="258744"/>
                    </a:cubicBezTo>
                    <a:cubicBezTo>
                      <a:pt x="432090" y="258744"/>
                      <a:pt x="430852" y="260554"/>
                      <a:pt x="429138" y="260935"/>
                    </a:cubicBezTo>
                    <a:cubicBezTo>
                      <a:pt x="427423" y="261316"/>
                      <a:pt x="427899" y="260935"/>
                      <a:pt x="427804" y="261411"/>
                    </a:cubicBezTo>
                    <a:cubicBezTo>
                      <a:pt x="427709" y="261888"/>
                      <a:pt x="427804" y="263221"/>
                      <a:pt x="427042" y="263983"/>
                    </a:cubicBezTo>
                    <a:cubicBezTo>
                      <a:pt x="426280" y="264745"/>
                      <a:pt x="424756" y="264555"/>
                      <a:pt x="423804" y="265317"/>
                    </a:cubicBezTo>
                    <a:lnTo>
                      <a:pt x="423327" y="265793"/>
                    </a:lnTo>
                    <a:cubicBezTo>
                      <a:pt x="423327" y="265793"/>
                      <a:pt x="423327" y="266364"/>
                      <a:pt x="423327" y="266650"/>
                    </a:cubicBezTo>
                    <a:cubicBezTo>
                      <a:pt x="423327" y="266936"/>
                      <a:pt x="423327" y="266650"/>
                      <a:pt x="422470" y="269127"/>
                    </a:cubicBezTo>
                    <a:cubicBezTo>
                      <a:pt x="421613" y="271603"/>
                      <a:pt x="419803" y="270936"/>
                      <a:pt x="419422" y="272555"/>
                    </a:cubicBezTo>
                    <a:cubicBezTo>
                      <a:pt x="419041" y="274175"/>
                      <a:pt x="419422" y="272555"/>
                      <a:pt x="421422" y="273317"/>
                    </a:cubicBezTo>
                    <a:cubicBezTo>
                      <a:pt x="421422" y="274365"/>
                      <a:pt x="420184" y="274842"/>
                      <a:pt x="419803" y="275699"/>
                    </a:cubicBezTo>
                    <a:cubicBezTo>
                      <a:pt x="421994" y="277794"/>
                      <a:pt x="423804" y="274080"/>
                      <a:pt x="425899" y="273889"/>
                    </a:cubicBezTo>
                    <a:cubicBezTo>
                      <a:pt x="425899" y="274651"/>
                      <a:pt x="425423" y="275127"/>
                      <a:pt x="425423" y="275889"/>
                    </a:cubicBezTo>
                    <a:cubicBezTo>
                      <a:pt x="427880" y="276251"/>
                      <a:pt x="430376" y="276347"/>
                      <a:pt x="432852" y="276175"/>
                    </a:cubicBezTo>
                    <a:close/>
                    <a:moveTo>
                      <a:pt x="544390" y="51575"/>
                    </a:moveTo>
                    <a:cubicBezTo>
                      <a:pt x="544390" y="51575"/>
                      <a:pt x="544390" y="50909"/>
                      <a:pt x="544390" y="51004"/>
                    </a:cubicBezTo>
                    <a:cubicBezTo>
                      <a:pt x="544390" y="51099"/>
                      <a:pt x="544390" y="51004"/>
                      <a:pt x="544866" y="52052"/>
                    </a:cubicBezTo>
                    <a:cubicBezTo>
                      <a:pt x="545342" y="53100"/>
                      <a:pt x="544866" y="52052"/>
                      <a:pt x="547057" y="53004"/>
                    </a:cubicBezTo>
                    <a:cubicBezTo>
                      <a:pt x="549248" y="53957"/>
                      <a:pt x="548200" y="54433"/>
                      <a:pt x="548962" y="54909"/>
                    </a:cubicBezTo>
                    <a:lnTo>
                      <a:pt x="548962" y="54909"/>
                    </a:lnTo>
                    <a:cubicBezTo>
                      <a:pt x="549819" y="55481"/>
                      <a:pt x="551153" y="53671"/>
                      <a:pt x="551057" y="53004"/>
                    </a:cubicBezTo>
                    <a:cubicBezTo>
                      <a:pt x="550962" y="52338"/>
                      <a:pt x="553439" y="48242"/>
                      <a:pt x="554105" y="48242"/>
                    </a:cubicBezTo>
                    <a:cubicBezTo>
                      <a:pt x="554772" y="48242"/>
                      <a:pt x="554105" y="49385"/>
                      <a:pt x="554677" y="49671"/>
                    </a:cubicBezTo>
                    <a:cubicBezTo>
                      <a:pt x="555248" y="49956"/>
                      <a:pt x="554677" y="49671"/>
                      <a:pt x="556296" y="49671"/>
                    </a:cubicBezTo>
                    <a:cubicBezTo>
                      <a:pt x="557915" y="49671"/>
                      <a:pt x="556772" y="51290"/>
                      <a:pt x="556296" y="51575"/>
                    </a:cubicBezTo>
                    <a:cubicBezTo>
                      <a:pt x="555820" y="51861"/>
                      <a:pt x="555439" y="51575"/>
                      <a:pt x="554201" y="51575"/>
                    </a:cubicBezTo>
                    <a:cubicBezTo>
                      <a:pt x="553248" y="52023"/>
                      <a:pt x="552324" y="52537"/>
                      <a:pt x="551439" y="53100"/>
                    </a:cubicBezTo>
                    <a:lnTo>
                      <a:pt x="550772" y="55957"/>
                    </a:lnTo>
                    <a:cubicBezTo>
                      <a:pt x="550743" y="56148"/>
                      <a:pt x="550743" y="56338"/>
                      <a:pt x="550772" y="56529"/>
                    </a:cubicBezTo>
                    <a:cubicBezTo>
                      <a:pt x="551248" y="57386"/>
                      <a:pt x="551629" y="57195"/>
                      <a:pt x="551820" y="57100"/>
                    </a:cubicBezTo>
                    <a:cubicBezTo>
                      <a:pt x="552010" y="57005"/>
                      <a:pt x="553534" y="55481"/>
                      <a:pt x="554487" y="54719"/>
                    </a:cubicBezTo>
                    <a:cubicBezTo>
                      <a:pt x="555439" y="53957"/>
                      <a:pt x="555439" y="54147"/>
                      <a:pt x="555630" y="54719"/>
                    </a:cubicBezTo>
                    <a:cubicBezTo>
                      <a:pt x="555820" y="55290"/>
                      <a:pt x="553248" y="58338"/>
                      <a:pt x="553153" y="58338"/>
                    </a:cubicBezTo>
                    <a:cubicBezTo>
                      <a:pt x="550486" y="60529"/>
                      <a:pt x="553153" y="61482"/>
                      <a:pt x="553153" y="61482"/>
                    </a:cubicBezTo>
                    <a:cubicBezTo>
                      <a:pt x="553153" y="61482"/>
                      <a:pt x="554391" y="61482"/>
                      <a:pt x="554963" y="61482"/>
                    </a:cubicBezTo>
                    <a:cubicBezTo>
                      <a:pt x="555534" y="61482"/>
                      <a:pt x="554963" y="62529"/>
                      <a:pt x="555820" y="63101"/>
                    </a:cubicBezTo>
                    <a:cubicBezTo>
                      <a:pt x="556677" y="63672"/>
                      <a:pt x="556487" y="63101"/>
                      <a:pt x="556487" y="63101"/>
                    </a:cubicBezTo>
                    <a:lnTo>
                      <a:pt x="559058" y="58243"/>
                    </a:lnTo>
                    <a:cubicBezTo>
                      <a:pt x="559058" y="58243"/>
                      <a:pt x="559058" y="58243"/>
                      <a:pt x="559058" y="58243"/>
                    </a:cubicBezTo>
                    <a:cubicBezTo>
                      <a:pt x="559058" y="58243"/>
                      <a:pt x="560297" y="58243"/>
                      <a:pt x="560678" y="57576"/>
                    </a:cubicBezTo>
                    <a:cubicBezTo>
                      <a:pt x="561059" y="56909"/>
                      <a:pt x="560678" y="55576"/>
                      <a:pt x="561249" y="54528"/>
                    </a:cubicBezTo>
                    <a:lnTo>
                      <a:pt x="561249" y="54528"/>
                    </a:lnTo>
                    <a:cubicBezTo>
                      <a:pt x="561249" y="54052"/>
                      <a:pt x="562392" y="54528"/>
                      <a:pt x="562773" y="53671"/>
                    </a:cubicBezTo>
                    <a:cubicBezTo>
                      <a:pt x="563154" y="52814"/>
                      <a:pt x="562773" y="52052"/>
                      <a:pt x="563726" y="51575"/>
                    </a:cubicBezTo>
                    <a:cubicBezTo>
                      <a:pt x="564288" y="51080"/>
                      <a:pt x="564650" y="50404"/>
                      <a:pt x="564773" y="49671"/>
                    </a:cubicBezTo>
                    <a:cubicBezTo>
                      <a:pt x="564773" y="48908"/>
                      <a:pt x="565535" y="48623"/>
                      <a:pt x="565916" y="48051"/>
                    </a:cubicBezTo>
                    <a:lnTo>
                      <a:pt x="565916" y="48051"/>
                    </a:lnTo>
                    <a:cubicBezTo>
                      <a:pt x="565916" y="48051"/>
                      <a:pt x="565916" y="47004"/>
                      <a:pt x="564392" y="46908"/>
                    </a:cubicBezTo>
                    <a:cubicBezTo>
                      <a:pt x="563469" y="46746"/>
                      <a:pt x="562592" y="46384"/>
                      <a:pt x="561821" y="45861"/>
                    </a:cubicBezTo>
                    <a:cubicBezTo>
                      <a:pt x="560582" y="45289"/>
                      <a:pt x="558201" y="47480"/>
                      <a:pt x="558011" y="45861"/>
                    </a:cubicBezTo>
                    <a:cubicBezTo>
                      <a:pt x="557820" y="44241"/>
                      <a:pt x="558011" y="43670"/>
                      <a:pt x="554772" y="43670"/>
                    </a:cubicBezTo>
                    <a:lnTo>
                      <a:pt x="552581" y="43670"/>
                    </a:lnTo>
                    <a:cubicBezTo>
                      <a:pt x="552581" y="44146"/>
                      <a:pt x="553820" y="45289"/>
                      <a:pt x="553439" y="45861"/>
                    </a:cubicBezTo>
                    <a:lnTo>
                      <a:pt x="553439" y="45861"/>
                    </a:lnTo>
                    <a:cubicBezTo>
                      <a:pt x="552963" y="45861"/>
                      <a:pt x="553439" y="46718"/>
                      <a:pt x="553439" y="47099"/>
                    </a:cubicBezTo>
                    <a:cubicBezTo>
                      <a:pt x="553439" y="47480"/>
                      <a:pt x="552581" y="48051"/>
                      <a:pt x="551534" y="45099"/>
                    </a:cubicBezTo>
                    <a:cubicBezTo>
                      <a:pt x="550838" y="45051"/>
                      <a:pt x="550134" y="45051"/>
                      <a:pt x="549438" y="45099"/>
                    </a:cubicBezTo>
                    <a:cubicBezTo>
                      <a:pt x="549438" y="45099"/>
                      <a:pt x="548772" y="44622"/>
                      <a:pt x="548390" y="44527"/>
                    </a:cubicBezTo>
                    <a:lnTo>
                      <a:pt x="548390" y="44527"/>
                    </a:lnTo>
                    <a:cubicBezTo>
                      <a:pt x="548000" y="44537"/>
                      <a:pt x="547638" y="44756"/>
                      <a:pt x="547438" y="45099"/>
                    </a:cubicBezTo>
                    <a:cubicBezTo>
                      <a:pt x="547438" y="45099"/>
                      <a:pt x="546866" y="46337"/>
                      <a:pt x="546485" y="46242"/>
                    </a:cubicBezTo>
                    <a:cubicBezTo>
                      <a:pt x="546105" y="46146"/>
                      <a:pt x="546485" y="46242"/>
                      <a:pt x="545342" y="45479"/>
                    </a:cubicBezTo>
                    <a:cubicBezTo>
                      <a:pt x="544199" y="44717"/>
                      <a:pt x="544676" y="44717"/>
                      <a:pt x="544485" y="44813"/>
                    </a:cubicBezTo>
                    <a:cubicBezTo>
                      <a:pt x="544295" y="44908"/>
                      <a:pt x="543056" y="45670"/>
                      <a:pt x="543247" y="46337"/>
                    </a:cubicBezTo>
                    <a:cubicBezTo>
                      <a:pt x="543438" y="47004"/>
                      <a:pt x="543247" y="47575"/>
                      <a:pt x="542390" y="48718"/>
                    </a:cubicBezTo>
                    <a:cubicBezTo>
                      <a:pt x="541532" y="49861"/>
                      <a:pt x="542390" y="52338"/>
                      <a:pt x="542866" y="52338"/>
                    </a:cubicBezTo>
                    <a:cubicBezTo>
                      <a:pt x="543342" y="52338"/>
                      <a:pt x="543723" y="51957"/>
                      <a:pt x="544009" y="51575"/>
                    </a:cubicBezTo>
                    <a:close/>
                    <a:moveTo>
                      <a:pt x="430090" y="92628"/>
                    </a:moveTo>
                    <a:cubicBezTo>
                      <a:pt x="431805" y="92628"/>
                      <a:pt x="431805" y="92628"/>
                      <a:pt x="432185" y="92628"/>
                    </a:cubicBezTo>
                    <a:lnTo>
                      <a:pt x="432185" y="92628"/>
                    </a:lnTo>
                    <a:cubicBezTo>
                      <a:pt x="432738" y="93162"/>
                      <a:pt x="433386" y="93581"/>
                      <a:pt x="434090" y="93867"/>
                    </a:cubicBezTo>
                    <a:cubicBezTo>
                      <a:pt x="434652" y="94038"/>
                      <a:pt x="435243" y="94038"/>
                      <a:pt x="435805" y="93867"/>
                    </a:cubicBezTo>
                    <a:lnTo>
                      <a:pt x="435805" y="93867"/>
                    </a:lnTo>
                    <a:cubicBezTo>
                      <a:pt x="435805" y="93390"/>
                      <a:pt x="435233" y="91295"/>
                      <a:pt x="434472" y="90628"/>
                    </a:cubicBezTo>
                    <a:cubicBezTo>
                      <a:pt x="433709" y="89961"/>
                      <a:pt x="432947" y="90628"/>
                      <a:pt x="432090" y="90057"/>
                    </a:cubicBezTo>
                    <a:lnTo>
                      <a:pt x="431138" y="90057"/>
                    </a:lnTo>
                    <a:cubicBezTo>
                      <a:pt x="427613" y="90057"/>
                      <a:pt x="426756" y="91200"/>
                      <a:pt x="426566" y="91580"/>
                    </a:cubicBezTo>
                    <a:cubicBezTo>
                      <a:pt x="426375" y="91962"/>
                      <a:pt x="426566" y="91580"/>
                      <a:pt x="426566" y="92152"/>
                    </a:cubicBezTo>
                    <a:close/>
                    <a:moveTo>
                      <a:pt x="571631" y="51099"/>
                    </a:moveTo>
                    <a:cubicBezTo>
                      <a:pt x="571793" y="51128"/>
                      <a:pt x="571946" y="51128"/>
                      <a:pt x="572108" y="51099"/>
                    </a:cubicBezTo>
                    <a:cubicBezTo>
                      <a:pt x="572108" y="51099"/>
                      <a:pt x="572108" y="51099"/>
                      <a:pt x="571346" y="50433"/>
                    </a:cubicBezTo>
                    <a:lnTo>
                      <a:pt x="571346" y="50433"/>
                    </a:lnTo>
                    <a:lnTo>
                      <a:pt x="571346" y="50433"/>
                    </a:lnTo>
                    <a:lnTo>
                      <a:pt x="571346" y="50433"/>
                    </a:lnTo>
                    <a:lnTo>
                      <a:pt x="569060" y="50433"/>
                    </a:lnTo>
                    <a:cubicBezTo>
                      <a:pt x="568393" y="50433"/>
                      <a:pt x="567631" y="50433"/>
                      <a:pt x="567440" y="50433"/>
                    </a:cubicBezTo>
                    <a:cubicBezTo>
                      <a:pt x="567440" y="50433"/>
                      <a:pt x="567440" y="51004"/>
                      <a:pt x="568012" y="51385"/>
                    </a:cubicBezTo>
                    <a:cubicBezTo>
                      <a:pt x="568583" y="51766"/>
                      <a:pt x="568012" y="51385"/>
                      <a:pt x="568012" y="52147"/>
                    </a:cubicBezTo>
                    <a:cubicBezTo>
                      <a:pt x="568012" y="52909"/>
                      <a:pt x="568012" y="52147"/>
                      <a:pt x="568012" y="52147"/>
                    </a:cubicBezTo>
                    <a:cubicBezTo>
                      <a:pt x="568012" y="52147"/>
                      <a:pt x="568583" y="52814"/>
                      <a:pt x="568964" y="52719"/>
                    </a:cubicBezTo>
                    <a:lnTo>
                      <a:pt x="568964" y="52719"/>
                    </a:lnTo>
                    <a:cubicBezTo>
                      <a:pt x="569460" y="52537"/>
                      <a:pt x="569936" y="52309"/>
                      <a:pt x="570393" y="52052"/>
                    </a:cubicBezTo>
                    <a:cubicBezTo>
                      <a:pt x="570822" y="51756"/>
                      <a:pt x="571231" y="51442"/>
                      <a:pt x="571631" y="51099"/>
                    </a:cubicBezTo>
                    <a:close/>
                    <a:moveTo>
                      <a:pt x="390656" y="167400"/>
                    </a:moveTo>
                    <a:lnTo>
                      <a:pt x="390656" y="167400"/>
                    </a:lnTo>
                    <a:cubicBezTo>
                      <a:pt x="392657" y="168257"/>
                      <a:pt x="394943" y="168066"/>
                      <a:pt x="397038" y="168924"/>
                    </a:cubicBezTo>
                    <a:cubicBezTo>
                      <a:pt x="399172" y="169990"/>
                      <a:pt x="401210" y="171238"/>
                      <a:pt x="403134" y="172638"/>
                    </a:cubicBezTo>
                    <a:cubicBezTo>
                      <a:pt x="404153" y="173705"/>
                      <a:pt x="405563" y="174324"/>
                      <a:pt x="407039" y="174353"/>
                    </a:cubicBezTo>
                    <a:cubicBezTo>
                      <a:pt x="409135" y="174353"/>
                      <a:pt x="410088" y="171876"/>
                      <a:pt x="412088" y="171591"/>
                    </a:cubicBezTo>
                    <a:cubicBezTo>
                      <a:pt x="414564" y="171400"/>
                      <a:pt x="417022" y="170981"/>
                      <a:pt x="419422" y="170352"/>
                    </a:cubicBezTo>
                    <a:cubicBezTo>
                      <a:pt x="420946" y="169876"/>
                      <a:pt x="421994" y="168733"/>
                      <a:pt x="423422" y="168162"/>
                    </a:cubicBezTo>
                    <a:cubicBezTo>
                      <a:pt x="425204" y="167866"/>
                      <a:pt x="426956" y="167419"/>
                      <a:pt x="428661" y="166828"/>
                    </a:cubicBezTo>
                    <a:cubicBezTo>
                      <a:pt x="429804" y="166352"/>
                      <a:pt x="429328" y="165113"/>
                      <a:pt x="429709" y="164256"/>
                    </a:cubicBezTo>
                    <a:cubicBezTo>
                      <a:pt x="430090" y="163399"/>
                      <a:pt x="431709" y="163494"/>
                      <a:pt x="432471" y="162637"/>
                    </a:cubicBezTo>
                    <a:cubicBezTo>
                      <a:pt x="432795" y="162275"/>
                      <a:pt x="433062" y="161856"/>
                      <a:pt x="433233" y="161399"/>
                    </a:cubicBezTo>
                    <a:cubicBezTo>
                      <a:pt x="433233" y="160542"/>
                      <a:pt x="432662" y="159875"/>
                      <a:pt x="433233" y="159017"/>
                    </a:cubicBezTo>
                    <a:cubicBezTo>
                      <a:pt x="433776" y="158017"/>
                      <a:pt x="434224" y="156960"/>
                      <a:pt x="434567" y="155874"/>
                    </a:cubicBezTo>
                    <a:lnTo>
                      <a:pt x="434567" y="155874"/>
                    </a:lnTo>
                    <a:cubicBezTo>
                      <a:pt x="434567" y="155303"/>
                      <a:pt x="434567" y="155303"/>
                      <a:pt x="432947" y="153969"/>
                    </a:cubicBezTo>
                    <a:cubicBezTo>
                      <a:pt x="431328" y="152636"/>
                      <a:pt x="431328" y="152541"/>
                      <a:pt x="431328" y="152159"/>
                    </a:cubicBezTo>
                    <a:cubicBezTo>
                      <a:pt x="431328" y="151779"/>
                      <a:pt x="433424" y="150159"/>
                      <a:pt x="433709" y="148635"/>
                    </a:cubicBezTo>
                    <a:lnTo>
                      <a:pt x="432947" y="148635"/>
                    </a:lnTo>
                    <a:cubicBezTo>
                      <a:pt x="432947" y="148064"/>
                      <a:pt x="433900" y="147778"/>
                      <a:pt x="433805" y="147111"/>
                    </a:cubicBezTo>
                    <a:lnTo>
                      <a:pt x="432471" y="147111"/>
                    </a:lnTo>
                    <a:cubicBezTo>
                      <a:pt x="431614" y="147197"/>
                      <a:pt x="430804" y="147492"/>
                      <a:pt x="430090" y="147969"/>
                    </a:cubicBezTo>
                    <a:cubicBezTo>
                      <a:pt x="428852" y="148730"/>
                      <a:pt x="428566" y="148826"/>
                      <a:pt x="428280" y="148635"/>
                    </a:cubicBezTo>
                    <a:cubicBezTo>
                      <a:pt x="427995" y="148445"/>
                      <a:pt x="428280" y="148635"/>
                      <a:pt x="428280" y="147492"/>
                    </a:cubicBezTo>
                    <a:cubicBezTo>
                      <a:pt x="428280" y="146349"/>
                      <a:pt x="428280" y="146825"/>
                      <a:pt x="425994" y="146825"/>
                    </a:cubicBezTo>
                    <a:lnTo>
                      <a:pt x="425232" y="146825"/>
                    </a:lnTo>
                    <a:cubicBezTo>
                      <a:pt x="423699" y="147159"/>
                      <a:pt x="422670" y="148597"/>
                      <a:pt x="422851" y="150159"/>
                    </a:cubicBezTo>
                    <a:cubicBezTo>
                      <a:pt x="422851" y="150159"/>
                      <a:pt x="422851" y="150731"/>
                      <a:pt x="422851" y="150921"/>
                    </a:cubicBezTo>
                    <a:cubicBezTo>
                      <a:pt x="420755" y="152731"/>
                      <a:pt x="419231" y="148635"/>
                      <a:pt x="417041" y="149588"/>
                    </a:cubicBezTo>
                    <a:cubicBezTo>
                      <a:pt x="417041" y="151969"/>
                      <a:pt x="417041" y="152541"/>
                      <a:pt x="415517" y="153398"/>
                    </a:cubicBezTo>
                    <a:cubicBezTo>
                      <a:pt x="414755" y="152636"/>
                      <a:pt x="414945" y="151588"/>
                      <a:pt x="414469" y="150731"/>
                    </a:cubicBezTo>
                    <a:cubicBezTo>
                      <a:pt x="413993" y="149874"/>
                      <a:pt x="411516" y="149778"/>
                      <a:pt x="411516" y="149778"/>
                    </a:cubicBezTo>
                    <a:cubicBezTo>
                      <a:pt x="411516" y="149778"/>
                      <a:pt x="411516" y="151302"/>
                      <a:pt x="410849" y="151969"/>
                    </a:cubicBezTo>
                    <a:lnTo>
                      <a:pt x="410849" y="151969"/>
                    </a:lnTo>
                    <a:cubicBezTo>
                      <a:pt x="409516" y="149112"/>
                      <a:pt x="409516" y="149112"/>
                      <a:pt x="408754" y="150064"/>
                    </a:cubicBezTo>
                    <a:cubicBezTo>
                      <a:pt x="407992" y="151017"/>
                      <a:pt x="406563" y="155588"/>
                      <a:pt x="406468" y="156065"/>
                    </a:cubicBezTo>
                    <a:cubicBezTo>
                      <a:pt x="406373" y="156541"/>
                      <a:pt x="406468" y="157398"/>
                      <a:pt x="406468" y="157589"/>
                    </a:cubicBezTo>
                    <a:cubicBezTo>
                      <a:pt x="406468" y="157779"/>
                      <a:pt x="402087" y="155970"/>
                      <a:pt x="402087" y="154922"/>
                    </a:cubicBezTo>
                    <a:lnTo>
                      <a:pt x="402087" y="154922"/>
                    </a:lnTo>
                    <a:cubicBezTo>
                      <a:pt x="402087" y="154922"/>
                      <a:pt x="402087" y="155493"/>
                      <a:pt x="402944" y="155398"/>
                    </a:cubicBezTo>
                    <a:cubicBezTo>
                      <a:pt x="403801" y="155303"/>
                      <a:pt x="406182" y="154541"/>
                      <a:pt x="403801" y="152064"/>
                    </a:cubicBezTo>
                    <a:cubicBezTo>
                      <a:pt x="403801" y="151017"/>
                      <a:pt x="406182" y="150254"/>
                      <a:pt x="405134" y="149302"/>
                    </a:cubicBezTo>
                    <a:cubicBezTo>
                      <a:pt x="404087" y="148350"/>
                      <a:pt x="399515" y="145302"/>
                      <a:pt x="399991" y="148540"/>
                    </a:cubicBezTo>
                    <a:cubicBezTo>
                      <a:pt x="399677" y="148807"/>
                      <a:pt x="399420" y="149131"/>
                      <a:pt x="399229" y="149492"/>
                    </a:cubicBezTo>
                    <a:cubicBezTo>
                      <a:pt x="399229" y="149492"/>
                      <a:pt x="399991" y="150064"/>
                      <a:pt x="399896" y="150636"/>
                    </a:cubicBezTo>
                    <a:cubicBezTo>
                      <a:pt x="399800" y="151207"/>
                      <a:pt x="399038" y="152445"/>
                      <a:pt x="398372" y="151874"/>
                    </a:cubicBezTo>
                    <a:cubicBezTo>
                      <a:pt x="397705" y="151302"/>
                      <a:pt x="398372" y="149588"/>
                      <a:pt x="397514" y="148635"/>
                    </a:cubicBezTo>
                    <a:cubicBezTo>
                      <a:pt x="396657" y="147683"/>
                      <a:pt x="393990" y="150731"/>
                      <a:pt x="393895" y="150731"/>
                    </a:cubicBezTo>
                    <a:cubicBezTo>
                      <a:pt x="393800" y="150731"/>
                      <a:pt x="393895" y="151302"/>
                      <a:pt x="395133" y="152921"/>
                    </a:cubicBezTo>
                    <a:cubicBezTo>
                      <a:pt x="395133" y="152921"/>
                      <a:pt x="395133" y="153398"/>
                      <a:pt x="392942" y="153493"/>
                    </a:cubicBezTo>
                    <a:cubicBezTo>
                      <a:pt x="391952" y="153464"/>
                      <a:pt x="390980" y="153769"/>
                      <a:pt x="390180" y="154350"/>
                    </a:cubicBezTo>
                    <a:cubicBezTo>
                      <a:pt x="390180" y="156160"/>
                      <a:pt x="393990" y="156446"/>
                      <a:pt x="395514" y="155208"/>
                    </a:cubicBezTo>
                    <a:lnTo>
                      <a:pt x="395514" y="155208"/>
                    </a:lnTo>
                    <a:cubicBezTo>
                      <a:pt x="395514" y="155208"/>
                      <a:pt x="398753" y="154065"/>
                      <a:pt x="399800" y="155684"/>
                    </a:cubicBezTo>
                    <a:cubicBezTo>
                      <a:pt x="400848" y="157303"/>
                      <a:pt x="397896" y="157017"/>
                      <a:pt x="397514" y="158160"/>
                    </a:cubicBezTo>
                    <a:cubicBezTo>
                      <a:pt x="397133" y="159303"/>
                      <a:pt x="399229" y="158160"/>
                      <a:pt x="399896" y="159113"/>
                    </a:cubicBezTo>
                    <a:cubicBezTo>
                      <a:pt x="399038" y="159779"/>
                      <a:pt x="399038" y="159779"/>
                      <a:pt x="390371" y="160446"/>
                    </a:cubicBezTo>
                    <a:cubicBezTo>
                      <a:pt x="389323" y="160446"/>
                      <a:pt x="389799" y="161875"/>
                      <a:pt x="389799" y="161970"/>
                    </a:cubicBezTo>
                    <a:cubicBezTo>
                      <a:pt x="389799" y="162066"/>
                      <a:pt x="390656" y="161970"/>
                      <a:pt x="392180" y="161970"/>
                    </a:cubicBezTo>
                    <a:cubicBezTo>
                      <a:pt x="393066" y="161818"/>
                      <a:pt x="393961" y="161818"/>
                      <a:pt x="394847" y="161970"/>
                    </a:cubicBezTo>
                    <a:cubicBezTo>
                      <a:pt x="395705" y="162446"/>
                      <a:pt x="394181" y="163494"/>
                      <a:pt x="394847" y="164066"/>
                    </a:cubicBezTo>
                    <a:cubicBezTo>
                      <a:pt x="395514" y="164637"/>
                      <a:pt x="396753" y="164066"/>
                      <a:pt x="397514" y="164828"/>
                    </a:cubicBezTo>
                    <a:cubicBezTo>
                      <a:pt x="395895" y="167495"/>
                      <a:pt x="391609" y="163685"/>
                      <a:pt x="390656" y="167400"/>
                    </a:cubicBezTo>
                    <a:close/>
                    <a:moveTo>
                      <a:pt x="451331" y="215977"/>
                    </a:moveTo>
                    <a:cubicBezTo>
                      <a:pt x="450988" y="216282"/>
                      <a:pt x="450702" y="216634"/>
                      <a:pt x="450473" y="217025"/>
                    </a:cubicBezTo>
                    <a:lnTo>
                      <a:pt x="449235" y="219596"/>
                    </a:lnTo>
                    <a:cubicBezTo>
                      <a:pt x="449235" y="220073"/>
                      <a:pt x="450283" y="219596"/>
                      <a:pt x="450473" y="219596"/>
                    </a:cubicBezTo>
                    <a:lnTo>
                      <a:pt x="453236" y="218454"/>
                    </a:lnTo>
                    <a:cubicBezTo>
                      <a:pt x="453626" y="218263"/>
                      <a:pt x="453979" y="218006"/>
                      <a:pt x="454283" y="217692"/>
                    </a:cubicBezTo>
                    <a:cubicBezTo>
                      <a:pt x="454607" y="217406"/>
                      <a:pt x="454874" y="217044"/>
                      <a:pt x="455046" y="216644"/>
                    </a:cubicBezTo>
                    <a:lnTo>
                      <a:pt x="455046" y="216644"/>
                    </a:lnTo>
                    <a:lnTo>
                      <a:pt x="455903" y="214644"/>
                    </a:lnTo>
                    <a:cubicBezTo>
                      <a:pt x="456227" y="214158"/>
                      <a:pt x="456512" y="213643"/>
                      <a:pt x="456760" y="213120"/>
                    </a:cubicBezTo>
                    <a:lnTo>
                      <a:pt x="456760" y="213120"/>
                    </a:lnTo>
                    <a:cubicBezTo>
                      <a:pt x="456760" y="213120"/>
                      <a:pt x="456760" y="213120"/>
                      <a:pt x="456760" y="213120"/>
                    </a:cubicBezTo>
                    <a:lnTo>
                      <a:pt x="456760" y="213120"/>
                    </a:lnTo>
                    <a:cubicBezTo>
                      <a:pt x="456760" y="213120"/>
                      <a:pt x="456760" y="213120"/>
                      <a:pt x="455331" y="213977"/>
                    </a:cubicBezTo>
                    <a:cubicBezTo>
                      <a:pt x="454941" y="214339"/>
                      <a:pt x="454493" y="214625"/>
                      <a:pt x="453998" y="214834"/>
                    </a:cubicBezTo>
                    <a:lnTo>
                      <a:pt x="452379" y="215596"/>
                    </a:lnTo>
                    <a:lnTo>
                      <a:pt x="451521" y="215596"/>
                    </a:lnTo>
                    <a:close/>
                    <a:moveTo>
                      <a:pt x="425042" y="94914"/>
                    </a:moveTo>
                    <a:cubicBezTo>
                      <a:pt x="425175" y="95343"/>
                      <a:pt x="425442" y="95705"/>
                      <a:pt x="425804" y="95962"/>
                    </a:cubicBezTo>
                    <a:cubicBezTo>
                      <a:pt x="426566" y="96724"/>
                      <a:pt x="427613" y="96915"/>
                      <a:pt x="428280" y="97581"/>
                    </a:cubicBezTo>
                    <a:cubicBezTo>
                      <a:pt x="428947" y="98248"/>
                      <a:pt x="428852" y="98915"/>
                      <a:pt x="429423" y="99391"/>
                    </a:cubicBezTo>
                    <a:lnTo>
                      <a:pt x="429995" y="99391"/>
                    </a:lnTo>
                    <a:cubicBezTo>
                      <a:pt x="432157" y="99934"/>
                      <a:pt x="434443" y="99362"/>
                      <a:pt x="436091" y="97867"/>
                    </a:cubicBezTo>
                    <a:lnTo>
                      <a:pt x="436091" y="97867"/>
                    </a:lnTo>
                    <a:lnTo>
                      <a:pt x="435329" y="97867"/>
                    </a:lnTo>
                    <a:cubicBezTo>
                      <a:pt x="434100" y="97829"/>
                      <a:pt x="432890" y="97505"/>
                      <a:pt x="431805" y="96915"/>
                    </a:cubicBezTo>
                    <a:cubicBezTo>
                      <a:pt x="431805" y="96915"/>
                      <a:pt x="431805" y="96915"/>
                      <a:pt x="433709" y="96915"/>
                    </a:cubicBezTo>
                    <a:cubicBezTo>
                      <a:pt x="435614" y="96915"/>
                      <a:pt x="435329" y="96915"/>
                      <a:pt x="435424" y="96915"/>
                    </a:cubicBezTo>
                    <a:lnTo>
                      <a:pt x="434567" y="96438"/>
                    </a:lnTo>
                    <a:cubicBezTo>
                      <a:pt x="433424" y="96438"/>
                      <a:pt x="432090" y="96438"/>
                      <a:pt x="430947" y="95867"/>
                    </a:cubicBezTo>
                    <a:cubicBezTo>
                      <a:pt x="429804" y="95295"/>
                      <a:pt x="430090" y="94914"/>
                      <a:pt x="429423" y="94724"/>
                    </a:cubicBezTo>
                    <a:lnTo>
                      <a:pt x="428756" y="94724"/>
                    </a:lnTo>
                    <a:cubicBezTo>
                      <a:pt x="426661" y="93771"/>
                      <a:pt x="424851" y="93771"/>
                      <a:pt x="424756" y="94914"/>
                    </a:cubicBezTo>
                    <a:close/>
                    <a:moveTo>
                      <a:pt x="577442" y="54528"/>
                    </a:moveTo>
                    <a:cubicBezTo>
                      <a:pt x="576775" y="54528"/>
                      <a:pt x="576584" y="53385"/>
                      <a:pt x="575918" y="53100"/>
                    </a:cubicBezTo>
                    <a:cubicBezTo>
                      <a:pt x="575251" y="52814"/>
                      <a:pt x="574965" y="53100"/>
                      <a:pt x="573537" y="53100"/>
                    </a:cubicBezTo>
                    <a:cubicBezTo>
                      <a:pt x="572384" y="53176"/>
                      <a:pt x="571250" y="53471"/>
                      <a:pt x="570203" y="53957"/>
                    </a:cubicBezTo>
                    <a:cubicBezTo>
                      <a:pt x="569822" y="54462"/>
                      <a:pt x="569822" y="55166"/>
                      <a:pt x="570203" y="55671"/>
                    </a:cubicBezTo>
                    <a:cubicBezTo>
                      <a:pt x="570870" y="56243"/>
                      <a:pt x="569155" y="56243"/>
                      <a:pt x="568679" y="56624"/>
                    </a:cubicBezTo>
                    <a:lnTo>
                      <a:pt x="568679" y="56624"/>
                    </a:lnTo>
                    <a:cubicBezTo>
                      <a:pt x="568679" y="56624"/>
                      <a:pt x="569250" y="58338"/>
                      <a:pt x="570012" y="58529"/>
                    </a:cubicBezTo>
                    <a:cubicBezTo>
                      <a:pt x="570603" y="58719"/>
                      <a:pt x="571231" y="58719"/>
                      <a:pt x="571822" y="58529"/>
                    </a:cubicBezTo>
                    <a:lnTo>
                      <a:pt x="572774" y="58529"/>
                    </a:lnTo>
                    <a:cubicBezTo>
                      <a:pt x="573537" y="58529"/>
                      <a:pt x="573537" y="59481"/>
                      <a:pt x="574203" y="59481"/>
                    </a:cubicBezTo>
                    <a:lnTo>
                      <a:pt x="574203" y="59481"/>
                    </a:lnTo>
                    <a:cubicBezTo>
                      <a:pt x="574965" y="59481"/>
                      <a:pt x="575346" y="59481"/>
                      <a:pt x="575822" y="58148"/>
                    </a:cubicBezTo>
                    <a:lnTo>
                      <a:pt x="575822" y="58148"/>
                    </a:lnTo>
                    <a:cubicBezTo>
                      <a:pt x="575822" y="58148"/>
                      <a:pt x="575822" y="58148"/>
                      <a:pt x="575822" y="58148"/>
                    </a:cubicBezTo>
                    <a:cubicBezTo>
                      <a:pt x="575822" y="58148"/>
                      <a:pt x="575822" y="58148"/>
                      <a:pt x="575822" y="58148"/>
                    </a:cubicBezTo>
                    <a:lnTo>
                      <a:pt x="576775" y="58148"/>
                    </a:lnTo>
                    <a:lnTo>
                      <a:pt x="577918" y="58148"/>
                    </a:lnTo>
                    <a:lnTo>
                      <a:pt x="577918" y="58148"/>
                    </a:lnTo>
                    <a:cubicBezTo>
                      <a:pt x="577918" y="58148"/>
                      <a:pt x="578871" y="55195"/>
                      <a:pt x="577251" y="54528"/>
                    </a:cubicBezTo>
                    <a:close/>
                    <a:moveTo>
                      <a:pt x="630591" y="32811"/>
                    </a:moveTo>
                    <a:cubicBezTo>
                      <a:pt x="629896" y="32230"/>
                      <a:pt x="629086" y="31811"/>
                      <a:pt x="628210" y="31573"/>
                    </a:cubicBezTo>
                    <a:lnTo>
                      <a:pt x="628210" y="31573"/>
                    </a:lnTo>
                    <a:cubicBezTo>
                      <a:pt x="628762" y="32116"/>
                      <a:pt x="629239" y="32716"/>
                      <a:pt x="629639" y="33383"/>
                    </a:cubicBezTo>
                    <a:cubicBezTo>
                      <a:pt x="629724" y="33678"/>
                      <a:pt x="629896" y="33935"/>
                      <a:pt x="630115" y="34145"/>
                    </a:cubicBezTo>
                    <a:lnTo>
                      <a:pt x="630115" y="34145"/>
                    </a:lnTo>
                    <a:cubicBezTo>
                      <a:pt x="630115" y="34145"/>
                      <a:pt x="630115" y="33669"/>
                      <a:pt x="630115" y="33383"/>
                    </a:cubicBezTo>
                    <a:cubicBezTo>
                      <a:pt x="630115" y="33097"/>
                      <a:pt x="630115" y="33383"/>
                      <a:pt x="630591" y="33383"/>
                    </a:cubicBezTo>
                    <a:close/>
                    <a:moveTo>
                      <a:pt x="384751" y="10618"/>
                    </a:moveTo>
                    <a:lnTo>
                      <a:pt x="384751" y="10618"/>
                    </a:lnTo>
                    <a:cubicBezTo>
                      <a:pt x="384751" y="10618"/>
                      <a:pt x="385227" y="10618"/>
                      <a:pt x="385418" y="10618"/>
                    </a:cubicBezTo>
                    <a:lnTo>
                      <a:pt x="385418" y="10618"/>
                    </a:lnTo>
                    <a:lnTo>
                      <a:pt x="384941" y="10618"/>
                    </a:lnTo>
                    <a:lnTo>
                      <a:pt x="384941" y="10618"/>
                    </a:lnTo>
                    <a:lnTo>
                      <a:pt x="387418" y="10046"/>
                    </a:lnTo>
                    <a:cubicBezTo>
                      <a:pt x="387418" y="10046"/>
                      <a:pt x="390752" y="8808"/>
                      <a:pt x="390847" y="8618"/>
                    </a:cubicBezTo>
                    <a:lnTo>
                      <a:pt x="390847" y="8618"/>
                    </a:lnTo>
                    <a:cubicBezTo>
                      <a:pt x="388856" y="8932"/>
                      <a:pt x="386903" y="9475"/>
                      <a:pt x="385037" y="10237"/>
                    </a:cubicBezTo>
                    <a:cubicBezTo>
                      <a:pt x="385037" y="10237"/>
                      <a:pt x="385037" y="10237"/>
                      <a:pt x="385037" y="10237"/>
                    </a:cubicBezTo>
                    <a:close/>
                    <a:moveTo>
                      <a:pt x="629543" y="25001"/>
                    </a:moveTo>
                    <a:cubicBezTo>
                      <a:pt x="628972" y="25001"/>
                      <a:pt x="629543" y="25477"/>
                      <a:pt x="629543" y="26144"/>
                    </a:cubicBezTo>
                    <a:lnTo>
                      <a:pt x="629543" y="26144"/>
                    </a:lnTo>
                    <a:cubicBezTo>
                      <a:pt x="629543" y="26144"/>
                      <a:pt x="630020" y="27287"/>
                      <a:pt x="630401" y="27287"/>
                    </a:cubicBezTo>
                    <a:lnTo>
                      <a:pt x="630401" y="27287"/>
                    </a:lnTo>
                    <a:cubicBezTo>
                      <a:pt x="632106" y="27487"/>
                      <a:pt x="633839" y="27487"/>
                      <a:pt x="635544" y="27287"/>
                    </a:cubicBezTo>
                    <a:cubicBezTo>
                      <a:pt x="635544" y="27287"/>
                      <a:pt x="635544" y="27287"/>
                      <a:pt x="635544" y="26525"/>
                    </a:cubicBezTo>
                    <a:lnTo>
                      <a:pt x="635544" y="26525"/>
                    </a:lnTo>
                    <a:cubicBezTo>
                      <a:pt x="635325" y="26449"/>
                      <a:pt x="635096" y="26449"/>
                      <a:pt x="634878" y="26525"/>
                    </a:cubicBezTo>
                    <a:lnTo>
                      <a:pt x="633163" y="26525"/>
                    </a:lnTo>
                    <a:cubicBezTo>
                      <a:pt x="632411" y="26668"/>
                      <a:pt x="631630" y="26668"/>
                      <a:pt x="630877" y="26525"/>
                    </a:cubicBezTo>
                    <a:close/>
                    <a:moveTo>
                      <a:pt x="632115" y="32145"/>
                    </a:moveTo>
                    <a:lnTo>
                      <a:pt x="632115" y="32145"/>
                    </a:lnTo>
                    <a:cubicBezTo>
                      <a:pt x="632953" y="32383"/>
                      <a:pt x="633849" y="32383"/>
                      <a:pt x="634687" y="32145"/>
                    </a:cubicBezTo>
                    <a:lnTo>
                      <a:pt x="635258" y="32145"/>
                    </a:lnTo>
                    <a:cubicBezTo>
                      <a:pt x="635287" y="31859"/>
                      <a:pt x="635287" y="31573"/>
                      <a:pt x="635258" y="31287"/>
                    </a:cubicBezTo>
                    <a:cubicBezTo>
                      <a:pt x="635258" y="31287"/>
                      <a:pt x="634592" y="31287"/>
                      <a:pt x="634306" y="31287"/>
                    </a:cubicBezTo>
                    <a:lnTo>
                      <a:pt x="634306" y="31287"/>
                    </a:lnTo>
                    <a:cubicBezTo>
                      <a:pt x="633592" y="31497"/>
                      <a:pt x="632829" y="31497"/>
                      <a:pt x="632115" y="31287"/>
                    </a:cubicBezTo>
                    <a:lnTo>
                      <a:pt x="631163" y="31287"/>
                    </a:lnTo>
                    <a:cubicBezTo>
                      <a:pt x="631163" y="31287"/>
                      <a:pt x="631163" y="31287"/>
                      <a:pt x="631163" y="31954"/>
                    </a:cubicBezTo>
                    <a:cubicBezTo>
                      <a:pt x="631267" y="32135"/>
                      <a:pt x="631267" y="32345"/>
                      <a:pt x="631163" y="32525"/>
                    </a:cubicBezTo>
                    <a:close/>
                    <a:moveTo>
                      <a:pt x="626496" y="21191"/>
                    </a:moveTo>
                    <a:lnTo>
                      <a:pt x="626496" y="21191"/>
                    </a:lnTo>
                    <a:lnTo>
                      <a:pt x="627162" y="21191"/>
                    </a:lnTo>
                    <a:lnTo>
                      <a:pt x="628305" y="21191"/>
                    </a:lnTo>
                    <a:cubicBezTo>
                      <a:pt x="628305" y="21191"/>
                      <a:pt x="628305" y="21191"/>
                      <a:pt x="628305" y="21191"/>
                    </a:cubicBezTo>
                    <a:lnTo>
                      <a:pt x="628305" y="21191"/>
                    </a:lnTo>
                    <a:lnTo>
                      <a:pt x="628305" y="21191"/>
                    </a:lnTo>
                    <a:cubicBezTo>
                      <a:pt x="628305" y="21191"/>
                      <a:pt x="628305" y="21191"/>
                      <a:pt x="626210" y="21191"/>
                    </a:cubicBezTo>
                    <a:cubicBezTo>
                      <a:pt x="626210" y="21191"/>
                      <a:pt x="626210" y="21191"/>
                      <a:pt x="626210" y="21191"/>
                    </a:cubicBezTo>
                    <a:cubicBezTo>
                      <a:pt x="626210" y="21191"/>
                      <a:pt x="626400" y="20810"/>
                      <a:pt x="626305" y="20810"/>
                    </a:cubicBezTo>
                    <a:close/>
                    <a:moveTo>
                      <a:pt x="584490" y="48051"/>
                    </a:moveTo>
                    <a:cubicBezTo>
                      <a:pt x="584490" y="48051"/>
                      <a:pt x="585062" y="48051"/>
                      <a:pt x="585538" y="48051"/>
                    </a:cubicBezTo>
                    <a:lnTo>
                      <a:pt x="586490" y="47384"/>
                    </a:lnTo>
                    <a:lnTo>
                      <a:pt x="586490" y="47384"/>
                    </a:lnTo>
                    <a:cubicBezTo>
                      <a:pt x="586833" y="47461"/>
                      <a:pt x="587195" y="47461"/>
                      <a:pt x="587538" y="47384"/>
                    </a:cubicBezTo>
                    <a:cubicBezTo>
                      <a:pt x="587833" y="47280"/>
                      <a:pt x="588053" y="47032"/>
                      <a:pt x="588110" y="46718"/>
                    </a:cubicBezTo>
                    <a:cubicBezTo>
                      <a:pt x="588110" y="46718"/>
                      <a:pt x="588110" y="46718"/>
                      <a:pt x="588110" y="46146"/>
                    </a:cubicBezTo>
                    <a:lnTo>
                      <a:pt x="588110" y="46146"/>
                    </a:lnTo>
                    <a:cubicBezTo>
                      <a:pt x="588110" y="46146"/>
                      <a:pt x="588110" y="46146"/>
                      <a:pt x="588110" y="46146"/>
                    </a:cubicBezTo>
                    <a:cubicBezTo>
                      <a:pt x="587471" y="46270"/>
                      <a:pt x="586862" y="46499"/>
                      <a:pt x="586300" y="46813"/>
                    </a:cubicBezTo>
                    <a:lnTo>
                      <a:pt x="585157" y="47480"/>
                    </a:lnTo>
                    <a:lnTo>
                      <a:pt x="585157" y="47480"/>
                    </a:lnTo>
                    <a:cubicBezTo>
                      <a:pt x="585157" y="47480"/>
                      <a:pt x="585157" y="47480"/>
                      <a:pt x="585157" y="47480"/>
                    </a:cubicBezTo>
                    <a:lnTo>
                      <a:pt x="585157" y="47480"/>
                    </a:lnTo>
                    <a:close/>
                    <a:moveTo>
                      <a:pt x="624400" y="32335"/>
                    </a:moveTo>
                    <a:lnTo>
                      <a:pt x="624400" y="32335"/>
                    </a:lnTo>
                    <a:cubicBezTo>
                      <a:pt x="624400" y="32335"/>
                      <a:pt x="623733" y="32335"/>
                      <a:pt x="623733" y="32335"/>
                    </a:cubicBezTo>
                    <a:cubicBezTo>
                      <a:pt x="623733" y="32335"/>
                      <a:pt x="624590" y="33383"/>
                      <a:pt x="624972" y="33478"/>
                    </a:cubicBezTo>
                    <a:cubicBezTo>
                      <a:pt x="625353" y="33573"/>
                      <a:pt x="626305" y="33478"/>
                      <a:pt x="626400" y="32907"/>
                    </a:cubicBezTo>
                    <a:cubicBezTo>
                      <a:pt x="626496" y="32335"/>
                      <a:pt x="626400" y="32907"/>
                      <a:pt x="627257" y="32907"/>
                    </a:cubicBezTo>
                    <a:cubicBezTo>
                      <a:pt x="628115" y="32907"/>
                      <a:pt x="628496" y="32907"/>
                      <a:pt x="627257" y="31478"/>
                    </a:cubicBezTo>
                    <a:cubicBezTo>
                      <a:pt x="626019" y="30049"/>
                      <a:pt x="627257" y="31478"/>
                      <a:pt x="626400" y="30716"/>
                    </a:cubicBezTo>
                    <a:cubicBezTo>
                      <a:pt x="626057" y="30535"/>
                      <a:pt x="625762" y="30278"/>
                      <a:pt x="625543" y="29954"/>
                    </a:cubicBezTo>
                    <a:cubicBezTo>
                      <a:pt x="625543" y="29954"/>
                      <a:pt x="626019" y="29382"/>
                      <a:pt x="626400" y="29287"/>
                    </a:cubicBezTo>
                    <a:lnTo>
                      <a:pt x="626400" y="29287"/>
                    </a:lnTo>
                    <a:cubicBezTo>
                      <a:pt x="625591" y="28535"/>
                      <a:pt x="624610" y="27973"/>
                      <a:pt x="623543" y="27668"/>
                    </a:cubicBezTo>
                    <a:cubicBezTo>
                      <a:pt x="623543" y="27668"/>
                      <a:pt x="623543" y="27668"/>
                      <a:pt x="623543" y="27668"/>
                    </a:cubicBezTo>
                    <a:cubicBezTo>
                      <a:pt x="623543" y="27668"/>
                      <a:pt x="623543" y="28144"/>
                      <a:pt x="623543" y="28334"/>
                    </a:cubicBezTo>
                    <a:lnTo>
                      <a:pt x="623543" y="28334"/>
                    </a:lnTo>
                    <a:lnTo>
                      <a:pt x="623543" y="28334"/>
                    </a:lnTo>
                    <a:lnTo>
                      <a:pt x="623543" y="28334"/>
                    </a:lnTo>
                    <a:cubicBezTo>
                      <a:pt x="624590" y="29763"/>
                      <a:pt x="624400" y="29763"/>
                      <a:pt x="623543" y="29763"/>
                    </a:cubicBezTo>
                    <a:lnTo>
                      <a:pt x="622781" y="29763"/>
                    </a:lnTo>
                    <a:lnTo>
                      <a:pt x="622781" y="29763"/>
                    </a:lnTo>
                    <a:cubicBezTo>
                      <a:pt x="624209" y="32240"/>
                      <a:pt x="624209" y="32240"/>
                      <a:pt x="624209" y="32335"/>
                    </a:cubicBezTo>
                    <a:close/>
                    <a:moveTo>
                      <a:pt x="570107" y="40908"/>
                    </a:moveTo>
                    <a:cubicBezTo>
                      <a:pt x="570107" y="40908"/>
                      <a:pt x="569536" y="40908"/>
                      <a:pt x="569346" y="40908"/>
                    </a:cubicBezTo>
                    <a:cubicBezTo>
                      <a:pt x="569155" y="40908"/>
                      <a:pt x="569346" y="41670"/>
                      <a:pt x="568774" y="41860"/>
                    </a:cubicBezTo>
                    <a:lnTo>
                      <a:pt x="568774" y="41860"/>
                    </a:lnTo>
                    <a:cubicBezTo>
                      <a:pt x="567822" y="42622"/>
                      <a:pt x="566488" y="42432"/>
                      <a:pt x="565535" y="43194"/>
                    </a:cubicBezTo>
                    <a:cubicBezTo>
                      <a:pt x="564583" y="43955"/>
                      <a:pt x="564964" y="43194"/>
                      <a:pt x="565535" y="44432"/>
                    </a:cubicBezTo>
                    <a:cubicBezTo>
                      <a:pt x="565726" y="44489"/>
                      <a:pt x="565916" y="44489"/>
                      <a:pt x="566107" y="44432"/>
                    </a:cubicBezTo>
                    <a:cubicBezTo>
                      <a:pt x="566964" y="44432"/>
                      <a:pt x="567631" y="43860"/>
                      <a:pt x="568488" y="43955"/>
                    </a:cubicBezTo>
                    <a:cubicBezTo>
                      <a:pt x="568850" y="43994"/>
                      <a:pt x="569193" y="44165"/>
                      <a:pt x="569441" y="44432"/>
                    </a:cubicBezTo>
                    <a:cubicBezTo>
                      <a:pt x="570489" y="45384"/>
                      <a:pt x="574013" y="44432"/>
                      <a:pt x="574108" y="44432"/>
                    </a:cubicBezTo>
                    <a:cubicBezTo>
                      <a:pt x="574203" y="44432"/>
                      <a:pt x="574108" y="43860"/>
                      <a:pt x="574680" y="43575"/>
                    </a:cubicBezTo>
                    <a:cubicBezTo>
                      <a:pt x="575251" y="43289"/>
                      <a:pt x="575156" y="43575"/>
                      <a:pt x="575918" y="43575"/>
                    </a:cubicBezTo>
                    <a:cubicBezTo>
                      <a:pt x="576965" y="43670"/>
                      <a:pt x="578013" y="43670"/>
                      <a:pt x="579061" y="43575"/>
                    </a:cubicBezTo>
                    <a:cubicBezTo>
                      <a:pt x="579061" y="43575"/>
                      <a:pt x="579061" y="43003"/>
                      <a:pt x="579061" y="42813"/>
                    </a:cubicBezTo>
                    <a:cubicBezTo>
                      <a:pt x="579061" y="42622"/>
                      <a:pt x="579728" y="42813"/>
                      <a:pt x="580109" y="42336"/>
                    </a:cubicBezTo>
                    <a:cubicBezTo>
                      <a:pt x="580861" y="41841"/>
                      <a:pt x="581433" y="41098"/>
                      <a:pt x="581728" y="40241"/>
                    </a:cubicBezTo>
                    <a:cubicBezTo>
                      <a:pt x="581728" y="40241"/>
                      <a:pt x="581728" y="39479"/>
                      <a:pt x="580014" y="38526"/>
                    </a:cubicBezTo>
                    <a:cubicBezTo>
                      <a:pt x="580014" y="38526"/>
                      <a:pt x="575632" y="36907"/>
                      <a:pt x="575060" y="36907"/>
                    </a:cubicBezTo>
                    <a:cubicBezTo>
                      <a:pt x="574489" y="36907"/>
                      <a:pt x="575060" y="37764"/>
                      <a:pt x="575060" y="37764"/>
                    </a:cubicBezTo>
                    <a:cubicBezTo>
                      <a:pt x="575060" y="37764"/>
                      <a:pt x="573822" y="37764"/>
                      <a:pt x="573251" y="37764"/>
                    </a:cubicBezTo>
                    <a:cubicBezTo>
                      <a:pt x="572679" y="37764"/>
                      <a:pt x="571727" y="37764"/>
                      <a:pt x="571250" y="37764"/>
                    </a:cubicBezTo>
                    <a:cubicBezTo>
                      <a:pt x="570774" y="37764"/>
                      <a:pt x="570107" y="36907"/>
                      <a:pt x="569631" y="36907"/>
                    </a:cubicBezTo>
                    <a:cubicBezTo>
                      <a:pt x="569307" y="36983"/>
                      <a:pt x="569012" y="37145"/>
                      <a:pt x="568774" y="37383"/>
                    </a:cubicBezTo>
                    <a:cubicBezTo>
                      <a:pt x="568774" y="37383"/>
                      <a:pt x="568774" y="38717"/>
                      <a:pt x="569726" y="39383"/>
                    </a:cubicBezTo>
                    <a:cubicBezTo>
                      <a:pt x="570679" y="40050"/>
                      <a:pt x="570012" y="40527"/>
                      <a:pt x="569917" y="40908"/>
                    </a:cubicBezTo>
                    <a:close/>
                    <a:moveTo>
                      <a:pt x="453331" y="77103"/>
                    </a:moveTo>
                    <a:cubicBezTo>
                      <a:pt x="453826" y="76817"/>
                      <a:pt x="454226" y="76379"/>
                      <a:pt x="454474" y="75864"/>
                    </a:cubicBezTo>
                    <a:cubicBezTo>
                      <a:pt x="454474" y="75102"/>
                      <a:pt x="453617" y="74817"/>
                      <a:pt x="453617" y="74817"/>
                    </a:cubicBezTo>
                    <a:cubicBezTo>
                      <a:pt x="453369" y="75302"/>
                      <a:pt x="453007" y="75731"/>
                      <a:pt x="452569" y="76055"/>
                    </a:cubicBezTo>
                    <a:lnTo>
                      <a:pt x="451902" y="76912"/>
                    </a:lnTo>
                    <a:cubicBezTo>
                      <a:pt x="452255" y="77179"/>
                      <a:pt x="452721" y="77245"/>
                      <a:pt x="453140" y="77103"/>
                    </a:cubicBezTo>
                    <a:close/>
                    <a:moveTo>
                      <a:pt x="620590" y="30811"/>
                    </a:moveTo>
                    <a:lnTo>
                      <a:pt x="620590" y="30811"/>
                    </a:lnTo>
                    <a:lnTo>
                      <a:pt x="620590" y="30811"/>
                    </a:lnTo>
                    <a:cubicBezTo>
                      <a:pt x="620590" y="30811"/>
                      <a:pt x="620590" y="30811"/>
                      <a:pt x="620590" y="30811"/>
                    </a:cubicBezTo>
                    <a:cubicBezTo>
                      <a:pt x="621162" y="31525"/>
                      <a:pt x="621876" y="32106"/>
                      <a:pt x="622685" y="32525"/>
                    </a:cubicBezTo>
                    <a:cubicBezTo>
                      <a:pt x="622685" y="32525"/>
                      <a:pt x="622685" y="32525"/>
                      <a:pt x="622685" y="32525"/>
                    </a:cubicBezTo>
                    <a:cubicBezTo>
                      <a:pt x="622685" y="32525"/>
                      <a:pt x="622685" y="32049"/>
                      <a:pt x="622114" y="31383"/>
                    </a:cubicBezTo>
                    <a:cubicBezTo>
                      <a:pt x="621542" y="30716"/>
                      <a:pt x="621447" y="30240"/>
                      <a:pt x="621638" y="29858"/>
                    </a:cubicBezTo>
                    <a:cubicBezTo>
                      <a:pt x="621828" y="29478"/>
                      <a:pt x="621638" y="29858"/>
                      <a:pt x="622400" y="29287"/>
                    </a:cubicBezTo>
                    <a:lnTo>
                      <a:pt x="622400" y="29287"/>
                    </a:lnTo>
                    <a:cubicBezTo>
                      <a:pt x="622400" y="29287"/>
                      <a:pt x="622400" y="29287"/>
                      <a:pt x="622400" y="28334"/>
                    </a:cubicBezTo>
                    <a:cubicBezTo>
                      <a:pt x="622400" y="27382"/>
                      <a:pt x="622400" y="28334"/>
                      <a:pt x="622400" y="28334"/>
                    </a:cubicBezTo>
                    <a:lnTo>
                      <a:pt x="622400" y="28334"/>
                    </a:lnTo>
                    <a:cubicBezTo>
                      <a:pt x="621800" y="28277"/>
                      <a:pt x="621190" y="28277"/>
                      <a:pt x="620590" y="28334"/>
                    </a:cubicBezTo>
                    <a:cubicBezTo>
                      <a:pt x="620295" y="28420"/>
                      <a:pt x="620038" y="28592"/>
                      <a:pt x="619828" y="28811"/>
                    </a:cubicBezTo>
                    <a:cubicBezTo>
                      <a:pt x="619828" y="28811"/>
                      <a:pt x="619256" y="30335"/>
                      <a:pt x="620399" y="30811"/>
                    </a:cubicBezTo>
                    <a:close/>
                    <a:moveTo>
                      <a:pt x="1024450" y="778524"/>
                    </a:moveTo>
                    <a:lnTo>
                      <a:pt x="1024450" y="778524"/>
                    </a:lnTo>
                    <a:cubicBezTo>
                      <a:pt x="1024698" y="777781"/>
                      <a:pt x="1024888" y="777009"/>
                      <a:pt x="1025022" y="776238"/>
                    </a:cubicBezTo>
                    <a:cubicBezTo>
                      <a:pt x="1024164" y="776238"/>
                      <a:pt x="1024164" y="777762"/>
                      <a:pt x="1023688" y="778428"/>
                    </a:cubicBezTo>
                    <a:lnTo>
                      <a:pt x="1023688" y="778428"/>
                    </a:lnTo>
                    <a:cubicBezTo>
                      <a:pt x="1023688" y="778428"/>
                      <a:pt x="1023688" y="778428"/>
                      <a:pt x="1023688" y="777571"/>
                    </a:cubicBezTo>
                    <a:lnTo>
                      <a:pt x="1023688" y="777095"/>
                    </a:lnTo>
                    <a:cubicBezTo>
                      <a:pt x="1023688" y="777095"/>
                      <a:pt x="1023688" y="776333"/>
                      <a:pt x="1023688" y="775952"/>
                    </a:cubicBezTo>
                    <a:cubicBezTo>
                      <a:pt x="1024117" y="775095"/>
                      <a:pt x="1024469" y="774209"/>
                      <a:pt x="1024736" y="773285"/>
                    </a:cubicBezTo>
                    <a:lnTo>
                      <a:pt x="1024736" y="769951"/>
                    </a:lnTo>
                    <a:cubicBezTo>
                      <a:pt x="1024288" y="770342"/>
                      <a:pt x="1023907" y="770789"/>
                      <a:pt x="1023593" y="771284"/>
                    </a:cubicBezTo>
                    <a:cubicBezTo>
                      <a:pt x="1022735" y="772523"/>
                      <a:pt x="1022164" y="773952"/>
                      <a:pt x="1021402" y="775285"/>
                    </a:cubicBezTo>
                    <a:cubicBezTo>
                      <a:pt x="1020640" y="776619"/>
                      <a:pt x="1020259" y="776333"/>
                      <a:pt x="1019878" y="776904"/>
                    </a:cubicBezTo>
                    <a:cubicBezTo>
                      <a:pt x="1019802" y="777123"/>
                      <a:pt x="1019802" y="777352"/>
                      <a:pt x="1019878" y="777571"/>
                    </a:cubicBezTo>
                    <a:lnTo>
                      <a:pt x="1019878" y="777571"/>
                    </a:lnTo>
                    <a:lnTo>
                      <a:pt x="1021021" y="777571"/>
                    </a:lnTo>
                    <a:cubicBezTo>
                      <a:pt x="1020449" y="778714"/>
                      <a:pt x="1019402" y="779476"/>
                      <a:pt x="1018925" y="780619"/>
                    </a:cubicBezTo>
                    <a:lnTo>
                      <a:pt x="1018925" y="780619"/>
                    </a:lnTo>
                    <a:lnTo>
                      <a:pt x="1019973" y="779667"/>
                    </a:lnTo>
                    <a:cubicBezTo>
                      <a:pt x="1020449" y="781095"/>
                      <a:pt x="1017687" y="784715"/>
                      <a:pt x="1019973" y="783953"/>
                    </a:cubicBezTo>
                    <a:cubicBezTo>
                      <a:pt x="1019973" y="783953"/>
                      <a:pt x="1019973" y="784905"/>
                      <a:pt x="1019973" y="785191"/>
                    </a:cubicBezTo>
                    <a:cubicBezTo>
                      <a:pt x="1019421" y="786667"/>
                      <a:pt x="1018754" y="788106"/>
                      <a:pt x="1017973" y="789477"/>
                    </a:cubicBezTo>
                    <a:cubicBezTo>
                      <a:pt x="1017973" y="790239"/>
                      <a:pt x="1017973" y="790906"/>
                      <a:pt x="1017973" y="791668"/>
                    </a:cubicBezTo>
                    <a:cubicBezTo>
                      <a:pt x="1017973" y="792430"/>
                      <a:pt x="1016544" y="793954"/>
                      <a:pt x="1016068" y="795288"/>
                    </a:cubicBezTo>
                    <a:lnTo>
                      <a:pt x="1017687" y="793002"/>
                    </a:lnTo>
                    <a:lnTo>
                      <a:pt x="1017687" y="793002"/>
                    </a:lnTo>
                    <a:cubicBezTo>
                      <a:pt x="1017687" y="793002"/>
                      <a:pt x="1019306" y="790239"/>
                      <a:pt x="1019497" y="789763"/>
                    </a:cubicBezTo>
                    <a:cubicBezTo>
                      <a:pt x="1019688" y="789287"/>
                      <a:pt x="1018545" y="791668"/>
                      <a:pt x="1017782" y="792525"/>
                    </a:cubicBezTo>
                    <a:lnTo>
                      <a:pt x="1021021" y="786334"/>
                    </a:lnTo>
                    <a:cubicBezTo>
                      <a:pt x="1020449" y="787191"/>
                      <a:pt x="1020068" y="788144"/>
                      <a:pt x="1019497" y="788906"/>
                    </a:cubicBezTo>
                    <a:cubicBezTo>
                      <a:pt x="1020269" y="787210"/>
                      <a:pt x="1021126" y="785563"/>
                      <a:pt x="1022069" y="783953"/>
                    </a:cubicBezTo>
                    <a:cubicBezTo>
                      <a:pt x="1022983" y="782219"/>
                      <a:pt x="1023717" y="780400"/>
                      <a:pt x="1024259" y="778524"/>
                    </a:cubicBezTo>
                    <a:close/>
                    <a:moveTo>
                      <a:pt x="1042262" y="728517"/>
                    </a:moveTo>
                    <a:lnTo>
                      <a:pt x="1042262" y="728517"/>
                    </a:lnTo>
                    <a:cubicBezTo>
                      <a:pt x="1042262" y="729089"/>
                      <a:pt x="1041690" y="729851"/>
                      <a:pt x="1041309" y="730422"/>
                    </a:cubicBezTo>
                    <a:cubicBezTo>
                      <a:pt x="1040928" y="730994"/>
                      <a:pt x="1040547" y="730994"/>
                      <a:pt x="1040262" y="731470"/>
                    </a:cubicBezTo>
                    <a:cubicBezTo>
                      <a:pt x="1039928" y="732175"/>
                      <a:pt x="1039681" y="732908"/>
                      <a:pt x="1039499" y="733661"/>
                    </a:cubicBezTo>
                    <a:lnTo>
                      <a:pt x="1039499" y="733661"/>
                    </a:lnTo>
                    <a:lnTo>
                      <a:pt x="1039499" y="733661"/>
                    </a:lnTo>
                    <a:cubicBezTo>
                      <a:pt x="1039204" y="734889"/>
                      <a:pt x="1038823" y="736099"/>
                      <a:pt x="1038356" y="737280"/>
                    </a:cubicBezTo>
                    <a:cubicBezTo>
                      <a:pt x="1037595" y="740043"/>
                      <a:pt x="1037785" y="740424"/>
                      <a:pt x="1037785" y="740424"/>
                    </a:cubicBezTo>
                    <a:cubicBezTo>
                      <a:pt x="1038156" y="739852"/>
                      <a:pt x="1038480" y="739242"/>
                      <a:pt x="1038738" y="738614"/>
                    </a:cubicBezTo>
                    <a:lnTo>
                      <a:pt x="1038738" y="737757"/>
                    </a:lnTo>
                    <a:cubicBezTo>
                      <a:pt x="1038738" y="736709"/>
                      <a:pt x="1039309" y="735566"/>
                      <a:pt x="1039690" y="734518"/>
                    </a:cubicBezTo>
                    <a:cubicBezTo>
                      <a:pt x="1040071" y="733470"/>
                      <a:pt x="1040833" y="731756"/>
                      <a:pt x="1041309" y="730232"/>
                    </a:cubicBezTo>
                    <a:cubicBezTo>
                      <a:pt x="1041585" y="729670"/>
                      <a:pt x="1041843" y="729098"/>
                      <a:pt x="1042071" y="728517"/>
                    </a:cubicBezTo>
                    <a:close/>
                    <a:moveTo>
                      <a:pt x="1037404" y="699180"/>
                    </a:moveTo>
                    <a:cubicBezTo>
                      <a:pt x="1037975" y="697656"/>
                      <a:pt x="1038452" y="694132"/>
                      <a:pt x="1037975" y="693846"/>
                    </a:cubicBezTo>
                    <a:cubicBezTo>
                      <a:pt x="1037556" y="694732"/>
                      <a:pt x="1037242" y="695656"/>
                      <a:pt x="1037023" y="696609"/>
                    </a:cubicBezTo>
                    <a:cubicBezTo>
                      <a:pt x="1037023" y="696609"/>
                      <a:pt x="1037023" y="699276"/>
                      <a:pt x="1037023" y="699371"/>
                    </a:cubicBezTo>
                    <a:lnTo>
                      <a:pt x="1037023" y="699371"/>
                    </a:lnTo>
                    <a:cubicBezTo>
                      <a:pt x="1037023" y="699371"/>
                      <a:pt x="1037118" y="699180"/>
                      <a:pt x="1037214" y="699180"/>
                    </a:cubicBezTo>
                    <a:close/>
                    <a:moveTo>
                      <a:pt x="1036261" y="711468"/>
                    </a:moveTo>
                    <a:lnTo>
                      <a:pt x="1036261" y="711468"/>
                    </a:lnTo>
                    <a:cubicBezTo>
                      <a:pt x="1036261" y="711468"/>
                      <a:pt x="1037023" y="710325"/>
                      <a:pt x="1037118" y="709944"/>
                    </a:cubicBezTo>
                    <a:cubicBezTo>
                      <a:pt x="1037232" y="709315"/>
                      <a:pt x="1037232" y="708667"/>
                      <a:pt x="1037118" y="708038"/>
                    </a:cubicBezTo>
                    <a:lnTo>
                      <a:pt x="1037118" y="708038"/>
                    </a:lnTo>
                    <a:cubicBezTo>
                      <a:pt x="1037118" y="707562"/>
                      <a:pt x="1037118" y="707086"/>
                      <a:pt x="1037118" y="706610"/>
                    </a:cubicBezTo>
                    <a:cubicBezTo>
                      <a:pt x="1037061" y="706457"/>
                      <a:pt x="1037061" y="706286"/>
                      <a:pt x="1037118" y="706134"/>
                    </a:cubicBezTo>
                    <a:cubicBezTo>
                      <a:pt x="1037194" y="705629"/>
                      <a:pt x="1037194" y="705114"/>
                      <a:pt x="1037118" y="704609"/>
                    </a:cubicBezTo>
                    <a:cubicBezTo>
                      <a:pt x="1036766" y="705438"/>
                      <a:pt x="1036471" y="706305"/>
                      <a:pt x="1036261" y="707181"/>
                    </a:cubicBezTo>
                    <a:lnTo>
                      <a:pt x="1036261" y="707181"/>
                    </a:lnTo>
                    <a:cubicBezTo>
                      <a:pt x="1036318" y="708038"/>
                      <a:pt x="1036318" y="708896"/>
                      <a:pt x="1036261" y="709753"/>
                    </a:cubicBezTo>
                    <a:close/>
                    <a:moveTo>
                      <a:pt x="1031022" y="733756"/>
                    </a:moveTo>
                    <a:cubicBezTo>
                      <a:pt x="1030355" y="735156"/>
                      <a:pt x="1029851" y="736623"/>
                      <a:pt x="1029498" y="738138"/>
                    </a:cubicBezTo>
                    <a:cubicBezTo>
                      <a:pt x="1029498" y="738138"/>
                      <a:pt x="1030070" y="737661"/>
                      <a:pt x="1030355" y="737090"/>
                    </a:cubicBezTo>
                    <a:cubicBezTo>
                      <a:pt x="1030660" y="736004"/>
                      <a:pt x="1030813" y="734880"/>
                      <a:pt x="1030832" y="733756"/>
                    </a:cubicBezTo>
                    <a:close/>
                    <a:moveTo>
                      <a:pt x="1038261" y="737376"/>
                    </a:moveTo>
                    <a:lnTo>
                      <a:pt x="1038261" y="737376"/>
                    </a:lnTo>
                    <a:cubicBezTo>
                      <a:pt x="1041814" y="726822"/>
                      <a:pt x="1044300" y="715944"/>
                      <a:pt x="1045691" y="704895"/>
                    </a:cubicBezTo>
                    <a:lnTo>
                      <a:pt x="1045691" y="704895"/>
                    </a:lnTo>
                    <a:cubicBezTo>
                      <a:pt x="1047024" y="699466"/>
                      <a:pt x="1047024" y="699466"/>
                      <a:pt x="1046929" y="699180"/>
                    </a:cubicBezTo>
                    <a:lnTo>
                      <a:pt x="1046453" y="699180"/>
                    </a:lnTo>
                    <a:cubicBezTo>
                      <a:pt x="1046234" y="698142"/>
                      <a:pt x="1046234" y="697075"/>
                      <a:pt x="1046453" y="696037"/>
                    </a:cubicBezTo>
                    <a:cubicBezTo>
                      <a:pt x="1047338" y="687817"/>
                      <a:pt x="1047720" y="679540"/>
                      <a:pt x="1047596" y="671272"/>
                    </a:cubicBezTo>
                    <a:lnTo>
                      <a:pt x="1046167" y="671272"/>
                    </a:lnTo>
                    <a:lnTo>
                      <a:pt x="1045596" y="671272"/>
                    </a:lnTo>
                    <a:cubicBezTo>
                      <a:pt x="1044995" y="670462"/>
                      <a:pt x="1044595" y="669510"/>
                      <a:pt x="1044453" y="668510"/>
                    </a:cubicBezTo>
                    <a:cubicBezTo>
                      <a:pt x="1043481" y="669938"/>
                      <a:pt x="1042833" y="671567"/>
                      <a:pt x="1042547" y="673272"/>
                    </a:cubicBezTo>
                    <a:lnTo>
                      <a:pt x="1041309" y="701180"/>
                    </a:lnTo>
                    <a:lnTo>
                      <a:pt x="1037880" y="719373"/>
                    </a:lnTo>
                    <a:lnTo>
                      <a:pt x="1037880" y="720516"/>
                    </a:lnTo>
                    <a:cubicBezTo>
                      <a:pt x="1033013" y="735756"/>
                      <a:pt x="1028946" y="751244"/>
                      <a:pt x="1025688" y="766903"/>
                    </a:cubicBezTo>
                    <a:cubicBezTo>
                      <a:pt x="1025117" y="768237"/>
                      <a:pt x="1025117" y="768237"/>
                      <a:pt x="1025117" y="768522"/>
                    </a:cubicBezTo>
                    <a:cubicBezTo>
                      <a:pt x="1025117" y="768808"/>
                      <a:pt x="1026641" y="768522"/>
                      <a:pt x="1037975" y="742614"/>
                    </a:cubicBezTo>
                    <a:lnTo>
                      <a:pt x="1037975" y="742614"/>
                    </a:lnTo>
                    <a:cubicBezTo>
                      <a:pt x="1038414" y="740900"/>
                      <a:pt x="1038538" y="739128"/>
                      <a:pt x="1038356" y="737376"/>
                    </a:cubicBezTo>
                    <a:close/>
                    <a:moveTo>
                      <a:pt x="1032165" y="725946"/>
                    </a:moveTo>
                    <a:lnTo>
                      <a:pt x="1032165" y="725946"/>
                    </a:lnTo>
                    <a:lnTo>
                      <a:pt x="1032165" y="725946"/>
                    </a:lnTo>
                    <a:lnTo>
                      <a:pt x="1032165" y="725946"/>
                    </a:lnTo>
                    <a:lnTo>
                      <a:pt x="1032165" y="725946"/>
                    </a:lnTo>
                    <a:cubicBezTo>
                      <a:pt x="1032222" y="726422"/>
                      <a:pt x="1032222" y="726898"/>
                      <a:pt x="1032165" y="727374"/>
                    </a:cubicBezTo>
                    <a:cubicBezTo>
                      <a:pt x="1032165" y="727946"/>
                      <a:pt x="1032165" y="728041"/>
                      <a:pt x="1032165" y="728041"/>
                    </a:cubicBezTo>
                    <a:lnTo>
                      <a:pt x="1033213" y="725946"/>
                    </a:lnTo>
                    <a:lnTo>
                      <a:pt x="1033213" y="725946"/>
                    </a:lnTo>
                    <a:cubicBezTo>
                      <a:pt x="1033565" y="725022"/>
                      <a:pt x="1033822" y="724069"/>
                      <a:pt x="1033975" y="723088"/>
                    </a:cubicBezTo>
                    <a:cubicBezTo>
                      <a:pt x="1033089" y="723755"/>
                      <a:pt x="1032403" y="724641"/>
                      <a:pt x="1031975" y="725660"/>
                    </a:cubicBezTo>
                    <a:close/>
                    <a:moveTo>
                      <a:pt x="1067598" y="671844"/>
                    </a:moveTo>
                    <a:cubicBezTo>
                      <a:pt x="1068837" y="667367"/>
                      <a:pt x="1070170" y="662319"/>
                      <a:pt x="1071408" y="657651"/>
                    </a:cubicBezTo>
                    <a:cubicBezTo>
                      <a:pt x="1070075" y="662414"/>
                      <a:pt x="1068741" y="667081"/>
                      <a:pt x="1067408" y="671844"/>
                    </a:cubicBezTo>
                    <a:close/>
                    <a:moveTo>
                      <a:pt x="1083981" y="530778"/>
                    </a:moveTo>
                    <a:cubicBezTo>
                      <a:pt x="1083981" y="530778"/>
                      <a:pt x="1082648" y="532398"/>
                      <a:pt x="1082457" y="538970"/>
                    </a:cubicBezTo>
                    <a:cubicBezTo>
                      <a:pt x="1082457" y="540399"/>
                      <a:pt x="1082457" y="547066"/>
                      <a:pt x="1082457" y="547447"/>
                    </a:cubicBezTo>
                    <a:cubicBezTo>
                      <a:pt x="1082600" y="548257"/>
                      <a:pt x="1082886" y="549028"/>
                      <a:pt x="1083315" y="549733"/>
                    </a:cubicBezTo>
                    <a:cubicBezTo>
                      <a:pt x="1083829" y="545914"/>
                      <a:pt x="1084143" y="542065"/>
                      <a:pt x="1084267" y="538208"/>
                    </a:cubicBezTo>
                    <a:lnTo>
                      <a:pt x="1084267" y="538208"/>
                    </a:lnTo>
                    <a:cubicBezTo>
                      <a:pt x="1084600" y="535722"/>
                      <a:pt x="1084439" y="533198"/>
                      <a:pt x="1083791" y="530778"/>
                    </a:cubicBezTo>
                    <a:close/>
                    <a:moveTo>
                      <a:pt x="1055406" y="705753"/>
                    </a:moveTo>
                    <a:lnTo>
                      <a:pt x="1054930" y="705753"/>
                    </a:lnTo>
                    <a:cubicBezTo>
                      <a:pt x="1054930" y="705753"/>
                      <a:pt x="1040642" y="743853"/>
                      <a:pt x="1040738" y="744519"/>
                    </a:cubicBezTo>
                    <a:cubicBezTo>
                      <a:pt x="1041214" y="743853"/>
                      <a:pt x="1041595" y="743091"/>
                      <a:pt x="1042071" y="742519"/>
                    </a:cubicBezTo>
                    <a:cubicBezTo>
                      <a:pt x="1041481" y="743776"/>
                      <a:pt x="1041005" y="745081"/>
                      <a:pt x="1040642" y="746424"/>
                    </a:cubicBezTo>
                    <a:cubicBezTo>
                      <a:pt x="1041005" y="746015"/>
                      <a:pt x="1041328" y="745567"/>
                      <a:pt x="1041595" y="745091"/>
                    </a:cubicBezTo>
                    <a:cubicBezTo>
                      <a:pt x="1040357" y="748139"/>
                      <a:pt x="1039118" y="751282"/>
                      <a:pt x="1037690" y="754616"/>
                    </a:cubicBezTo>
                    <a:lnTo>
                      <a:pt x="1037690" y="754616"/>
                    </a:lnTo>
                    <a:cubicBezTo>
                      <a:pt x="1038642" y="752901"/>
                      <a:pt x="1040547" y="748425"/>
                      <a:pt x="1041690" y="745853"/>
                    </a:cubicBezTo>
                    <a:cubicBezTo>
                      <a:pt x="1048424" y="730546"/>
                      <a:pt x="1054482" y="714868"/>
                      <a:pt x="1059883" y="698799"/>
                    </a:cubicBezTo>
                    <a:cubicBezTo>
                      <a:pt x="1062740" y="690227"/>
                      <a:pt x="1065312" y="681559"/>
                      <a:pt x="1067693" y="672891"/>
                    </a:cubicBezTo>
                    <a:cubicBezTo>
                      <a:pt x="1064674" y="684817"/>
                      <a:pt x="1060426" y="696409"/>
                      <a:pt x="1055025" y="707467"/>
                    </a:cubicBezTo>
                    <a:close/>
                    <a:moveTo>
                      <a:pt x="1040166" y="738614"/>
                    </a:moveTo>
                    <a:cubicBezTo>
                      <a:pt x="1039576" y="739671"/>
                      <a:pt x="1039099" y="740785"/>
                      <a:pt x="1038738" y="741948"/>
                    </a:cubicBezTo>
                    <a:lnTo>
                      <a:pt x="1038738" y="741948"/>
                    </a:lnTo>
                    <a:cubicBezTo>
                      <a:pt x="1038738" y="741948"/>
                      <a:pt x="1038738" y="741948"/>
                      <a:pt x="1038738" y="741948"/>
                    </a:cubicBezTo>
                    <a:cubicBezTo>
                      <a:pt x="1038738" y="741948"/>
                      <a:pt x="1038738" y="741948"/>
                      <a:pt x="1038738" y="741948"/>
                    </a:cubicBezTo>
                    <a:cubicBezTo>
                      <a:pt x="1039223" y="741367"/>
                      <a:pt x="1039585" y="740681"/>
                      <a:pt x="1039785" y="739947"/>
                    </a:cubicBezTo>
                    <a:cubicBezTo>
                      <a:pt x="1040642" y="737852"/>
                      <a:pt x="1040547" y="737852"/>
                      <a:pt x="1040452" y="737852"/>
                    </a:cubicBezTo>
                    <a:cubicBezTo>
                      <a:pt x="1040357" y="737852"/>
                      <a:pt x="1040262" y="737852"/>
                      <a:pt x="1039595" y="738614"/>
                    </a:cubicBezTo>
                    <a:close/>
                    <a:moveTo>
                      <a:pt x="426375" y="1049510"/>
                    </a:moveTo>
                    <a:lnTo>
                      <a:pt x="426947" y="1049510"/>
                    </a:lnTo>
                    <a:lnTo>
                      <a:pt x="428852" y="1049986"/>
                    </a:lnTo>
                    <a:lnTo>
                      <a:pt x="428852" y="1049986"/>
                    </a:lnTo>
                    <a:cubicBezTo>
                      <a:pt x="428537" y="1049757"/>
                      <a:pt x="428185" y="1049586"/>
                      <a:pt x="427804" y="1049510"/>
                    </a:cubicBezTo>
                    <a:cubicBezTo>
                      <a:pt x="427328" y="1049443"/>
                      <a:pt x="426851" y="1049443"/>
                      <a:pt x="426375" y="1049510"/>
                    </a:cubicBezTo>
                    <a:close/>
                    <a:moveTo>
                      <a:pt x="804613" y="812909"/>
                    </a:moveTo>
                    <a:cubicBezTo>
                      <a:pt x="803756" y="816052"/>
                      <a:pt x="800136" y="815671"/>
                      <a:pt x="798422" y="817767"/>
                    </a:cubicBezTo>
                    <a:cubicBezTo>
                      <a:pt x="797946" y="818338"/>
                      <a:pt x="796326" y="821196"/>
                      <a:pt x="794802" y="823958"/>
                    </a:cubicBezTo>
                    <a:lnTo>
                      <a:pt x="793469" y="823101"/>
                    </a:lnTo>
                    <a:cubicBezTo>
                      <a:pt x="789564" y="828149"/>
                      <a:pt x="789564" y="828149"/>
                      <a:pt x="789373" y="828149"/>
                    </a:cubicBezTo>
                    <a:cubicBezTo>
                      <a:pt x="787211" y="829711"/>
                      <a:pt x="784877" y="831016"/>
                      <a:pt x="782420" y="832054"/>
                    </a:cubicBezTo>
                    <a:cubicBezTo>
                      <a:pt x="779657" y="832626"/>
                      <a:pt x="776609" y="832054"/>
                      <a:pt x="773942" y="833197"/>
                    </a:cubicBezTo>
                    <a:lnTo>
                      <a:pt x="766989" y="841579"/>
                    </a:lnTo>
                    <a:lnTo>
                      <a:pt x="766322" y="842532"/>
                    </a:lnTo>
                    <a:cubicBezTo>
                      <a:pt x="764922" y="845303"/>
                      <a:pt x="764017" y="848304"/>
                      <a:pt x="763655" y="851390"/>
                    </a:cubicBezTo>
                    <a:cubicBezTo>
                      <a:pt x="762627" y="855076"/>
                      <a:pt x="761322" y="858667"/>
                      <a:pt x="759750" y="862153"/>
                    </a:cubicBezTo>
                    <a:cubicBezTo>
                      <a:pt x="757559" y="867392"/>
                      <a:pt x="750797" y="867773"/>
                      <a:pt x="748415" y="872821"/>
                    </a:cubicBezTo>
                    <a:cubicBezTo>
                      <a:pt x="745720" y="879488"/>
                      <a:pt x="743834" y="886461"/>
                      <a:pt x="742796" y="893586"/>
                    </a:cubicBezTo>
                    <a:cubicBezTo>
                      <a:pt x="742796" y="897777"/>
                      <a:pt x="755559" y="893586"/>
                      <a:pt x="755655" y="893586"/>
                    </a:cubicBezTo>
                    <a:cubicBezTo>
                      <a:pt x="762322" y="889204"/>
                      <a:pt x="765180" y="881489"/>
                      <a:pt x="769751" y="875679"/>
                    </a:cubicBezTo>
                    <a:cubicBezTo>
                      <a:pt x="773276" y="871583"/>
                      <a:pt x="777848" y="868440"/>
                      <a:pt x="781372" y="864249"/>
                    </a:cubicBezTo>
                    <a:lnTo>
                      <a:pt x="793659" y="847294"/>
                    </a:lnTo>
                    <a:cubicBezTo>
                      <a:pt x="795374" y="844532"/>
                      <a:pt x="794993" y="840912"/>
                      <a:pt x="797374" y="838436"/>
                    </a:cubicBezTo>
                    <a:cubicBezTo>
                      <a:pt x="799755" y="835959"/>
                      <a:pt x="803470" y="836436"/>
                      <a:pt x="805756" y="833959"/>
                    </a:cubicBezTo>
                    <a:cubicBezTo>
                      <a:pt x="810023" y="825320"/>
                      <a:pt x="811519" y="815576"/>
                      <a:pt x="810042" y="806051"/>
                    </a:cubicBezTo>
                    <a:cubicBezTo>
                      <a:pt x="807575" y="807603"/>
                      <a:pt x="805670" y="809908"/>
                      <a:pt x="804613" y="812623"/>
                    </a:cubicBezTo>
                    <a:close/>
                    <a:moveTo>
                      <a:pt x="806899" y="871869"/>
                    </a:moveTo>
                    <a:lnTo>
                      <a:pt x="805947" y="871869"/>
                    </a:lnTo>
                    <a:cubicBezTo>
                      <a:pt x="805585" y="872069"/>
                      <a:pt x="805270" y="872326"/>
                      <a:pt x="804994" y="872630"/>
                    </a:cubicBezTo>
                    <a:lnTo>
                      <a:pt x="804518" y="873488"/>
                    </a:lnTo>
                    <a:lnTo>
                      <a:pt x="803660" y="874631"/>
                    </a:lnTo>
                    <a:cubicBezTo>
                      <a:pt x="803584" y="874878"/>
                      <a:pt x="803584" y="875145"/>
                      <a:pt x="803660" y="875393"/>
                    </a:cubicBezTo>
                    <a:cubicBezTo>
                      <a:pt x="803660" y="875393"/>
                      <a:pt x="803660" y="876250"/>
                      <a:pt x="804518" y="876059"/>
                    </a:cubicBezTo>
                    <a:lnTo>
                      <a:pt x="804518" y="876059"/>
                    </a:lnTo>
                    <a:lnTo>
                      <a:pt x="805661" y="875298"/>
                    </a:lnTo>
                    <a:lnTo>
                      <a:pt x="806613" y="875298"/>
                    </a:lnTo>
                    <a:cubicBezTo>
                      <a:pt x="806613" y="875298"/>
                      <a:pt x="806613" y="875298"/>
                      <a:pt x="806613" y="875298"/>
                    </a:cubicBezTo>
                    <a:cubicBezTo>
                      <a:pt x="806680" y="874983"/>
                      <a:pt x="806680" y="874659"/>
                      <a:pt x="806613" y="874345"/>
                    </a:cubicBezTo>
                    <a:cubicBezTo>
                      <a:pt x="806670" y="874097"/>
                      <a:pt x="806670" y="873831"/>
                      <a:pt x="806613" y="873583"/>
                    </a:cubicBezTo>
                    <a:cubicBezTo>
                      <a:pt x="807166" y="873069"/>
                      <a:pt x="807280" y="872231"/>
                      <a:pt x="806899" y="871583"/>
                    </a:cubicBezTo>
                    <a:close/>
                    <a:moveTo>
                      <a:pt x="430376" y="1050939"/>
                    </a:moveTo>
                    <a:lnTo>
                      <a:pt x="429899" y="1050939"/>
                    </a:lnTo>
                    <a:cubicBezTo>
                      <a:pt x="429899" y="1050939"/>
                      <a:pt x="429899" y="1050939"/>
                      <a:pt x="429899" y="1050939"/>
                    </a:cubicBezTo>
                    <a:lnTo>
                      <a:pt x="429899" y="1050939"/>
                    </a:lnTo>
                    <a:cubicBezTo>
                      <a:pt x="430880" y="1051329"/>
                      <a:pt x="431909" y="1051615"/>
                      <a:pt x="432947" y="1051796"/>
                    </a:cubicBezTo>
                    <a:lnTo>
                      <a:pt x="432947" y="1051796"/>
                    </a:lnTo>
                    <a:lnTo>
                      <a:pt x="430471" y="1050843"/>
                    </a:lnTo>
                    <a:close/>
                    <a:moveTo>
                      <a:pt x="427804" y="1050272"/>
                    </a:moveTo>
                    <a:lnTo>
                      <a:pt x="427804" y="1050272"/>
                    </a:lnTo>
                    <a:lnTo>
                      <a:pt x="426471" y="1050272"/>
                    </a:lnTo>
                    <a:lnTo>
                      <a:pt x="426471" y="1050272"/>
                    </a:lnTo>
                    <a:cubicBezTo>
                      <a:pt x="426471" y="1050272"/>
                      <a:pt x="427042" y="1050272"/>
                      <a:pt x="427232" y="1050748"/>
                    </a:cubicBezTo>
                    <a:lnTo>
                      <a:pt x="427232" y="1050748"/>
                    </a:lnTo>
                    <a:cubicBezTo>
                      <a:pt x="428395" y="1051386"/>
                      <a:pt x="429642" y="1051834"/>
                      <a:pt x="430947" y="1052082"/>
                    </a:cubicBezTo>
                    <a:lnTo>
                      <a:pt x="429614" y="1051415"/>
                    </a:lnTo>
                    <a:close/>
                    <a:moveTo>
                      <a:pt x="819948" y="867297"/>
                    </a:moveTo>
                    <a:lnTo>
                      <a:pt x="816996" y="867297"/>
                    </a:lnTo>
                    <a:lnTo>
                      <a:pt x="815757" y="867773"/>
                    </a:lnTo>
                    <a:cubicBezTo>
                      <a:pt x="814900" y="869678"/>
                      <a:pt x="814900" y="870345"/>
                      <a:pt x="814995" y="870630"/>
                    </a:cubicBezTo>
                    <a:cubicBezTo>
                      <a:pt x="815090" y="870916"/>
                      <a:pt x="814995" y="870630"/>
                      <a:pt x="814995" y="870630"/>
                    </a:cubicBezTo>
                    <a:lnTo>
                      <a:pt x="814995" y="870630"/>
                    </a:lnTo>
                    <a:lnTo>
                      <a:pt x="816233" y="869963"/>
                    </a:lnTo>
                    <a:lnTo>
                      <a:pt x="817948" y="869392"/>
                    </a:lnTo>
                    <a:lnTo>
                      <a:pt x="818805" y="869392"/>
                    </a:lnTo>
                    <a:cubicBezTo>
                      <a:pt x="818805" y="869392"/>
                      <a:pt x="818805" y="869392"/>
                      <a:pt x="819758" y="867963"/>
                    </a:cubicBezTo>
                    <a:lnTo>
                      <a:pt x="819758" y="867963"/>
                    </a:lnTo>
                    <a:cubicBezTo>
                      <a:pt x="820424" y="867297"/>
                      <a:pt x="820520" y="867011"/>
                      <a:pt x="819948" y="867011"/>
                    </a:cubicBezTo>
                    <a:close/>
                    <a:moveTo>
                      <a:pt x="1018449" y="791097"/>
                    </a:moveTo>
                    <a:cubicBezTo>
                      <a:pt x="1018449" y="791097"/>
                      <a:pt x="1016735" y="794240"/>
                      <a:pt x="1016544" y="794526"/>
                    </a:cubicBezTo>
                    <a:cubicBezTo>
                      <a:pt x="1016573" y="794335"/>
                      <a:pt x="1016573" y="794145"/>
                      <a:pt x="1016544" y="793954"/>
                    </a:cubicBezTo>
                    <a:lnTo>
                      <a:pt x="1016544" y="793954"/>
                    </a:lnTo>
                    <a:cubicBezTo>
                      <a:pt x="1016087" y="794840"/>
                      <a:pt x="1015582" y="795697"/>
                      <a:pt x="1015020" y="796526"/>
                    </a:cubicBezTo>
                    <a:lnTo>
                      <a:pt x="1015020" y="796526"/>
                    </a:lnTo>
                    <a:lnTo>
                      <a:pt x="1017306" y="792525"/>
                    </a:lnTo>
                    <a:lnTo>
                      <a:pt x="1017306" y="792525"/>
                    </a:lnTo>
                    <a:cubicBezTo>
                      <a:pt x="1017306" y="792525"/>
                      <a:pt x="1017306" y="791859"/>
                      <a:pt x="1017306" y="791573"/>
                    </a:cubicBezTo>
                    <a:lnTo>
                      <a:pt x="1017306" y="791573"/>
                    </a:lnTo>
                    <a:lnTo>
                      <a:pt x="1016735" y="792525"/>
                    </a:lnTo>
                    <a:cubicBezTo>
                      <a:pt x="1017506" y="792154"/>
                      <a:pt x="1018116" y="791506"/>
                      <a:pt x="1018449" y="790716"/>
                    </a:cubicBezTo>
                    <a:close/>
                    <a:moveTo>
                      <a:pt x="1005590" y="636220"/>
                    </a:moveTo>
                    <a:cubicBezTo>
                      <a:pt x="1005590" y="636220"/>
                      <a:pt x="1005590" y="636220"/>
                      <a:pt x="1004829" y="639649"/>
                    </a:cubicBezTo>
                    <a:cubicBezTo>
                      <a:pt x="1004829" y="640792"/>
                      <a:pt x="1003495" y="641363"/>
                      <a:pt x="1003209" y="642507"/>
                    </a:cubicBezTo>
                    <a:cubicBezTo>
                      <a:pt x="1002923" y="643650"/>
                      <a:pt x="1003685" y="643650"/>
                      <a:pt x="1003876" y="644316"/>
                    </a:cubicBezTo>
                    <a:cubicBezTo>
                      <a:pt x="1003647" y="645555"/>
                      <a:pt x="1003295" y="646764"/>
                      <a:pt x="1002828" y="647936"/>
                    </a:cubicBezTo>
                    <a:cubicBezTo>
                      <a:pt x="1002266" y="649241"/>
                      <a:pt x="1001885" y="650622"/>
                      <a:pt x="1001685" y="652032"/>
                    </a:cubicBezTo>
                    <a:cubicBezTo>
                      <a:pt x="1001685" y="652032"/>
                      <a:pt x="999209" y="666509"/>
                      <a:pt x="999495" y="667176"/>
                    </a:cubicBezTo>
                    <a:cubicBezTo>
                      <a:pt x="1000447" y="669558"/>
                      <a:pt x="1004924" y="670605"/>
                      <a:pt x="1007876" y="659366"/>
                    </a:cubicBezTo>
                    <a:cubicBezTo>
                      <a:pt x="1009115" y="654603"/>
                      <a:pt x="1009781" y="638411"/>
                      <a:pt x="1005590" y="635839"/>
                    </a:cubicBezTo>
                    <a:close/>
                    <a:moveTo>
                      <a:pt x="1025783" y="777000"/>
                    </a:moveTo>
                    <a:cubicBezTo>
                      <a:pt x="1025783" y="777000"/>
                      <a:pt x="1025307" y="777571"/>
                      <a:pt x="1025117" y="777762"/>
                    </a:cubicBezTo>
                    <a:cubicBezTo>
                      <a:pt x="1024164" y="779571"/>
                      <a:pt x="1023879" y="780238"/>
                      <a:pt x="1023879" y="780238"/>
                    </a:cubicBezTo>
                    <a:cubicBezTo>
                      <a:pt x="1024564" y="779343"/>
                      <a:pt x="1025174" y="778381"/>
                      <a:pt x="1025688" y="777380"/>
                    </a:cubicBezTo>
                    <a:lnTo>
                      <a:pt x="1025688" y="777380"/>
                    </a:lnTo>
                    <a:lnTo>
                      <a:pt x="1025688" y="777380"/>
                    </a:lnTo>
                    <a:lnTo>
                      <a:pt x="1025688" y="777380"/>
                    </a:lnTo>
                    <a:close/>
                    <a:moveTo>
                      <a:pt x="710315" y="29001"/>
                    </a:moveTo>
                    <a:lnTo>
                      <a:pt x="710315" y="29001"/>
                    </a:lnTo>
                    <a:cubicBezTo>
                      <a:pt x="710315" y="29001"/>
                      <a:pt x="710315" y="29001"/>
                      <a:pt x="710315" y="29001"/>
                    </a:cubicBezTo>
                    <a:lnTo>
                      <a:pt x="710315" y="29001"/>
                    </a:lnTo>
                    <a:lnTo>
                      <a:pt x="710315" y="29001"/>
                    </a:lnTo>
                    <a:lnTo>
                      <a:pt x="710315" y="29001"/>
                    </a:lnTo>
                    <a:lnTo>
                      <a:pt x="708887" y="28430"/>
                    </a:lnTo>
                    <a:cubicBezTo>
                      <a:pt x="708887" y="28430"/>
                      <a:pt x="708887" y="29192"/>
                      <a:pt x="708887" y="29192"/>
                    </a:cubicBezTo>
                    <a:lnTo>
                      <a:pt x="708887" y="29192"/>
                    </a:lnTo>
                    <a:lnTo>
                      <a:pt x="708887" y="29192"/>
                    </a:lnTo>
                    <a:cubicBezTo>
                      <a:pt x="708887" y="29192"/>
                      <a:pt x="710125" y="28620"/>
                      <a:pt x="710315" y="28620"/>
                    </a:cubicBezTo>
                    <a:close/>
                    <a:moveTo>
                      <a:pt x="722222" y="61672"/>
                    </a:moveTo>
                    <a:cubicBezTo>
                      <a:pt x="722841" y="61853"/>
                      <a:pt x="723508" y="61853"/>
                      <a:pt x="724127" y="61672"/>
                    </a:cubicBezTo>
                    <a:cubicBezTo>
                      <a:pt x="724127" y="61672"/>
                      <a:pt x="724127" y="61672"/>
                      <a:pt x="724127" y="61672"/>
                    </a:cubicBezTo>
                    <a:cubicBezTo>
                      <a:pt x="724127" y="61672"/>
                      <a:pt x="724127" y="61672"/>
                      <a:pt x="724127" y="61672"/>
                    </a:cubicBezTo>
                    <a:lnTo>
                      <a:pt x="724127" y="61672"/>
                    </a:lnTo>
                    <a:cubicBezTo>
                      <a:pt x="724127" y="61672"/>
                      <a:pt x="722698" y="60815"/>
                      <a:pt x="722317" y="60720"/>
                    </a:cubicBezTo>
                    <a:cubicBezTo>
                      <a:pt x="721936" y="60624"/>
                      <a:pt x="722317" y="60720"/>
                      <a:pt x="722317" y="60720"/>
                    </a:cubicBezTo>
                    <a:lnTo>
                      <a:pt x="722317" y="60720"/>
                    </a:lnTo>
                    <a:lnTo>
                      <a:pt x="722317" y="60720"/>
                    </a:lnTo>
                    <a:close/>
                    <a:moveTo>
                      <a:pt x="711078" y="64053"/>
                    </a:moveTo>
                    <a:cubicBezTo>
                      <a:pt x="711020" y="64272"/>
                      <a:pt x="711020" y="64501"/>
                      <a:pt x="711078" y="64720"/>
                    </a:cubicBezTo>
                    <a:cubicBezTo>
                      <a:pt x="711078" y="64720"/>
                      <a:pt x="711078" y="64720"/>
                      <a:pt x="711078" y="65292"/>
                    </a:cubicBezTo>
                    <a:lnTo>
                      <a:pt x="711078" y="65768"/>
                    </a:lnTo>
                    <a:cubicBezTo>
                      <a:pt x="711516" y="66158"/>
                      <a:pt x="711925" y="66568"/>
                      <a:pt x="712316" y="67006"/>
                    </a:cubicBezTo>
                    <a:lnTo>
                      <a:pt x="712316" y="67006"/>
                    </a:lnTo>
                    <a:lnTo>
                      <a:pt x="713745" y="67578"/>
                    </a:lnTo>
                    <a:lnTo>
                      <a:pt x="713745" y="67578"/>
                    </a:lnTo>
                    <a:lnTo>
                      <a:pt x="715745" y="67578"/>
                    </a:lnTo>
                    <a:lnTo>
                      <a:pt x="716697" y="67578"/>
                    </a:lnTo>
                    <a:cubicBezTo>
                      <a:pt x="716697" y="67578"/>
                      <a:pt x="716697" y="66434"/>
                      <a:pt x="716697" y="66434"/>
                    </a:cubicBezTo>
                    <a:cubicBezTo>
                      <a:pt x="716697" y="66434"/>
                      <a:pt x="714983" y="66434"/>
                      <a:pt x="714221" y="65673"/>
                    </a:cubicBezTo>
                    <a:lnTo>
                      <a:pt x="714221" y="65673"/>
                    </a:lnTo>
                    <a:lnTo>
                      <a:pt x="712506" y="64244"/>
                    </a:lnTo>
                    <a:lnTo>
                      <a:pt x="711078" y="63672"/>
                    </a:lnTo>
                    <a:cubicBezTo>
                      <a:pt x="711078" y="63672"/>
                      <a:pt x="711078" y="63672"/>
                      <a:pt x="711078" y="64244"/>
                    </a:cubicBezTo>
                    <a:cubicBezTo>
                      <a:pt x="711078" y="64815"/>
                      <a:pt x="711078" y="64244"/>
                      <a:pt x="711078" y="64244"/>
                    </a:cubicBezTo>
                    <a:close/>
                    <a:moveTo>
                      <a:pt x="709554" y="96724"/>
                    </a:moveTo>
                    <a:cubicBezTo>
                      <a:pt x="709554" y="96724"/>
                      <a:pt x="709554" y="96724"/>
                      <a:pt x="709077" y="96724"/>
                    </a:cubicBezTo>
                    <a:cubicBezTo>
                      <a:pt x="708601" y="96724"/>
                      <a:pt x="709077" y="97581"/>
                      <a:pt x="709554" y="97772"/>
                    </a:cubicBezTo>
                    <a:cubicBezTo>
                      <a:pt x="710030" y="97962"/>
                      <a:pt x="712221" y="97772"/>
                      <a:pt x="713459" y="98343"/>
                    </a:cubicBezTo>
                    <a:cubicBezTo>
                      <a:pt x="714697" y="98915"/>
                      <a:pt x="714792" y="99677"/>
                      <a:pt x="715649" y="99867"/>
                    </a:cubicBezTo>
                    <a:lnTo>
                      <a:pt x="715649" y="99867"/>
                    </a:lnTo>
                    <a:cubicBezTo>
                      <a:pt x="716126" y="99867"/>
                      <a:pt x="716507" y="99867"/>
                      <a:pt x="717078" y="99867"/>
                    </a:cubicBezTo>
                    <a:cubicBezTo>
                      <a:pt x="717650" y="99867"/>
                      <a:pt x="718126" y="99867"/>
                      <a:pt x="718697" y="99867"/>
                    </a:cubicBezTo>
                    <a:lnTo>
                      <a:pt x="719555" y="99867"/>
                    </a:lnTo>
                    <a:lnTo>
                      <a:pt x="717935" y="98915"/>
                    </a:lnTo>
                    <a:lnTo>
                      <a:pt x="710792" y="95200"/>
                    </a:lnTo>
                    <a:cubicBezTo>
                      <a:pt x="710354" y="95095"/>
                      <a:pt x="709896" y="95095"/>
                      <a:pt x="709458" y="95200"/>
                    </a:cubicBezTo>
                    <a:lnTo>
                      <a:pt x="708410" y="95200"/>
                    </a:lnTo>
                    <a:cubicBezTo>
                      <a:pt x="708868" y="95495"/>
                      <a:pt x="709258" y="95886"/>
                      <a:pt x="709554" y="96343"/>
                    </a:cubicBezTo>
                    <a:close/>
                    <a:moveTo>
                      <a:pt x="424851" y="1048081"/>
                    </a:moveTo>
                    <a:lnTo>
                      <a:pt x="426280" y="1048653"/>
                    </a:lnTo>
                    <a:lnTo>
                      <a:pt x="424661" y="1047795"/>
                    </a:lnTo>
                    <a:lnTo>
                      <a:pt x="424661" y="1047795"/>
                    </a:lnTo>
                    <a:cubicBezTo>
                      <a:pt x="424661" y="1047795"/>
                      <a:pt x="424661" y="1047795"/>
                      <a:pt x="424661" y="1047795"/>
                    </a:cubicBezTo>
                    <a:cubicBezTo>
                      <a:pt x="424661" y="1047795"/>
                      <a:pt x="424661" y="1047795"/>
                      <a:pt x="424661" y="1047795"/>
                    </a:cubicBezTo>
                    <a:lnTo>
                      <a:pt x="424661" y="1047795"/>
                    </a:lnTo>
                    <a:close/>
                    <a:moveTo>
                      <a:pt x="732604" y="416574"/>
                    </a:moveTo>
                    <a:cubicBezTo>
                      <a:pt x="732985" y="416107"/>
                      <a:pt x="733309" y="415602"/>
                      <a:pt x="733556" y="415050"/>
                    </a:cubicBezTo>
                    <a:lnTo>
                      <a:pt x="733556" y="415050"/>
                    </a:lnTo>
                    <a:cubicBezTo>
                      <a:pt x="731651" y="415050"/>
                      <a:pt x="730508" y="416859"/>
                      <a:pt x="728794" y="417526"/>
                    </a:cubicBezTo>
                    <a:cubicBezTo>
                      <a:pt x="727775" y="417974"/>
                      <a:pt x="726660" y="418164"/>
                      <a:pt x="725555" y="418098"/>
                    </a:cubicBezTo>
                    <a:cubicBezTo>
                      <a:pt x="723917" y="418136"/>
                      <a:pt x="722298" y="418498"/>
                      <a:pt x="720793" y="419145"/>
                    </a:cubicBezTo>
                    <a:lnTo>
                      <a:pt x="720031" y="419145"/>
                    </a:lnTo>
                    <a:cubicBezTo>
                      <a:pt x="719326" y="420593"/>
                      <a:pt x="719326" y="422269"/>
                      <a:pt x="720031" y="423717"/>
                    </a:cubicBezTo>
                    <a:cubicBezTo>
                      <a:pt x="720031" y="423717"/>
                      <a:pt x="720888" y="425146"/>
                      <a:pt x="727365" y="424670"/>
                    </a:cubicBezTo>
                    <a:cubicBezTo>
                      <a:pt x="728099" y="424613"/>
                      <a:pt x="728784" y="424270"/>
                      <a:pt x="729270" y="423717"/>
                    </a:cubicBezTo>
                    <a:cubicBezTo>
                      <a:pt x="729937" y="423146"/>
                      <a:pt x="730794" y="423241"/>
                      <a:pt x="731461" y="422860"/>
                    </a:cubicBezTo>
                    <a:lnTo>
                      <a:pt x="731461" y="422860"/>
                    </a:lnTo>
                    <a:cubicBezTo>
                      <a:pt x="731461" y="421622"/>
                      <a:pt x="731461" y="420384"/>
                      <a:pt x="731461" y="419241"/>
                    </a:cubicBezTo>
                    <a:cubicBezTo>
                      <a:pt x="731632" y="418155"/>
                      <a:pt x="732023" y="417116"/>
                      <a:pt x="732604" y="416192"/>
                    </a:cubicBezTo>
                    <a:close/>
                    <a:moveTo>
                      <a:pt x="858429" y="621837"/>
                    </a:moveTo>
                    <a:lnTo>
                      <a:pt x="858429" y="621837"/>
                    </a:lnTo>
                    <a:close/>
                    <a:moveTo>
                      <a:pt x="737843" y="31287"/>
                    </a:moveTo>
                    <a:cubicBezTo>
                      <a:pt x="738205" y="31449"/>
                      <a:pt x="738624" y="31449"/>
                      <a:pt x="738986" y="31287"/>
                    </a:cubicBezTo>
                    <a:lnTo>
                      <a:pt x="738986" y="31287"/>
                    </a:lnTo>
                    <a:lnTo>
                      <a:pt x="738509" y="30716"/>
                    </a:lnTo>
                    <a:cubicBezTo>
                      <a:pt x="737738" y="30230"/>
                      <a:pt x="736947" y="29782"/>
                      <a:pt x="736128" y="29382"/>
                    </a:cubicBezTo>
                    <a:lnTo>
                      <a:pt x="736128" y="29382"/>
                    </a:lnTo>
                    <a:cubicBezTo>
                      <a:pt x="735623" y="29268"/>
                      <a:pt x="735109" y="29268"/>
                      <a:pt x="734604" y="29382"/>
                    </a:cubicBezTo>
                    <a:lnTo>
                      <a:pt x="734604" y="29382"/>
                    </a:lnTo>
                    <a:cubicBezTo>
                      <a:pt x="734604" y="29382"/>
                      <a:pt x="735080" y="29954"/>
                      <a:pt x="735080" y="29954"/>
                    </a:cubicBezTo>
                    <a:close/>
                    <a:moveTo>
                      <a:pt x="752321" y="29287"/>
                    </a:moveTo>
                    <a:lnTo>
                      <a:pt x="750987" y="28716"/>
                    </a:lnTo>
                    <a:lnTo>
                      <a:pt x="750987" y="28716"/>
                    </a:lnTo>
                    <a:lnTo>
                      <a:pt x="749654" y="28144"/>
                    </a:lnTo>
                    <a:cubicBezTo>
                      <a:pt x="749273" y="28096"/>
                      <a:pt x="748892" y="28096"/>
                      <a:pt x="748511" y="28144"/>
                    </a:cubicBezTo>
                    <a:lnTo>
                      <a:pt x="748511" y="28144"/>
                    </a:lnTo>
                    <a:cubicBezTo>
                      <a:pt x="750882" y="29735"/>
                      <a:pt x="753530" y="30859"/>
                      <a:pt x="756321" y="31478"/>
                    </a:cubicBezTo>
                    <a:lnTo>
                      <a:pt x="754702" y="30716"/>
                    </a:lnTo>
                    <a:lnTo>
                      <a:pt x="754035" y="30716"/>
                    </a:lnTo>
                    <a:cubicBezTo>
                      <a:pt x="754483" y="30754"/>
                      <a:pt x="754921" y="30754"/>
                      <a:pt x="755369" y="30716"/>
                    </a:cubicBezTo>
                    <a:lnTo>
                      <a:pt x="752130" y="29287"/>
                    </a:lnTo>
                    <a:lnTo>
                      <a:pt x="752130" y="29287"/>
                    </a:lnTo>
                    <a:close/>
                    <a:moveTo>
                      <a:pt x="723270" y="52147"/>
                    </a:moveTo>
                    <a:lnTo>
                      <a:pt x="721746" y="51290"/>
                    </a:lnTo>
                    <a:lnTo>
                      <a:pt x="720317" y="50337"/>
                    </a:lnTo>
                    <a:lnTo>
                      <a:pt x="719364" y="50337"/>
                    </a:lnTo>
                    <a:cubicBezTo>
                      <a:pt x="719364" y="50337"/>
                      <a:pt x="719364" y="50337"/>
                      <a:pt x="719364" y="50337"/>
                    </a:cubicBezTo>
                    <a:cubicBezTo>
                      <a:pt x="719364" y="50337"/>
                      <a:pt x="720222" y="51099"/>
                      <a:pt x="720603" y="51575"/>
                    </a:cubicBezTo>
                    <a:lnTo>
                      <a:pt x="720603" y="51575"/>
                    </a:lnTo>
                    <a:lnTo>
                      <a:pt x="721174" y="51575"/>
                    </a:lnTo>
                    <a:cubicBezTo>
                      <a:pt x="721174" y="51575"/>
                      <a:pt x="721936" y="51575"/>
                      <a:pt x="722222" y="51575"/>
                    </a:cubicBezTo>
                    <a:lnTo>
                      <a:pt x="724222" y="52338"/>
                    </a:lnTo>
                    <a:lnTo>
                      <a:pt x="724793" y="52338"/>
                    </a:lnTo>
                    <a:lnTo>
                      <a:pt x="724793" y="52338"/>
                    </a:lnTo>
                    <a:close/>
                    <a:moveTo>
                      <a:pt x="732795" y="63958"/>
                    </a:moveTo>
                    <a:cubicBezTo>
                      <a:pt x="732795" y="63958"/>
                      <a:pt x="732795" y="63482"/>
                      <a:pt x="732795" y="63482"/>
                    </a:cubicBezTo>
                    <a:cubicBezTo>
                      <a:pt x="732795" y="63482"/>
                      <a:pt x="732795" y="63482"/>
                      <a:pt x="732795" y="62910"/>
                    </a:cubicBezTo>
                    <a:cubicBezTo>
                      <a:pt x="732128" y="62301"/>
                      <a:pt x="731432" y="61729"/>
                      <a:pt x="730699" y="61196"/>
                    </a:cubicBezTo>
                    <a:lnTo>
                      <a:pt x="729270" y="61196"/>
                    </a:lnTo>
                    <a:lnTo>
                      <a:pt x="729270" y="61196"/>
                    </a:lnTo>
                    <a:cubicBezTo>
                      <a:pt x="729270" y="61196"/>
                      <a:pt x="729270" y="61672"/>
                      <a:pt x="729270" y="62053"/>
                    </a:cubicBezTo>
                    <a:cubicBezTo>
                      <a:pt x="729765" y="62520"/>
                      <a:pt x="730308" y="62929"/>
                      <a:pt x="730889" y="63291"/>
                    </a:cubicBezTo>
                    <a:cubicBezTo>
                      <a:pt x="731747" y="63567"/>
                      <a:pt x="732652" y="63701"/>
                      <a:pt x="733556" y="63672"/>
                    </a:cubicBezTo>
                    <a:close/>
                    <a:moveTo>
                      <a:pt x="724508" y="66625"/>
                    </a:moveTo>
                    <a:lnTo>
                      <a:pt x="724508" y="66625"/>
                    </a:lnTo>
                    <a:lnTo>
                      <a:pt x="724508" y="66625"/>
                    </a:lnTo>
                    <a:cubicBezTo>
                      <a:pt x="724508" y="66625"/>
                      <a:pt x="724508" y="66149"/>
                      <a:pt x="724508" y="65958"/>
                    </a:cubicBezTo>
                    <a:cubicBezTo>
                      <a:pt x="724508" y="65768"/>
                      <a:pt x="724508" y="65958"/>
                      <a:pt x="724508" y="65482"/>
                    </a:cubicBezTo>
                    <a:lnTo>
                      <a:pt x="724508" y="65482"/>
                    </a:lnTo>
                    <a:lnTo>
                      <a:pt x="724508" y="65482"/>
                    </a:lnTo>
                    <a:lnTo>
                      <a:pt x="723841" y="65482"/>
                    </a:lnTo>
                    <a:lnTo>
                      <a:pt x="723174" y="65482"/>
                    </a:lnTo>
                    <a:lnTo>
                      <a:pt x="723174" y="65482"/>
                    </a:lnTo>
                    <a:cubicBezTo>
                      <a:pt x="723174" y="65482"/>
                      <a:pt x="723174" y="66244"/>
                      <a:pt x="723174" y="66244"/>
                    </a:cubicBezTo>
                    <a:cubicBezTo>
                      <a:pt x="723708" y="66311"/>
                      <a:pt x="724251" y="66349"/>
                      <a:pt x="724793" y="66339"/>
                    </a:cubicBezTo>
                    <a:close/>
                    <a:moveTo>
                      <a:pt x="726603" y="15000"/>
                    </a:moveTo>
                    <a:lnTo>
                      <a:pt x="726603" y="15000"/>
                    </a:lnTo>
                    <a:lnTo>
                      <a:pt x="737843" y="19191"/>
                    </a:lnTo>
                    <a:lnTo>
                      <a:pt x="739081" y="19191"/>
                    </a:lnTo>
                    <a:close/>
                    <a:moveTo>
                      <a:pt x="948345" y="163685"/>
                    </a:moveTo>
                    <a:lnTo>
                      <a:pt x="948345" y="163685"/>
                    </a:lnTo>
                    <a:close/>
                    <a:moveTo>
                      <a:pt x="1076456" y="419431"/>
                    </a:moveTo>
                    <a:lnTo>
                      <a:pt x="1076456" y="419431"/>
                    </a:lnTo>
                    <a:close/>
                    <a:moveTo>
                      <a:pt x="539437" y="376759"/>
                    </a:moveTo>
                    <a:cubicBezTo>
                      <a:pt x="539437" y="377997"/>
                      <a:pt x="539437" y="377997"/>
                      <a:pt x="539437" y="380664"/>
                    </a:cubicBezTo>
                    <a:cubicBezTo>
                      <a:pt x="539265" y="382131"/>
                      <a:pt x="539751" y="383598"/>
                      <a:pt x="540771" y="384665"/>
                    </a:cubicBezTo>
                    <a:cubicBezTo>
                      <a:pt x="541247" y="385236"/>
                      <a:pt x="541532" y="385522"/>
                      <a:pt x="541532" y="385998"/>
                    </a:cubicBezTo>
                    <a:cubicBezTo>
                      <a:pt x="541532" y="386475"/>
                      <a:pt x="539628" y="388856"/>
                      <a:pt x="539818" y="390666"/>
                    </a:cubicBezTo>
                    <a:cubicBezTo>
                      <a:pt x="539761" y="391008"/>
                      <a:pt x="539761" y="391370"/>
                      <a:pt x="539818" y="391713"/>
                    </a:cubicBezTo>
                    <a:cubicBezTo>
                      <a:pt x="540246" y="392513"/>
                      <a:pt x="541113" y="392961"/>
                      <a:pt x="542009" y="392856"/>
                    </a:cubicBezTo>
                    <a:cubicBezTo>
                      <a:pt x="544314" y="391989"/>
                      <a:pt x="546571" y="390999"/>
                      <a:pt x="548772" y="389904"/>
                    </a:cubicBezTo>
                    <a:cubicBezTo>
                      <a:pt x="549438" y="389237"/>
                      <a:pt x="549248" y="388094"/>
                      <a:pt x="548772" y="386855"/>
                    </a:cubicBezTo>
                    <a:cubicBezTo>
                      <a:pt x="548295" y="385617"/>
                      <a:pt x="548772" y="385236"/>
                      <a:pt x="548772" y="384570"/>
                    </a:cubicBezTo>
                    <a:cubicBezTo>
                      <a:pt x="548772" y="383903"/>
                      <a:pt x="549724" y="381903"/>
                      <a:pt x="549914" y="380474"/>
                    </a:cubicBezTo>
                    <a:lnTo>
                      <a:pt x="549914" y="380474"/>
                    </a:lnTo>
                    <a:cubicBezTo>
                      <a:pt x="549914" y="377616"/>
                      <a:pt x="547914" y="372568"/>
                      <a:pt x="546390" y="372378"/>
                    </a:cubicBezTo>
                    <a:cubicBezTo>
                      <a:pt x="545838" y="372425"/>
                      <a:pt x="545314" y="372616"/>
                      <a:pt x="544866" y="372949"/>
                    </a:cubicBezTo>
                    <a:cubicBezTo>
                      <a:pt x="543885" y="373673"/>
                      <a:pt x="542866" y="374340"/>
                      <a:pt x="541818" y="374949"/>
                    </a:cubicBezTo>
                    <a:cubicBezTo>
                      <a:pt x="540104" y="375711"/>
                      <a:pt x="540104" y="375711"/>
                      <a:pt x="539723" y="376759"/>
                    </a:cubicBezTo>
                    <a:close/>
                    <a:moveTo>
                      <a:pt x="544771" y="368758"/>
                    </a:moveTo>
                    <a:lnTo>
                      <a:pt x="546200" y="366377"/>
                    </a:lnTo>
                    <a:lnTo>
                      <a:pt x="546200" y="366377"/>
                    </a:lnTo>
                    <a:cubicBezTo>
                      <a:pt x="546266" y="365939"/>
                      <a:pt x="546266" y="365481"/>
                      <a:pt x="546200" y="365043"/>
                    </a:cubicBezTo>
                    <a:cubicBezTo>
                      <a:pt x="546266" y="364319"/>
                      <a:pt x="546266" y="363576"/>
                      <a:pt x="546200" y="362853"/>
                    </a:cubicBezTo>
                    <a:cubicBezTo>
                      <a:pt x="546200" y="361995"/>
                      <a:pt x="545723" y="361138"/>
                      <a:pt x="545533" y="360186"/>
                    </a:cubicBezTo>
                    <a:cubicBezTo>
                      <a:pt x="545342" y="359233"/>
                      <a:pt x="545533" y="358185"/>
                      <a:pt x="545533" y="357233"/>
                    </a:cubicBezTo>
                    <a:cubicBezTo>
                      <a:pt x="545533" y="356280"/>
                      <a:pt x="545533" y="356090"/>
                      <a:pt x="545057" y="356090"/>
                    </a:cubicBezTo>
                    <a:cubicBezTo>
                      <a:pt x="543342" y="356090"/>
                      <a:pt x="540580" y="363996"/>
                      <a:pt x="540580" y="364091"/>
                    </a:cubicBezTo>
                    <a:cubicBezTo>
                      <a:pt x="540228" y="365596"/>
                      <a:pt x="540656" y="367167"/>
                      <a:pt x="541723" y="368282"/>
                    </a:cubicBezTo>
                    <a:cubicBezTo>
                      <a:pt x="542637" y="369091"/>
                      <a:pt x="543952" y="369282"/>
                      <a:pt x="545057" y="368758"/>
                    </a:cubicBezTo>
                    <a:close/>
                    <a:moveTo>
                      <a:pt x="589539" y="397333"/>
                    </a:moveTo>
                    <a:cubicBezTo>
                      <a:pt x="589539" y="396476"/>
                      <a:pt x="589539" y="396380"/>
                      <a:pt x="588491" y="396285"/>
                    </a:cubicBezTo>
                    <a:cubicBezTo>
                      <a:pt x="585157" y="396285"/>
                      <a:pt x="582966" y="399809"/>
                      <a:pt x="579442" y="399524"/>
                    </a:cubicBezTo>
                    <a:cubicBezTo>
                      <a:pt x="573346" y="398952"/>
                      <a:pt x="570774" y="398952"/>
                      <a:pt x="570774" y="398952"/>
                    </a:cubicBezTo>
                    <a:cubicBezTo>
                      <a:pt x="569907" y="399171"/>
                      <a:pt x="569317" y="399962"/>
                      <a:pt x="569346" y="400857"/>
                    </a:cubicBezTo>
                    <a:cubicBezTo>
                      <a:pt x="569888" y="401533"/>
                      <a:pt x="570612" y="402029"/>
                      <a:pt x="571441" y="402286"/>
                    </a:cubicBezTo>
                    <a:cubicBezTo>
                      <a:pt x="573346" y="402953"/>
                      <a:pt x="575346" y="402858"/>
                      <a:pt x="577347" y="403429"/>
                    </a:cubicBezTo>
                    <a:cubicBezTo>
                      <a:pt x="579347" y="404000"/>
                      <a:pt x="578299" y="403905"/>
                      <a:pt x="578394" y="404286"/>
                    </a:cubicBezTo>
                    <a:cubicBezTo>
                      <a:pt x="578489" y="404667"/>
                      <a:pt x="581823" y="408096"/>
                      <a:pt x="581823" y="408096"/>
                    </a:cubicBezTo>
                    <a:lnTo>
                      <a:pt x="582395" y="408096"/>
                    </a:lnTo>
                    <a:cubicBezTo>
                      <a:pt x="583728" y="408096"/>
                      <a:pt x="585252" y="408096"/>
                      <a:pt x="586681" y="408668"/>
                    </a:cubicBezTo>
                    <a:cubicBezTo>
                      <a:pt x="588110" y="409239"/>
                      <a:pt x="588967" y="410478"/>
                      <a:pt x="590300" y="410954"/>
                    </a:cubicBezTo>
                    <a:cubicBezTo>
                      <a:pt x="591634" y="411430"/>
                      <a:pt x="590300" y="410954"/>
                      <a:pt x="590300" y="410954"/>
                    </a:cubicBezTo>
                    <a:cubicBezTo>
                      <a:pt x="590872" y="408858"/>
                      <a:pt x="589539" y="406953"/>
                      <a:pt x="589443" y="404858"/>
                    </a:cubicBezTo>
                    <a:cubicBezTo>
                      <a:pt x="589253" y="402896"/>
                      <a:pt x="589253" y="400914"/>
                      <a:pt x="589443" y="398952"/>
                    </a:cubicBezTo>
                    <a:cubicBezTo>
                      <a:pt x="589653" y="398305"/>
                      <a:pt x="589786" y="397628"/>
                      <a:pt x="589824" y="396952"/>
                    </a:cubicBezTo>
                    <a:close/>
                    <a:moveTo>
                      <a:pt x="662690" y="425908"/>
                    </a:moveTo>
                    <a:cubicBezTo>
                      <a:pt x="663605" y="426622"/>
                      <a:pt x="664776" y="426927"/>
                      <a:pt x="665929" y="426765"/>
                    </a:cubicBezTo>
                    <a:cubicBezTo>
                      <a:pt x="667358" y="426765"/>
                      <a:pt x="668596" y="425622"/>
                      <a:pt x="670120" y="425432"/>
                    </a:cubicBezTo>
                    <a:cubicBezTo>
                      <a:pt x="671892" y="425337"/>
                      <a:pt x="673644" y="425041"/>
                      <a:pt x="675359" y="424575"/>
                    </a:cubicBezTo>
                    <a:cubicBezTo>
                      <a:pt x="676102" y="424213"/>
                      <a:pt x="676606" y="423489"/>
                      <a:pt x="676692" y="422670"/>
                    </a:cubicBezTo>
                    <a:cubicBezTo>
                      <a:pt x="676692" y="421717"/>
                      <a:pt x="674882" y="420193"/>
                      <a:pt x="674882" y="420193"/>
                    </a:cubicBezTo>
                    <a:cubicBezTo>
                      <a:pt x="674521" y="420003"/>
                      <a:pt x="674101" y="420003"/>
                      <a:pt x="673739" y="420193"/>
                    </a:cubicBezTo>
                    <a:cubicBezTo>
                      <a:pt x="672311" y="421136"/>
                      <a:pt x="670587" y="421546"/>
                      <a:pt x="668882" y="421336"/>
                    </a:cubicBezTo>
                    <a:cubicBezTo>
                      <a:pt x="667034" y="421250"/>
                      <a:pt x="665215" y="420803"/>
                      <a:pt x="663548" y="420003"/>
                    </a:cubicBezTo>
                    <a:cubicBezTo>
                      <a:pt x="662948" y="419574"/>
                      <a:pt x="662271" y="419279"/>
                      <a:pt x="661547" y="419145"/>
                    </a:cubicBezTo>
                    <a:lnTo>
                      <a:pt x="660976" y="419145"/>
                    </a:lnTo>
                    <a:cubicBezTo>
                      <a:pt x="656404" y="419145"/>
                      <a:pt x="655928" y="419145"/>
                      <a:pt x="656023" y="421812"/>
                    </a:cubicBezTo>
                    <a:cubicBezTo>
                      <a:pt x="661547" y="424289"/>
                      <a:pt x="661547" y="424289"/>
                      <a:pt x="662976" y="426003"/>
                    </a:cubicBezTo>
                    <a:close/>
                    <a:moveTo>
                      <a:pt x="291215" y="45575"/>
                    </a:moveTo>
                    <a:lnTo>
                      <a:pt x="291215" y="45575"/>
                    </a:lnTo>
                    <a:lnTo>
                      <a:pt x="292263" y="45003"/>
                    </a:lnTo>
                    <a:close/>
                    <a:moveTo>
                      <a:pt x="390656" y="1039413"/>
                    </a:moveTo>
                    <a:lnTo>
                      <a:pt x="390656" y="1039413"/>
                    </a:lnTo>
                    <a:lnTo>
                      <a:pt x="391990" y="1039890"/>
                    </a:lnTo>
                    <a:lnTo>
                      <a:pt x="393895" y="1040556"/>
                    </a:lnTo>
                    <a:cubicBezTo>
                      <a:pt x="392914" y="1039947"/>
                      <a:pt x="391809" y="1039556"/>
                      <a:pt x="390656" y="1039413"/>
                    </a:cubicBezTo>
                    <a:close/>
                    <a:moveTo>
                      <a:pt x="414374" y="1046938"/>
                    </a:moveTo>
                    <a:lnTo>
                      <a:pt x="414374" y="1046938"/>
                    </a:lnTo>
                    <a:cubicBezTo>
                      <a:pt x="415669" y="1047481"/>
                      <a:pt x="417012" y="1047929"/>
                      <a:pt x="418374" y="1048272"/>
                    </a:cubicBezTo>
                    <a:lnTo>
                      <a:pt x="416564" y="1047605"/>
                    </a:lnTo>
                    <a:close/>
                    <a:moveTo>
                      <a:pt x="360557" y="1027888"/>
                    </a:moveTo>
                    <a:lnTo>
                      <a:pt x="360557" y="1027888"/>
                    </a:lnTo>
                    <a:cubicBezTo>
                      <a:pt x="360557" y="1027888"/>
                      <a:pt x="363320" y="1029507"/>
                      <a:pt x="363605" y="1029317"/>
                    </a:cubicBezTo>
                    <a:lnTo>
                      <a:pt x="362367" y="1028650"/>
                    </a:lnTo>
                    <a:close/>
                    <a:moveTo>
                      <a:pt x="362843" y="1028745"/>
                    </a:moveTo>
                    <a:lnTo>
                      <a:pt x="362843" y="1028745"/>
                    </a:lnTo>
                    <a:cubicBezTo>
                      <a:pt x="364567" y="1029726"/>
                      <a:pt x="366387" y="1030527"/>
                      <a:pt x="368273" y="1031127"/>
                    </a:cubicBezTo>
                    <a:lnTo>
                      <a:pt x="368273" y="1031127"/>
                    </a:lnTo>
                    <a:cubicBezTo>
                      <a:pt x="368273" y="1031127"/>
                      <a:pt x="363034" y="1028555"/>
                      <a:pt x="362748" y="1028555"/>
                    </a:cubicBezTo>
                    <a:close/>
                    <a:moveTo>
                      <a:pt x="399324" y="1042652"/>
                    </a:moveTo>
                    <a:lnTo>
                      <a:pt x="395895" y="1041509"/>
                    </a:lnTo>
                    <a:lnTo>
                      <a:pt x="395895" y="1041509"/>
                    </a:lnTo>
                    <a:lnTo>
                      <a:pt x="397610" y="1042176"/>
                    </a:lnTo>
                    <a:lnTo>
                      <a:pt x="399515" y="1042176"/>
                    </a:lnTo>
                    <a:close/>
                    <a:moveTo>
                      <a:pt x="379703" y="1035889"/>
                    </a:moveTo>
                    <a:lnTo>
                      <a:pt x="379703" y="1035889"/>
                    </a:lnTo>
                    <a:cubicBezTo>
                      <a:pt x="381027" y="1036527"/>
                      <a:pt x="382398" y="1037070"/>
                      <a:pt x="383798" y="1037508"/>
                    </a:cubicBezTo>
                    <a:lnTo>
                      <a:pt x="382655" y="1037032"/>
                    </a:lnTo>
                    <a:close/>
                    <a:moveTo>
                      <a:pt x="401420" y="1043509"/>
                    </a:moveTo>
                    <a:lnTo>
                      <a:pt x="401420" y="1043509"/>
                    </a:lnTo>
                    <a:lnTo>
                      <a:pt x="403325" y="1044271"/>
                    </a:lnTo>
                    <a:lnTo>
                      <a:pt x="408849" y="1045890"/>
                    </a:lnTo>
                    <a:lnTo>
                      <a:pt x="408849" y="1045890"/>
                    </a:lnTo>
                    <a:cubicBezTo>
                      <a:pt x="407135" y="1045128"/>
                      <a:pt x="401801" y="1043414"/>
                      <a:pt x="401324" y="1043319"/>
                    </a:cubicBezTo>
                    <a:close/>
                    <a:moveTo>
                      <a:pt x="407135" y="1045033"/>
                    </a:moveTo>
                    <a:lnTo>
                      <a:pt x="407135" y="1045033"/>
                    </a:lnTo>
                    <a:cubicBezTo>
                      <a:pt x="407135" y="1045033"/>
                      <a:pt x="401134" y="1042938"/>
                      <a:pt x="400467" y="1042842"/>
                    </a:cubicBezTo>
                    <a:cubicBezTo>
                      <a:pt x="399800" y="1042747"/>
                      <a:pt x="406373" y="1044747"/>
                      <a:pt x="407039" y="1044843"/>
                    </a:cubicBezTo>
                    <a:close/>
                    <a:moveTo>
                      <a:pt x="409421" y="1045890"/>
                    </a:moveTo>
                    <a:cubicBezTo>
                      <a:pt x="411573" y="1046681"/>
                      <a:pt x="413764" y="1047348"/>
                      <a:pt x="415993" y="1047891"/>
                    </a:cubicBezTo>
                    <a:lnTo>
                      <a:pt x="415326" y="1047891"/>
                    </a:lnTo>
                    <a:cubicBezTo>
                      <a:pt x="413507" y="1047033"/>
                      <a:pt x="411630" y="1046300"/>
                      <a:pt x="409706" y="1045700"/>
                    </a:cubicBezTo>
                    <a:close/>
                    <a:moveTo>
                      <a:pt x="407421" y="1044652"/>
                    </a:moveTo>
                    <a:lnTo>
                      <a:pt x="405992" y="1044652"/>
                    </a:lnTo>
                    <a:lnTo>
                      <a:pt x="405992" y="1044652"/>
                    </a:lnTo>
                    <a:cubicBezTo>
                      <a:pt x="407201" y="1045281"/>
                      <a:pt x="408478" y="1045766"/>
                      <a:pt x="409802" y="1046081"/>
                    </a:cubicBezTo>
                    <a:cubicBezTo>
                      <a:pt x="409802" y="1046081"/>
                      <a:pt x="409706" y="1045224"/>
                      <a:pt x="407325" y="1044462"/>
                    </a:cubicBezTo>
                    <a:close/>
                    <a:moveTo>
                      <a:pt x="390656" y="1039985"/>
                    </a:moveTo>
                    <a:cubicBezTo>
                      <a:pt x="391580" y="1040509"/>
                      <a:pt x="392571" y="1040890"/>
                      <a:pt x="393609" y="1041128"/>
                    </a:cubicBezTo>
                    <a:lnTo>
                      <a:pt x="392466" y="1040652"/>
                    </a:lnTo>
                    <a:close/>
                    <a:moveTo>
                      <a:pt x="340936" y="26811"/>
                    </a:moveTo>
                    <a:cubicBezTo>
                      <a:pt x="342174" y="26811"/>
                      <a:pt x="343413" y="25858"/>
                      <a:pt x="344651" y="25572"/>
                    </a:cubicBezTo>
                    <a:cubicBezTo>
                      <a:pt x="343089" y="26115"/>
                      <a:pt x="341593" y="26820"/>
                      <a:pt x="340174" y="27668"/>
                    </a:cubicBezTo>
                    <a:lnTo>
                      <a:pt x="340746" y="27668"/>
                    </a:lnTo>
                    <a:cubicBezTo>
                      <a:pt x="340164" y="27915"/>
                      <a:pt x="339621" y="28230"/>
                      <a:pt x="339126" y="28620"/>
                    </a:cubicBezTo>
                    <a:lnTo>
                      <a:pt x="339793" y="28620"/>
                    </a:lnTo>
                    <a:cubicBezTo>
                      <a:pt x="338640" y="29173"/>
                      <a:pt x="337421" y="29582"/>
                      <a:pt x="336173" y="29858"/>
                    </a:cubicBezTo>
                    <a:lnTo>
                      <a:pt x="337221" y="29096"/>
                    </a:lnTo>
                    <a:cubicBezTo>
                      <a:pt x="333878" y="29963"/>
                      <a:pt x="330782" y="31592"/>
                      <a:pt x="328172" y="33859"/>
                    </a:cubicBezTo>
                    <a:cubicBezTo>
                      <a:pt x="330554" y="33859"/>
                      <a:pt x="332459" y="31763"/>
                      <a:pt x="334840" y="31573"/>
                    </a:cubicBezTo>
                    <a:lnTo>
                      <a:pt x="333506" y="32525"/>
                    </a:lnTo>
                    <a:lnTo>
                      <a:pt x="334268" y="32525"/>
                    </a:lnTo>
                    <a:cubicBezTo>
                      <a:pt x="333792" y="32525"/>
                      <a:pt x="333125" y="33097"/>
                      <a:pt x="332745" y="33669"/>
                    </a:cubicBezTo>
                    <a:cubicBezTo>
                      <a:pt x="332363" y="34240"/>
                      <a:pt x="335888" y="32621"/>
                      <a:pt x="344937" y="28620"/>
                    </a:cubicBezTo>
                    <a:cubicBezTo>
                      <a:pt x="346365" y="27954"/>
                      <a:pt x="350175" y="26049"/>
                      <a:pt x="350461" y="25763"/>
                    </a:cubicBezTo>
                    <a:cubicBezTo>
                      <a:pt x="348594" y="26353"/>
                      <a:pt x="346784" y="27087"/>
                      <a:pt x="345032" y="27954"/>
                    </a:cubicBezTo>
                    <a:cubicBezTo>
                      <a:pt x="344270" y="27954"/>
                      <a:pt x="344270" y="27954"/>
                      <a:pt x="343984" y="27954"/>
                    </a:cubicBezTo>
                    <a:cubicBezTo>
                      <a:pt x="345984" y="26906"/>
                      <a:pt x="348461" y="25667"/>
                      <a:pt x="353509" y="23382"/>
                    </a:cubicBezTo>
                    <a:cubicBezTo>
                      <a:pt x="356148" y="22581"/>
                      <a:pt x="358700" y="21534"/>
                      <a:pt x="361129" y="20238"/>
                    </a:cubicBezTo>
                    <a:lnTo>
                      <a:pt x="361129" y="20238"/>
                    </a:lnTo>
                    <a:cubicBezTo>
                      <a:pt x="358414" y="20857"/>
                      <a:pt x="355795" y="21819"/>
                      <a:pt x="353318" y="23096"/>
                    </a:cubicBezTo>
                    <a:cubicBezTo>
                      <a:pt x="349975" y="24801"/>
                      <a:pt x="346537" y="26325"/>
                      <a:pt x="343031" y="27668"/>
                    </a:cubicBezTo>
                    <a:cubicBezTo>
                      <a:pt x="343031" y="27192"/>
                      <a:pt x="343889" y="27096"/>
                      <a:pt x="344174" y="26620"/>
                    </a:cubicBezTo>
                    <a:cubicBezTo>
                      <a:pt x="343727" y="26658"/>
                      <a:pt x="343289" y="26658"/>
                      <a:pt x="342841" y="26620"/>
                    </a:cubicBezTo>
                    <a:cubicBezTo>
                      <a:pt x="349128" y="23286"/>
                      <a:pt x="356176" y="21572"/>
                      <a:pt x="361891" y="17762"/>
                    </a:cubicBezTo>
                    <a:cubicBezTo>
                      <a:pt x="358348" y="18457"/>
                      <a:pt x="354919" y="19648"/>
                      <a:pt x="351699" y="21286"/>
                    </a:cubicBezTo>
                    <a:cubicBezTo>
                      <a:pt x="351137" y="21791"/>
                      <a:pt x="350442" y="22124"/>
                      <a:pt x="349699" y="22238"/>
                    </a:cubicBezTo>
                    <a:lnTo>
                      <a:pt x="349699" y="22238"/>
                    </a:lnTo>
                    <a:lnTo>
                      <a:pt x="350366" y="22238"/>
                    </a:lnTo>
                    <a:cubicBezTo>
                      <a:pt x="348270" y="22943"/>
                      <a:pt x="346232" y="23801"/>
                      <a:pt x="344270" y="24810"/>
                    </a:cubicBezTo>
                    <a:lnTo>
                      <a:pt x="344270" y="24810"/>
                    </a:lnTo>
                    <a:cubicBezTo>
                      <a:pt x="343060" y="25277"/>
                      <a:pt x="341888" y="25820"/>
                      <a:pt x="340746" y="26429"/>
                    </a:cubicBezTo>
                    <a:close/>
                    <a:moveTo>
                      <a:pt x="294073" y="45861"/>
                    </a:moveTo>
                    <a:cubicBezTo>
                      <a:pt x="294959" y="45365"/>
                      <a:pt x="295883" y="44956"/>
                      <a:pt x="296835" y="44622"/>
                    </a:cubicBezTo>
                    <a:lnTo>
                      <a:pt x="296835" y="44622"/>
                    </a:lnTo>
                    <a:cubicBezTo>
                      <a:pt x="297978" y="44146"/>
                      <a:pt x="298931" y="43479"/>
                      <a:pt x="300074" y="43003"/>
                    </a:cubicBezTo>
                    <a:lnTo>
                      <a:pt x="297978" y="44337"/>
                    </a:lnTo>
                    <a:lnTo>
                      <a:pt x="297978" y="44337"/>
                    </a:lnTo>
                    <a:cubicBezTo>
                      <a:pt x="302169" y="42622"/>
                      <a:pt x="306265" y="40622"/>
                      <a:pt x="310361" y="38812"/>
                    </a:cubicBezTo>
                    <a:cubicBezTo>
                      <a:pt x="314456" y="37002"/>
                      <a:pt x="318362" y="36145"/>
                      <a:pt x="322172" y="34335"/>
                    </a:cubicBezTo>
                    <a:cubicBezTo>
                      <a:pt x="322172" y="34335"/>
                      <a:pt x="333697" y="28716"/>
                      <a:pt x="334078" y="28334"/>
                    </a:cubicBezTo>
                    <a:cubicBezTo>
                      <a:pt x="332668" y="28725"/>
                      <a:pt x="331306" y="29239"/>
                      <a:pt x="329982" y="29858"/>
                    </a:cubicBezTo>
                    <a:lnTo>
                      <a:pt x="334935" y="27668"/>
                    </a:lnTo>
                    <a:cubicBezTo>
                      <a:pt x="332935" y="28430"/>
                      <a:pt x="331030" y="29382"/>
                      <a:pt x="328934" y="30144"/>
                    </a:cubicBezTo>
                    <a:cubicBezTo>
                      <a:pt x="333192" y="28363"/>
                      <a:pt x="337336" y="26296"/>
                      <a:pt x="341317" y="23953"/>
                    </a:cubicBezTo>
                    <a:cubicBezTo>
                      <a:pt x="335888" y="25191"/>
                      <a:pt x="331792" y="28906"/>
                      <a:pt x="326363" y="30430"/>
                    </a:cubicBezTo>
                    <a:lnTo>
                      <a:pt x="328268" y="29478"/>
                    </a:lnTo>
                    <a:cubicBezTo>
                      <a:pt x="316419" y="34021"/>
                      <a:pt x="304931" y="39431"/>
                      <a:pt x="293882" y="45670"/>
                    </a:cubicBezTo>
                    <a:close/>
                    <a:moveTo>
                      <a:pt x="357509" y="19286"/>
                    </a:moveTo>
                    <a:lnTo>
                      <a:pt x="359129" y="18619"/>
                    </a:lnTo>
                    <a:cubicBezTo>
                      <a:pt x="356700" y="19295"/>
                      <a:pt x="354309" y="20124"/>
                      <a:pt x="351985" y="21096"/>
                    </a:cubicBezTo>
                    <a:lnTo>
                      <a:pt x="357509" y="19286"/>
                    </a:lnTo>
                    <a:close/>
                    <a:moveTo>
                      <a:pt x="359319" y="18333"/>
                    </a:moveTo>
                    <a:cubicBezTo>
                      <a:pt x="360024" y="17924"/>
                      <a:pt x="360757" y="17581"/>
                      <a:pt x="361510" y="17286"/>
                    </a:cubicBezTo>
                    <a:lnTo>
                      <a:pt x="359414" y="17952"/>
                    </a:lnTo>
                    <a:cubicBezTo>
                      <a:pt x="360519" y="17381"/>
                      <a:pt x="361662" y="16904"/>
                      <a:pt x="362843" y="16524"/>
                    </a:cubicBezTo>
                    <a:lnTo>
                      <a:pt x="361129" y="17000"/>
                    </a:lnTo>
                    <a:cubicBezTo>
                      <a:pt x="361605" y="17000"/>
                      <a:pt x="369511" y="13761"/>
                      <a:pt x="371511" y="13190"/>
                    </a:cubicBezTo>
                    <a:lnTo>
                      <a:pt x="369987" y="13857"/>
                    </a:lnTo>
                    <a:cubicBezTo>
                      <a:pt x="371225" y="13857"/>
                      <a:pt x="372178" y="12999"/>
                      <a:pt x="373416" y="12904"/>
                    </a:cubicBezTo>
                    <a:lnTo>
                      <a:pt x="373416" y="12904"/>
                    </a:lnTo>
                    <a:cubicBezTo>
                      <a:pt x="375988" y="12904"/>
                      <a:pt x="378179" y="11190"/>
                      <a:pt x="380655" y="10713"/>
                    </a:cubicBezTo>
                    <a:cubicBezTo>
                      <a:pt x="379845" y="11018"/>
                      <a:pt x="379046" y="11371"/>
                      <a:pt x="378274" y="11761"/>
                    </a:cubicBezTo>
                    <a:cubicBezTo>
                      <a:pt x="379036" y="11761"/>
                      <a:pt x="379607" y="11761"/>
                      <a:pt x="380274" y="11190"/>
                    </a:cubicBezTo>
                    <a:cubicBezTo>
                      <a:pt x="378969" y="11942"/>
                      <a:pt x="377598" y="12580"/>
                      <a:pt x="376179" y="13095"/>
                    </a:cubicBezTo>
                    <a:lnTo>
                      <a:pt x="368749" y="15476"/>
                    </a:lnTo>
                    <a:cubicBezTo>
                      <a:pt x="366654" y="16047"/>
                      <a:pt x="364653" y="17000"/>
                      <a:pt x="362558" y="17381"/>
                    </a:cubicBezTo>
                    <a:cubicBezTo>
                      <a:pt x="363586" y="16705"/>
                      <a:pt x="364710" y="16190"/>
                      <a:pt x="365891" y="15857"/>
                    </a:cubicBezTo>
                    <a:lnTo>
                      <a:pt x="365891" y="15857"/>
                    </a:lnTo>
                    <a:cubicBezTo>
                      <a:pt x="365510" y="15781"/>
                      <a:pt x="365130" y="15781"/>
                      <a:pt x="364748" y="15857"/>
                    </a:cubicBezTo>
                    <a:close/>
                    <a:moveTo>
                      <a:pt x="367320" y="15476"/>
                    </a:moveTo>
                    <a:cubicBezTo>
                      <a:pt x="368616" y="15152"/>
                      <a:pt x="369892" y="14733"/>
                      <a:pt x="371130" y="14238"/>
                    </a:cubicBezTo>
                    <a:cubicBezTo>
                      <a:pt x="369749" y="14352"/>
                      <a:pt x="368396" y="14704"/>
                      <a:pt x="367130" y="15285"/>
                    </a:cubicBezTo>
                    <a:close/>
                    <a:moveTo>
                      <a:pt x="405420" y="1037223"/>
                    </a:moveTo>
                    <a:lnTo>
                      <a:pt x="406373" y="1038080"/>
                    </a:lnTo>
                    <a:lnTo>
                      <a:pt x="406373" y="1038080"/>
                    </a:lnTo>
                    <a:lnTo>
                      <a:pt x="406373" y="1038080"/>
                    </a:lnTo>
                    <a:lnTo>
                      <a:pt x="407230" y="1038080"/>
                    </a:lnTo>
                    <a:lnTo>
                      <a:pt x="407230" y="1038080"/>
                    </a:lnTo>
                    <a:cubicBezTo>
                      <a:pt x="407230" y="1038080"/>
                      <a:pt x="407230" y="1037413"/>
                      <a:pt x="406754" y="1037127"/>
                    </a:cubicBezTo>
                    <a:lnTo>
                      <a:pt x="404468" y="1035794"/>
                    </a:lnTo>
                    <a:cubicBezTo>
                      <a:pt x="403715" y="1035346"/>
                      <a:pt x="402868" y="1035089"/>
                      <a:pt x="401991" y="1035032"/>
                    </a:cubicBezTo>
                    <a:lnTo>
                      <a:pt x="401991" y="1035032"/>
                    </a:lnTo>
                    <a:lnTo>
                      <a:pt x="402848" y="1035032"/>
                    </a:lnTo>
                    <a:cubicBezTo>
                      <a:pt x="402848" y="1035032"/>
                      <a:pt x="404658" y="1036461"/>
                      <a:pt x="405515" y="1037032"/>
                    </a:cubicBezTo>
                    <a:close/>
                    <a:moveTo>
                      <a:pt x="323981" y="1008648"/>
                    </a:moveTo>
                    <a:lnTo>
                      <a:pt x="321981" y="1007695"/>
                    </a:lnTo>
                    <a:lnTo>
                      <a:pt x="321981" y="1007695"/>
                    </a:lnTo>
                    <a:cubicBezTo>
                      <a:pt x="322695" y="1008267"/>
                      <a:pt x="323505" y="1008714"/>
                      <a:pt x="324363" y="1009029"/>
                    </a:cubicBezTo>
                    <a:lnTo>
                      <a:pt x="324363" y="1009029"/>
                    </a:lnTo>
                    <a:cubicBezTo>
                      <a:pt x="324315" y="1008771"/>
                      <a:pt x="324181" y="1008533"/>
                      <a:pt x="323981" y="1008362"/>
                    </a:cubicBezTo>
                    <a:close/>
                    <a:moveTo>
                      <a:pt x="327220" y="1010553"/>
                    </a:moveTo>
                    <a:cubicBezTo>
                      <a:pt x="328706" y="1011619"/>
                      <a:pt x="330296" y="1012515"/>
                      <a:pt x="331982" y="1013220"/>
                    </a:cubicBezTo>
                    <a:cubicBezTo>
                      <a:pt x="331592" y="1012934"/>
                      <a:pt x="331173" y="1012677"/>
                      <a:pt x="330744" y="1012458"/>
                    </a:cubicBezTo>
                    <a:close/>
                    <a:moveTo>
                      <a:pt x="352938" y="1024459"/>
                    </a:moveTo>
                    <a:lnTo>
                      <a:pt x="352938" y="1024459"/>
                    </a:lnTo>
                    <a:cubicBezTo>
                      <a:pt x="353957" y="1025259"/>
                      <a:pt x="355119" y="1025840"/>
                      <a:pt x="356366" y="1026174"/>
                    </a:cubicBezTo>
                    <a:lnTo>
                      <a:pt x="354652" y="1025221"/>
                    </a:lnTo>
                    <a:close/>
                    <a:moveTo>
                      <a:pt x="295406" y="43670"/>
                    </a:moveTo>
                    <a:lnTo>
                      <a:pt x="295406" y="43670"/>
                    </a:lnTo>
                    <a:lnTo>
                      <a:pt x="291215" y="45765"/>
                    </a:lnTo>
                    <a:lnTo>
                      <a:pt x="284167" y="49480"/>
                    </a:lnTo>
                    <a:cubicBezTo>
                      <a:pt x="287977" y="47384"/>
                      <a:pt x="291787" y="45575"/>
                      <a:pt x="295406" y="43670"/>
                    </a:cubicBezTo>
                    <a:close/>
                    <a:moveTo>
                      <a:pt x="311885" y="1001885"/>
                    </a:moveTo>
                    <a:lnTo>
                      <a:pt x="310170" y="1000551"/>
                    </a:lnTo>
                    <a:cubicBezTo>
                      <a:pt x="308503" y="999494"/>
                      <a:pt x="306751" y="998570"/>
                      <a:pt x="304931" y="997789"/>
                    </a:cubicBezTo>
                    <a:cubicBezTo>
                      <a:pt x="304931" y="997789"/>
                      <a:pt x="304931" y="997789"/>
                      <a:pt x="306265" y="998932"/>
                    </a:cubicBezTo>
                    <a:cubicBezTo>
                      <a:pt x="309875" y="1001513"/>
                      <a:pt x="313733" y="1003714"/>
                      <a:pt x="317790" y="1005504"/>
                    </a:cubicBezTo>
                    <a:lnTo>
                      <a:pt x="317790" y="1005504"/>
                    </a:lnTo>
                    <a:lnTo>
                      <a:pt x="314171" y="1003313"/>
                    </a:lnTo>
                    <a:close/>
                    <a:moveTo>
                      <a:pt x="373512" y="14714"/>
                    </a:moveTo>
                    <a:lnTo>
                      <a:pt x="373512" y="14714"/>
                    </a:lnTo>
                    <a:lnTo>
                      <a:pt x="372559" y="15380"/>
                    </a:lnTo>
                    <a:lnTo>
                      <a:pt x="372559" y="15380"/>
                    </a:lnTo>
                    <a:cubicBezTo>
                      <a:pt x="372559" y="15380"/>
                      <a:pt x="379226" y="13190"/>
                      <a:pt x="379893" y="12904"/>
                    </a:cubicBezTo>
                    <a:lnTo>
                      <a:pt x="379893" y="12904"/>
                    </a:lnTo>
                    <a:cubicBezTo>
                      <a:pt x="380798" y="12656"/>
                      <a:pt x="381665" y="12266"/>
                      <a:pt x="382465" y="11761"/>
                    </a:cubicBezTo>
                    <a:lnTo>
                      <a:pt x="382465" y="11761"/>
                    </a:lnTo>
                    <a:cubicBezTo>
                      <a:pt x="380770" y="11885"/>
                      <a:pt x="379093" y="12266"/>
                      <a:pt x="377512" y="12904"/>
                    </a:cubicBezTo>
                    <a:close/>
                    <a:moveTo>
                      <a:pt x="22706" y="529064"/>
                    </a:moveTo>
                    <a:cubicBezTo>
                      <a:pt x="22706" y="529064"/>
                      <a:pt x="22706" y="530397"/>
                      <a:pt x="22706" y="530588"/>
                    </a:cubicBezTo>
                    <a:lnTo>
                      <a:pt x="22706" y="530588"/>
                    </a:lnTo>
                    <a:lnTo>
                      <a:pt x="22706" y="530588"/>
                    </a:lnTo>
                    <a:lnTo>
                      <a:pt x="22706" y="530588"/>
                    </a:lnTo>
                    <a:cubicBezTo>
                      <a:pt x="22744" y="530207"/>
                      <a:pt x="22744" y="529826"/>
                      <a:pt x="22706" y="529445"/>
                    </a:cubicBezTo>
                    <a:cubicBezTo>
                      <a:pt x="22810" y="529264"/>
                      <a:pt x="22810" y="529054"/>
                      <a:pt x="22706" y="528873"/>
                    </a:cubicBezTo>
                    <a:cubicBezTo>
                      <a:pt x="22534" y="528464"/>
                      <a:pt x="22315" y="528083"/>
                      <a:pt x="22039" y="527730"/>
                    </a:cubicBezTo>
                    <a:cubicBezTo>
                      <a:pt x="22039" y="527730"/>
                      <a:pt x="22706" y="528873"/>
                      <a:pt x="22706" y="528873"/>
                    </a:cubicBezTo>
                    <a:close/>
                    <a:moveTo>
                      <a:pt x="35755" y="561354"/>
                    </a:moveTo>
                    <a:lnTo>
                      <a:pt x="35755" y="561354"/>
                    </a:lnTo>
                    <a:cubicBezTo>
                      <a:pt x="35145" y="561782"/>
                      <a:pt x="34402" y="561982"/>
                      <a:pt x="33659" y="561925"/>
                    </a:cubicBezTo>
                    <a:lnTo>
                      <a:pt x="33659" y="562782"/>
                    </a:lnTo>
                    <a:cubicBezTo>
                      <a:pt x="34183" y="564059"/>
                      <a:pt x="34793" y="565297"/>
                      <a:pt x="35469" y="566497"/>
                    </a:cubicBezTo>
                    <a:cubicBezTo>
                      <a:pt x="35469" y="566497"/>
                      <a:pt x="36326" y="568212"/>
                      <a:pt x="37184" y="567545"/>
                    </a:cubicBezTo>
                    <a:cubicBezTo>
                      <a:pt x="38041" y="566878"/>
                      <a:pt x="37184" y="566783"/>
                      <a:pt x="37184" y="566497"/>
                    </a:cubicBezTo>
                    <a:cubicBezTo>
                      <a:pt x="37184" y="566211"/>
                      <a:pt x="37660" y="566497"/>
                      <a:pt x="37946" y="566497"/>
                    </a:cubicBezTo>
                    <a:cubicBezTo>
                      <a:pt x="38231" y="566497"/>
                      <a:pt x="37946" y="566497"/>
                      <a:pt x="38612" y="566497"/>
                    </a:cubicBezTo>
                    <a:lnTo>
                      <a:pt x="39374" y="566497"/>
                    </a:lnTo>
                    <a:cubicBezTo>
                      <a:pt x="39584" y="566602"/>
                      <a:pt x="39832" y="566602"/>
                      <a:pt x="40041" y="566497"/>
                    </a:cubicBezTo>
                    <a:cubicBezTo>
                      <a:pt x="40041" y="565640"/>
                      <a:pt x="38708" y="563640"/>
                      <a:pt x="38231" y="562973"/>
                    </a:cubicBezTo>
                    <a:cubicBezTo>
                      <a:pt x="37688" y="562058"/>
                      <a:pt x="36793" y="561401"/>
                      <a:pt x="35755" y="561163"/>
                    </a:cubicBezTo>
                    <a:close/>
                    <a:moveTo>
                      <a:pt x="44327" y="548780"/>
                    </a:moveTo>
                    <a:cubicBezTo>
                      <a:pt x="44804" y="548361"/>
                      <a:pt x="45108" y="547790"/>
                      <a:pt x="45185" y="547161"/>
                    </a:cubicBezTo>
                    <a:cubicBezTo>
                      <a:pt x="45270" y="546952"/>
                      <a:pt x="45270" y="546704"/>
                      <a:pt x="45185" y="546495"/>
                    </a:cubicBezTo>
                    <a:cubicBezTo>
                      <a:pt x="44708" y="545447"/>
                      <a:pt x="43565" y="544971"/>
                      <a:pt x="42899" y="544113"/>
                    </a:cubicBezTo>
                    <a:cubicBezTo>
                      <a:pt x="42232" y="543256"/>
                      <a:pt x="41851" y="540113"/>
                      <a:pt x="40898" y="538208"/>
                    </a:cubicBezTo>
                    <a:cubicBezTo>
                      <a:pt x="39946" y="536303"/>
                      <a:pt x="39660" y="537065"/>
                      <a:pt x="38993" y="536398"/>
                    </a:cubicBezTo>
                    <a:cubicBezTo>
                      <a:pt x="38365" y="535379"/>
                      <a:pt x="37850" y="534293"/>
                      <a:pt x="37469" y="533159"/>
                    </a:cubicBezTo>
                    <a:cubicBezTo>
                      <a:pt x="37469" y="533159"/>
                      <a:pt x="34136" y="525730"/>
                      <a:pt x="33850" y="525349"/>
                    </a:cubicBezTo>
                    <a:lnTo>
                      <a:pt x="33850" y="525349"/>
                    </a:lnTo>
                    <a:cubicBezTo>
                      <a:pt x="33850" y="526016"/>
                      <a:pt x="33850" y="526683"/>
                      <a:pt x="33850" y="527349"/>
                    </a:cubicBezTo>
                    <a:cubicBezTo>
                      <a:pt x="32669" y="525740"/>
                      <a:pt x="31707" y="523977"/>
                      <a:pt x="30992" y="522111"/>
                    </a:cubicBezTo>
                    <a:cubicBezTo>
                      <a:pt x="30573" y="521072"/>
                      <a:pt x="30002" y="520110"/>
                      <a:pt x="29278" y="519253"/>
                    </a:cubicBezTo>
                    <a:lnTo>
                      <a:pt x="25087" y="516586"/>
                    </a:lnTo>
                    <a:cubicBezTo>
                      <a:pt x="23658" y="517510"/>
                      <a:pt x="22639" y="518939"/>
                      <a:pt x="22230" y="520587"/>
                    </a:cubicBezTo>
                    <a:cubicBezTo>
                      <a:pt x="21829" y="522101"/>
                      <a:pt x="21048" y="523482"/>
                      <a:pt x="19943" y="524587"/>
                    </a:cubicBezTo>
                    <a:cubicBezTo>
                      <a:pt x="19943" y="525159"/>
                      <a:pt x="19943" y="526587"/>
                      <a:pt x="21753" y="526302"/>
                    </a:cubicBezTo>
                    <a:cubicBezTo>
                      <a:pt x="23563" y="526016"/>
                      <a:pt x="21753" y="523634"/>
                      <a:pt x="22991" y="523063"/>
                    </a:cubicBezTo>
                    <a:cubicBezTo>
                      <a:pt x="24230" y="522492"/>
                      <a:pt x="24039" y="523063"/>
                      <a:pt x="24896" y="522587"/>
                    </a:cubicBezTo>
                    <a:cubicBezTo>
                      <a:pt x="25754" y="522111"/>
                      <a:pt x="26230" y="522587"/>
                      <a:pt x="26230" y="523254"/>
                    </a:cubicBezTo>
                    <a:cubicBezTo>
                      <a:pt x="26230" y="523920"/>
                      <a:pt x="26230" y="523254"/>
                      <a:pt x="25754" y="523254"/>
                    </a:cubicBezTo>
                    <a:cubicBezTo>
                      <a:pt x="25277" y="523254"/>
                      <a:pt x="26611" y="527254"/>
                      <a:pt x="26706" y="527349"/>
                    </a:cubicBezTo>
                    <a:cubicBezTo>
                      <a:pt x="26801" y="527445"/>
                      <a:pt x="27849" y="528302"/>
                      <a:pt x="28230" y="527826"/>
                    </a:cubicBezTo>
                    <a:cubicBezTo>
                      <a:pt x="28611" y="527349"/>
                      <a:pt x="28802" y="527826"/>
                      <a:pt x="28992" y="527826"/>
                    </a:cubicBezTo>
                    <a:cubicBezTo>
                      <a:pt x="29183" y="527826"/>
                      <a:pt x="28992" y="530302"/>
                      <a:pt x="29468" y="531445"/>
                    </a:cubicBezTo>
                    <a:cubicBezTo>
                      <a:pt x="29945" y="532588"/>
                      <a:pt x="31850" y="532969"/>
                      <a:pt x="32707" y="534207"/>
                    </a:cubicBezTo>
                    <a:cubicBezTo>
                      <a:pt x="33564" y="535446"/>
                      <a:pt x="32707" y="536684"/>
                      <a:pt x="33850" y="537732"/>
                    </a:cubicBezTo>
                    <a:cubicBezTo>
                      <a:pt x="34993" y="538779"/>
                      <a:pt x="34993" y="537732"/>
                      <a:pt x="35279" y="538589"/>
                    </a:cubicBezTo>
                    <a:cubicBezTo>
                      <a:pt x="35422" y="539437"/>
                      <a:pt x="35422" y="540313"/>
                      <a:pt x="35279" y="541161"/>
                    </a:cubicBezTo>
                    <a:cubicBezTo>
                      <a:pt x="35279" y="541923"/>
                      <a:pt x="36041" y="542589"/>
                      <a:pt x="36231" y="543447"/>
                    </a:cubicBezTo>
                    <a:cubicBezTo>
                      <a:pt x="36260" y="544351"/>
                      <a:pt x="35955" y="545228"/>
                      <a:pt x="35374" y="545923"/>
                    </a:cubicBezTo>
                    <a:cubicBezTo>
                      <a:pt x="34898" y="546685"/>
                      <a:pt x="35374" y="548495"/>
                      <a:pt x="35374" y="548495"/>
                    </a:cubicBezTo>
                    <a:cubicBezTo>
                      <a:pt x="36545" y="549047"/>
                      <a:pt x="37803" y="549400"/>
                      <a:pt x="39089" y="549543"/>
                    </a:cubicBezTo>
                    <a:lnTo>
                      <a:pt x="41375" y="548876"/>
                    </a:lnTo>
                    <a:cubicBezTo>
                      <a:pt x="42518" y="548304"/>
                      <a:pt x="43470" y="548971"/>
                      <a:pt x="44327" y="548590"/>
                    </a:cubicBezTo>
                    <a:close/>
                    <a:moveTo>
                      <a:pt x="415803" y="1047129"/>
                    </a:moveTo>
                    <a:lnTo>
                      <a:pt x="415803" y="1047129"/>
                    </a:lnTo>
                    <a:lnTo>
                      <a:pt x="410849" y="1045700"/>
                    </a:lnTo>
                    <a:lnTo>
                      <a:pt x="410849" y="1045700"/>
                    </a:lnTo>
                    <a:lnTo>
                      <a:pt x="411612" y="1045700"/>
                    </a:lnTo>
                    <a:lnTo>
                      <a:pt x="415422" y="1047033"/>
                    </a:lnTo>
                    <a:cubicBezTo>
                      <a:pt x="415422" y="1047033"/>
                      <a:pt x="416183" y="1047033"/>
                      <a:pt x="416183" y="1046938"/>
                    </a:cubicBezTo>
                    <a:close/>
                    <a:moveTo>
                      <a:pt x="38327" y="484487"/>
                    </a:moveTo>
                    <a:lnTo>
                      <a:pt x="37565" y="484963"/>
                    </a:lnTo>
                    <a:lnTo>
                      <a:pt x="36803" y="485820"/>
                    </a:lnTo>
                    <a:lnTo>
                      <a:pt x="36803" y="485820"/>
                    </a:lnTo>
                    <a:lnTo>
                      <a:pt x="36803" y="485820"/>
                    </a:lnTo>
                    <a:cubicBezTo>
                      <a:pt x="36803" y="485820"/>
                      <a:pt x="36326" y="487059"/>
                      <a:pt x="36803" y="487725"/>
                    </a:cubicBezTo>
                    <a:cubicBezTo>
                      <a:pt x="37279" y="488392"/>
                      <a:pt x="36803" y="487725"/>
                      <a:pt x="36803" y="487725"/>
                    </a:cubicBezTo>
                    <a:lnTo>
                      <a:pt x="36803" y="487725"/>
                    </a:lnTo>
                    <a:lnTo>
                      <a:pt x="37374" y="487725"/>
                    </a:lnTo>
                    <a:cubicBezTo>
                      <a:pt x="37650" y="487611"/>
                      <a:pt x="37936" y="487544"/>
                      <a:pt x="38231" y="487535"/>
                    </a:cubicBezTo>
                    <a:cubicBezTo>
                      <a:pt x="38765" y="486887"/>
                      <a:pt x="39098" y="486087"/>
                      <a:pt x="39184" y="485249"/>
                    </a:cubicBezTo>
                    <a:lnTo>
                      <a:pt x="39184" y="485249"/>
                    </a:lnTo>
                    <a:cubicBezTo>
                      <a:pt x="38898" y="484392"/>
                      <a:pt x="38803" y="484392"/>
                      <a:pt x="38708" y="484296"/>
                    </a:cubicBezTo>
                    <a:close/>
                    <a:moveTo>
                      <a:pt x="34993" y="504108"/>
                    </a:moveTo>
                    <a:lnTo>
                      <a:pt x="34993" y="505251"/>
                    </a:lnTo>
                    <a:cubicBezTo>
                      <a:pt x="35145" y="505709"/>
                      <a:pt x="35336" y="506156"/>
                      <a:pt x="35564" y="506585"/>
                    </a:cubicBezTo>
                    <a:cubicBezTo>
                      <a:pt x="35612" y="507061"/>
                      <a:pt x="35612" y="507537"/>
                      <a:pt x="35564" y="508013"/>
                    </a:cubicBezTo>
                    <a:cubicBezTo>
                      <a:pt x="35564" y="508013"/>
                      <a:pt x="35564" y="508013"/>
                      <a:pt x="35564" y="508013"/>
                    </a:cubicBezTo>
                    <a:cubicBezTo>
                      <a:pt x="35564" y="508013"/>
                      <a:pt x="35564" y="508013"/>
                      <a:pt x="35564" y="508013"/>
                    </a:cubicBezTo>
                    <a:cubicBezTo>
                      <a:pt x="35564" y="508013"/>
                      <a:pt x="35564" y="506013"/>
                      <a:pt x="35564" y="505061"/>
                    </a:cubicBezTo>
                    <a:cubicBezTo>
                      <a:pt x="35564" y="504108"/>
                      <a:pt x="35564" y="504013"/>
                      <a:pt x="35564" y="503442"/>
                    </a:cubicBezTo>
                    <a:cubicBezTo>
                      <a:pt x="35564" y="502870"/>
                      <a:pt x="34136" y="501441"/>
                      <a:pt x="34136" y="501441"/>
                    </a:cubicBezTo>
                    <a:cubicBezTo>
                      <a:pt x="34421" y="502327"/>
                      <a:pt x="34841" y="503156"/>
                      <a:pt x="35374" y="503918"/>
                    </a:cubicBezTo>
                    <a:close/>
                    <a:moveTo>
                      <a:pt x="73950" y="566878"/>
                    </a:moveTo>
                    <a:cubicBezTo>
                      <a:pt x="73598" y="566345"/>
                      <a:pt x="73217" y="565840"/>
                      <a:pt x="72807" y="565354"/>
                    </a:cubicBezTo>
                    <a:lnTo>
                      <a:pt x="72807" y="565354"/>
                    </a:lnTo>
                    <a:lnTo>
                      <a:pt x="72807" y="565354"/>
                    </a:lnTo>
                    <a:cubicBezTo>
                      <a:pt x="72807" y="565354"/>
                      <a:pt x="72807" y="565354"/>
                      <a:pt x="70426" y="565354"/>
                    </a:cubicBezTo>
                    <a:cubicBezTo>
                      <a:pt x="70426" y="565354"/>
                      <a:pt x="68807" y="565354"/>
                      <a:pt x="68711" y="566116"/>
                    </a:cubicBezTo>
                    <a:cubicBezTo>
                      <a:pt x="68664" y="567602"/>
                      <a:pt x="68892" y="569088"/>
                      <a:pt x="69378" y="570498"/>
                    </a:cubicBezTo>
                    <a:cubicBezTo>
                      <a:pt x="69759" y="570888"/>
                      <a:pt x="70264" y="571126"/>
                      <a:pt x="70807" y="571164"/>
                    </a:cubicBezTo>
                    <a:cubicBezTo>
                      <a:pt x="71759" y="571164"/>
                      <a:pt x="72807" y="571164"/>
                      <a:pt x="73855" y="571164"/>
                    </a:cubicBezTo>
                    <a:cubicBezTo>
                      <a:pt x="74903" y="571164"/>
                      <a:pt x="74617" y="571736"/>
                      <a:pt x="75093" y="571736"/>
                    </a:cubicBezTo>
                    <a:lnTo>
                      <a:pt x="75093" y="571736"/>
                    </a:lnTo>
                    <a:cubicBezTo>
                      <a:pt x="75093" y="571736"/>
                      <a:pt x="76236" y="570021"/>
                      <a:pt x="76331" y="569736"/>
                    </a:cubicBezTo>
                    <a:cubicBezTo>
                      <a:pt x="76427" y="569450"/>
                      <a:pt x="76331" y="568974"/>
                      <a:pt x="75474" y="568593"/>
                    </a:cubicBezTo>
                    <a:cubicBezTo>
                      <a:pt x="74855" y="568126"/>
                      <a:pt x="74446" y="567450"/>
                      <a:pt x="74331" y="566688"/>
                    </a:cubicBezTo>
                    <a:close/>
                    <a:moveTo>
                      <a:pt x="43089" y="507537"/>
                    </a:moveTo>
                    <a:cubicBezTo>
                      <a:pt x="43089" y="505537"/>
                      <a:pt x="42232" y="503918"/>
                      <a:pt x="41946" y="502108"/>
                    </a:cubicBezTo>
                    <a:cubicBezTo>
                      <a:pt x="41660" y="500298"/>
                      <a:pt x="41946" y="497917"/>
                      <a:pt x="41280" y="495821"/>
                    </a:cubicBezTo>
                    <a:lnTo>
                      <a:pt x="41280" y="495821"/>
                    </a:lnTo>
                    <a:cubicBezTo>
                      <a:pt x="41280" y="495250"/>
                      <a:pt x="41280" y="495155"/>
                      <a:pt x="41280" y="495059"/>
                    </a:cubicBezTo>
                    <a:cubicBezTo>
                      <a:pt x="40946" y="498222"/>
                      <a:pt x="40946" y="501422"/>
                      <a:pt x="41280" y="504584"/>
                    </a:cubicBezTo>
                    <a:cubicBezTo>
                      <a:pt x="41451" y="505804"/>
                      <a:pt x="41937" y="506956"/>
                      <a:pt x="42708" y="507918"/>
                    </a:cubicBezTo>
                    <a:close/>
                    <a:moveTo>
                      <a:pt x="400563" y="1036270"/>
                    </a:moveTo>
                    <a:lnTo>
                      <a:pt x="400563" y="1036270"/>
                    </a:lnTo>
                    <a:cubicBezTo>
                      <a:pt x="400991" y="1036423"/>
                      <a:pt x="401410" y="1036613"/>
                      <a:pt x="401801" y="1036842"/>
                    </a:cubicBezTo>
                    <a:lnTo>
                      <a:pt x="403325" y="1037699"/>
                    </a:lnTo>
                    <a:lnTo>
                      <a:pt x="405515" y="1038556"/>
                    </a:lnTo>
                    <a:cubicBezTo>
                      <a:pt x="404944" y="1037984"/>
                      <a:pt x="404754" y="1037889"/>
                      <a:pt x="404658" y="1037604"/>
                    </a:cubicBezTo>
                    <a:lnTo>
                      <a:pt x="404658" y="1037604"/>
                    </a:lnTo>
                    <a:cubicBezTo>
                      <a:pt x="404658" y="1037604"/>
                      <a:pt x="404658" y="1037604"/>
                      <a:pt x="404658" y="1037604"/>
                    </a:cubicBezTo>
                    <a:lnTo>
                      <a:pt x="403230" y="1036746"/>
                    </a:lnTo>
                    <a:lnTo>
                      <a:pt x="402658" y="1036746"/>
                    </a:lnTo>
                    <a:lnTo>
                      <a:pt x="400467" y="1036746"/>
                    </a:lnTo>
                    <a:close/>
                    <a:moveTo>
                      <a:pt x="39660" y="492107"/>
                    </a:moveTo>
                    <a:lnTo>
                      <a:pt x="39660" y="492107"/>
                    </a:lnTo>
                    <a:cubicBezTo>
                      <a:pt x="40146" y="490459"/>
                      <a:pt x="40470" y="488773"/>
                      <a:pt x="40613" y="487059"/>
                    </a:cubicBezTo>
                    <a:cubicBezTo>
                      <a:pt x="40613" y="484487"/>
                      <a:pt x="39755" y="483630"/>
                      <a:pt x="39755" y="483630"/>
                    </a:cubicBezTo>
                    <a:cubicBezTo>
                      <a:pt x="39755" y="483630"/>
                      <a:pt x="39279" y="484296"/>
                      <a:pt x="39755" y="485058"/>
                    </a:cubicBezTo>
                    <a:cubicBezTo>
                      <a:pt x="39717" y="485306"/>
                      <a:pt x="39717" y="485573"/>
                      <a:pt x="39755" y="485820"/>
                    </a:cubicBezTo>
                    <a:cubicBezTo>
                      <a:pt x="39870" y="486830"/>
                      <a:pt x="39870" y="487859"/>
                      <a:pt x="39755" y="488868"/>
                    </a:cubicBezTo>
                    <a:cubicBezTo>
                      <a:pt x="40327" y="489725"/>
                      <a:pt x="40136" y="490869"/>
                      <a:pt x="40041" y="491916"/>
                    </a:cubicBezTo>
                    <a:close/>
                    <a:moveTo>
                      <a:pt x="48518" y="562878"/>
                    </a:moveTo>
                    <a:cubicBezTo>
                      <a:pt x="47756" y="562878"/>
                      <a:pt x="48518" y="561354"/>
                      <a:pt x="47566" y="560973"/>
                    </a:cubicBezTo>
                    <a:lnTo>
                      <a:pt x="47566" y="560973"/>
                    </a:lnTo>
                    <a:cubicBezTo>
                      <a:pt x="46804" y="562306"/>
                      <a:pt x="45947" y="563068"/>
                      <a:pt x="45661" y="562687"/>
                    </a:cubicBezTo>
                    <a:lnTo>
                      <a:pt x="45661" y="562687"/>
                    </a:lnTo>
                    <a:cubicBezTo>
                      <a:pt x="45613" y="564516"/>
                      <a:pt x="46337" y="566278"/>
                      <a:pt x="47661" y="567545"/>
                    </a:cubicBezTo>
                    <a:cubicBezTo>
                      <a:pt x="48614" y="566878"/>
                      <a:pt x="47661" y="564973"/>
                      <a:pt x="48995" y="564783"/>
                    </a:cubicBezTo>
                    <a:cubicBezTo>
                      <a:pt x="50328" y="564592"/>
                      <a:pt x="50328" y="564783"/>
                      <a:pt x="50995" y="564783"/>
                    </a:cubicBezTo>
                    <a:cubicBezTo>
                      <a:pt x="51662" y="564783"/>
                      <a:pt x="51947" y="564211"/>
                      <a:pt x="52614" y="566116"/>
                    </a:cubicBezTo>
                    <a:cubicBezTo>
                      <a:pt x="52995" y="566973"/>
                      <a:pt x="53281" y="567869"/>
                      <a:pt x="53471" y="568783"/>
                    </a:cubicBezTo>
                    <a:cubicBezTo>
                      <a:pt x="53471" y="569831"/>
                      <a:pt x="53471" y="569926"/>
                      <a:pt x="54043" y="569926"/>
                    </a:cubicBezTo>
                    <a:cubicBezTo>
                      <a:pt x="54843" y="568907"/>
                      <a:pt x="55338" y="567688"/>
                      <a:pt x="55472" y="566402"/>
                    </a:cubicBezTo>
                    <a:cubicBezTo>
                      <a:pt x="55472" y="565068"/>
                      <a:pt x="57377" y="563830"/>
                      <a:pt x="57758" y="564116"/>
                    </a:cubicBezTo>
                    <a:lnTo>
                      <a:pt x="61091" y="565735"/>
                    </a:lnTo>
                    <a:cubicBezTo>
                      <a:pt x="61406" y="566040"/>
                      <a:pt x="61806" y="566240"/>
                      <a:pt x="62234" y="566307"/>
                    </a:cubicBezTo>
                    <a:cubicBezTo>
                      <a:pt x="63263" y="566545"/>
                      <a:pt x="64282" y="565906"/>
                      <a:pt x="64520" y="564878"/>
                    </a:cubicBezTo>
                    <a:cubicBezTo>
                      <a:pt x="64520" y="564878"/>
                      <a:pt x="64520" y="564878"/>
                      <a:pt x="64520" y="564878"/>
                    </a:cubicBezTo>
                    <a:cubicBezTo>
                      <a:pt x="64444" y="563544"/>
                      <a:pt x="64082" y="562249"/>
                      <a:pt x="63473" y="561068"/>
                    </a:cubicBezTo>
                    <a:lnTo>
                      <a:pt x="59282" y="556591"/>
                    </a:lnTo>
                    <a:cubicBezTo>
                      <a:pt x="58977" y="556477"/>
                      <a:pt x="58634" y="556477"/>
                      <a:pt x="58329" y="556591"/>
                    </a:cubicBezTo>
                    <a:lnTo>
                      <a:pt x="58329" y="556591"/>
                    </a:lnTo>
                    <a:cubicBezTo>
                      <a:pt x="57758" y="556591"/>
                      <a:pt x="57186" y="556591"/>
                      <a:pt x="57377" y="551829"/>
                    </a:cubicBezTo>
                    <a:cubicBezTo>
                      <a:pt x="57377" y="550781"/>
                      <a:pt x="57377" y="549828"/>
                      <a:pt x="53948" y="549543"/>
                    </a:cubicBezTo>
                    <a:cubicBezTo>
                      <a:pt x="52805" y="549543"/>
                      <a:pt x="52328" y="551829"/>
                      <a:pt x="50995" y="551067"/>
                    </a:cubicBezTo>
                    <a:cubicBezTo>
                      <a:pt x="49661" y="550305"/>
                      <a:pt x="48614" y="549828"/>
                      <a:pt x="48137" y="550019"/>
                    </a:cubicBezTo>
                    <a:cubicBezTo>
                      <a:pt x="47423" y="550943"/>
                      <a:pt x="47423" y="552238"/>
                      <a:pt x="48137" y="553162"/>
                    </a:cubicBezTo>
                    <a:cubicBezTo>
                      <a:pt x="48137" y="553924"/>
                      <a:pt x="49471" y="553162"/>
                      <a:pt x="50138" y="553829"/>
                    </a:cubicBezTo>
                    <a:lnTo>
                      <a:pt x="50709" y="553829"/>
                    </a:lnTo>
                    <a:cubicBezTo>
                      <a:pt x="50709" y="553829"/>
                      <a:pt x="50709" y="553829"/>
                      <a:pt x="50709" y="553829"/>
                    </a:cubicBezTo>
                    <a:cubicBezTo>
                      <a:pt x="50233" y="555019"/>
                      <a:pt x="49947" y="556267"/>
                      <a:pt x="49852" y="557544"/>
                    </a:cubicBezTo>
                    <a:cubicBezTo>
                      <a:pt x="49690" y="558458"/>
                      <a:pt x="49690" y="559391"/>
                      <a:pt x="49852" y="560306"/>
                    </a:cubicBezTo>
                    <a:cubicBezTo>
                      <a:pt x="50042" y="560992"/>
                      <a:pt x="50042" y="561715"/>
                      <a:pt x="49852" y="562401"/>
                    </a:cubicBezTo>
                    <a:cubicBezTo>
                      <a:pt x="49852" y="562401"/>
                      <a:pt x="49280" y="562782"/>
                      <a:pt x="48899" y="562687"/>
                    </a:cubicBezTo>
                    <a:close/>
                    <a:moveTo>
                      <a:pt x="156722" y="205976"/>
                    </a:moveTo>
                    <a:lnTo>
                      <a:pt x="154532" y="209024"/>
                    </a:lnTo>
                    <a:cubicBezTo>
                      <a:pt x="153960" y="209786"/>
                      <a:pt x="153865" y="210071"/>
                      <a:pt x="153865" y="210262"/>
                    </a:cubicBezTo>
                    <a:lnTo>
                      <a:pt x="153865" y="210262"/>
                    </a:lnTo>
                    <a:cubicBezTo>
                      <a:pt x="156332" y="208481"/>
                      <a:pt x="158570" y="206404"/>
                      <a:pt x="160532" y="204071"/>
                    </a:cubicBezTo>
                    <a:cubicBezTo>
                      <a:pt x="161199" y="203213"/>
                      <a:pt x="161485" y="202166"/>
                      <a:pt x="161199" y="202071"/>
                    </a:cubicBezTo>
                    <a:cubicBezTo>
                      <a:pt x="159828" y="202671"/>
                      <a:pt x="158628" y="203585"/>
                      <a:pt x="157675" y="204738"/>
                    </a:cubicBezTo>
                    <a:cubicBezTo>
                      <a:pt x="157446" y="205061"/>
                      <a:pt x="157256" y="205414"/>
                      <a:pt x="157104" y="205785"/>
                    </a:cubicBezTo>
                    <a:close/>
                    <a:moveTo>
                      <a:pt x="260164" y="76817"/>
                    </a:moveTo>
                    <a:cubicBezTo>
                      <a:pt x="259107" y="77369"/>
                      <a:pt x="258116" y="78046"/>
                      <a:pt x="257211" y="78817"/>
                    </a:cubicBezTo>
                    <a:lnTo>
                      <a:pt x="257211" y="78817"/>
                    </a:lnTo>
                    <a:lnTo>
                      <a:pt x="257878" y="78817"/>
                    </a:lnTo>
                    <a:lnTo>
                      <a:pt x="257878" y="78817"/>
                    </a:lnTo>
                    <a:lnTo>
                      <a:pt x="257878" y="78817"/>
                    </a:lnTo>
                    <a:lnTo>
                      <a:pt x="257878" y="78817"/>
                    </a:lnTo>
                    <a:lnTo>
                      <a:pt x="258640" y="78246"/>
                    </a:lnTo>
                    <a:cubicBezTo>
                      <a:pt x="260735" y="76721"/>
                      <a:pt x="260640" y="76626"/>
                      <a:pt x="260545" y="76626"/>
                    </a:cubicBezTo>
                    <a:close/>
                    <a:moveTo>
                      <a:pt x="257878" y="77388"/>
                    </a:moveTo>
                    <a:cubicBezTo>
                      <a:pt x="257402" y="77388"/>
                      <a:pt x="255211" y="78817"/>
                      <a:pt x="255116" y="79293"/>
                    </a:cubicBezTo>
                    <a:lnTo>
                      <a:pt x="255116" y="79293"/>
                    </a:lnTo>
                    <a:lnTo>
                      <a:pt x="256545" y="78341"/>
                    </a:lnTo>
                    <a:lnTo>
                      <a:pt x="257021" y="78341"/>
                    </a:lnTo>
                    <a:lnTo>
                      <a:pt x="257021" y="78341"/>
                    </a:lnTo>
                    <a:cubicBezTo>
                      <a:pt x="257021" y="78341"/>
                      <a:pt x="258449" y="77198"/>
                      <a:pt x="258259" y="77198"/>
                    </a:cubicBezTo>
                    <a:close/>
                    <a:moveTo>
                      <a:pt x="423994" y="1048938"/>
                    </a:moveTo>
                    <a:cubicBezTo>
                      <a:pt x="426089" y="1048938"/>
                      <a:pt x="426089" y="1048938"/>
                      <a:pt x="426280" y="1048938"/>
                    </a:cubicBezTo>
                    <a:cubicBezTo>
                      <a:pt x="425908" y="1048672"/>
                      <a:pt x="425489" y="1048472"/>
                      <a:pt x="425042" y="1048367"/>
                    </a:cubicBezTo>
                    <a:lnTo>
                      <a:pt x="423613" y="1047891"/>
                    </a:lnTo>
                    <a:cubicBezTo>
                      <a:pt x="421898" y="1047414"/>
                      <a:pt x="419993" y="1047319"/>
                      <a:pt x="418184" y="1046748"/>
                    </a:cubicBezTo>
                    <a:cubicBezTo>
                      <a:pt x="416374" y="1046176"/>
                      <a:pt x="413135" y="1045319"/>
                      <a:pt x="409897" y="1044271"/>
                    </a:cubicBezTo>
                    <a:cubicBezTo>
                      <a:pt x="408373" y="1043700"/>
                      <a:pt x="408278" y="1043700"/>
                      <a:pt x="408087" y="1043795"/>
                    </a:cubicBezTo>
                    <a:lnTo>
                      <a:pt x="408087" y="1043795"/>
                    </a:lnTo>
                    <a:cubicBezTo>
                      <a:pt x="405792" y="1042823"/>
                      <a:pt x="403439" y="1042004"/>
                      <a:pt x="401039" y="1041318"/>
                    </a:cubicBezTo>
                    <a:cubicBezTo>
                      <a:pt x="401039" y="1041795"/>
                      <a:pt x="401991" y="1041795"/>
                      <a:pt x="402372" y="1042080"/>
                    </a:cubicBezTo>
                    <a:lnTo>
                      <a:pt x="402372" y="1042080"/>
                    </a:lnTo>
                    <a:lnTo>
                      <a:pt x="403991" y="1042842"/>
                    </a:lnTo>
                    <a:lnTo>
                      <a:pt x="403991" y="1042842"/>
                    </a:lnTo>
                    <a:cubicBezTo>
                      <a:pt x="339507" y="1017315"/>
                      <a:pt x="318266" y="995217"/>
                      <a:pt x="302550" y="979311"/>
                    </a:cubicBezTo>
                    <a:lnTo>
                      <a:pt x="305503" y="975215"/>
                    </a:lnTo>
                    <a:cubicBezTo>
                      <a:pt x="298321" y="967557"/>
                      <a:pt x="290482" y="960546"/>
                      <a:pt x="282072" y="954260"/>
                    </a:cubicBezTo>
                    <a:lnTo>
                      <a:pt x="287310" y="955784"/>
                    </a:lnTo>
                    <a:lnTo>
                      <a:pt x="291311" y="952259"/>
                    </a:lnTo>
                    <a:cubicBezTo>
                      <a:pt x="260640" y="897586"/>
                      <a:pt x="260640" y="897586"/>
                      <a:pt x="269213" y="883203"/>
                    </a:cubicBezTo>
                    <a:lnTo>
                      <a:pt x="274547" y="883203"/>
                    </a:lnTo>
                    <a:cubicBezTo>
                      <a:pt x="282738" y="856248"/>
                      <a:pt x="261402" y="837769"/>
                      <a:pt x="255021" y="815004"/>
                    </a:cubicBezTo>
                    <a:cubicBezTo>
                      <a:pt x="259878" y="807194"/>
                      <a:pt x="267593" y="792335"/>
                      <a:pt x="264546" y="780619"/>
                    </a:cubicBezTo>
                    <a:cubicBezTo>
                      <a:pt x="252544" y="739757"/>
                      <a:pt x="200728" y="742519"/>
                      <a:pt x="200252" y="742519"/>
                    </a:cubicBezTo>
                    <a:cubicBezTo>
                      <a:pt x="198347" y="737376"/>
                      <a:pt x="196156" y="731565"/>
                      <a:pt x="180249" y="728517"/>
                    </a:cubicBezTo>
                    <a:lnTo>
                      <a:pt x="175963" y="731375"/>
                    </a:lnTo>
                    <a:cubicBezTo>
                      <a:pt x="175963" y="730041"/>
                      <a:pt x="175963" y="728327"/>
                      <a:pt x="175963" y="726993"/>
                    </a:cubicBezTo>
                    <a:cubicBezTo>
                      <a:pt x="171391" y="722136"/>
                      <a:pt x="171391" y="722136"/>
                      <a:pt x="161961" y="723564"/>
                    </a:cubicBezTo>
                    <a:cubicBezTo>
                      <a:pt x="165295" y="708229"/>
                      <a:pt x="154722" y="685464"/>
                      <a:pt x="131862" y="674130"/>
                    </a:cubicBezTo>
                    <a:cubicBezTo>
                      <a:pt x="128776" y="675206"/>
                      <a:pt x="125423" y="675206"/>
                      <a:pt x="122337" y="674130"/>
                    </a:cubicBezTo>
                    <a:cubicBezTo>
                      <a:pt x="116432" y="657270"/>
                      <a:pt x="98620" y="649936"/>
                      <a:pt x="90524" y="634696"/>
                    </a:cubicBezTo>
                    <a:lnTo>
                      <a:pt x="85285" y="634696"/>
                    </a:lnTo>
                    <a:lnTo>
                      <a:pt x="81761" y="638411"/>
                    </a:lnTo>
                    <a:lnTo>
                      <a:pt x="79094" y="634029"/>
                    </a:lnTo>
                    <a:cubicBezTo>
                      <a:pt x="72236" y="632696"/>
                      <a:pt x="68616" y="626695"/>
                      <a:pt x="63282" y="623171"/>
                    </a:cubicBezTo>
                    <a:cubicBezTo>
                      <a:pt x="60710" y="630029"/>
                      <a:pt x="60710" y="630029"/>
                      <a:pt x="62139" y="643840"/>
                    </a:cubicBezTo>
                    <a:cubicBezTo>
                      <a:pt x="57186" y="636506"/>
                      <a:pt x="58615" y="627457"/>
                      <a:pt x="55757" y="619647"/>
                    </a:cubicBezTo>
                    <a:cubicBezTo>
                      <a:pt x="54100" y="622628"/>
                      <a:pt x="51938" y="625304"/>
                      <a:pt x="49376" y="627552"/>
                    </a:cubicBezTo>
                    <a:cubicBezTo>
                      <a:pt x="50042" y="636030"/>
                      <a:pt x="47280" y="644412"/>
                      <a:pt x="47947" y="652889"/>
                    </a:cubicBezTo>
                    <a:cubicBezTo>
                      <a:pt x="44423" y="644221"/>
                      <a:pt x="44423" y="644221"/>
                      <a:pt x="38422" y="643364"/>
                    </a:cubicBezTo>
                    <a:lnTo>
                      <a:pt x="36231" y="648126"/>
                    </a:lnTo>
                    <a:cubicBezTo>
                      <a:pt x="19753" y="629076"/>
                      <a:pt x="45756" y="590976"/>
                      <a:pt x="14419" y="582594"/>
                    </a:cubicBezTo>
                    <a:cubicBezTo>
                      <a:pt x="12419" y="564497"/>
                      <a:pt x="19467" y="546399"/>
                      <a:pt x="14419" y="528397"/>
                    </a:cubicBezTo>
                    <a:lnTo>
                      <a:pt x="10418" y="531636"/>
                    </a:lnTo>
                    <a:cubicBezTo>
                      <a:pt x="8894" y="554877"/>
                      <a:pt x="8894" y="554877"/>
                      <a:pt x="7466" y="558210"/>
                    </a:cubicBezTo>
                    <a:lnTo>
                      <a:pt x="6894" y="558210"/>
                    </a:lnTo>
                    <a:cubicBezTo>
                      <a:pt x="3275" y="543351"/>
                      <a:pt x="6894" y="456769"/>
                      <a:pt x="16419" y="448006"/>
                    </a:cubicBezTo>
                    <a:cubicBezTo>
                      <a:pt x="17562" y="447054"/>
                      <a:pt x="18705" y="450768"/>
                      <a:pt x="19658" y="452007"/>
                    </a:cubicBezTo>
                    <a:cubicBezTo>
                      <a:pt x="19658" y="450483"/>
                      <a:pt x="19658" y="448387"/>
                      <a:pt x="20229" y="446863"/>
                    </a:cubicBezTo>
                    <a:lnTo>
                      <a:pt x="25277" y="445244"/>
                    </a:lnTo>
                    <a:lnTo>
                      <a:pt x="27087" y="445244"/>
                    </a:lnTo>
                    <a:cubicBezTo>
                      <a:pt x="27087" y="445244"/>
                      <a:pt x="27087" y="445244"/>
                      <a:pt x="27849" y="446101"/>
                    </a:cubicBezTo>
                    <a:cubicBezTo>
                      <a:pt x="42994" y="462579"/>
                      <a:pt x="25468" y="480963"/>
                      <a:pt x="30992" y="498012"/>
                    </a:cubicBezTo>
                    <a:cubicBezTo>
                      <a:pt x="38231" y="475724"/>
                      <a:pt x="34898" y="451625"/>
                      <a:pt x="42803" y="429337"/>
                    </a:cubicBezTo>
                    <a:cubicBezTo>
                      <a:pt x="42803" y="429337"/>
                      <a:pt x="59567" y="405144"/>
                      <a:pt x="66806" y="396571"/>
                    </a:cubicBezTo>
                    <a:cubicBezTo>
                      <a:pt x="66149" y="387818"/>
                      <a:pt x="68540" y="379102"/>
                      <a:pt x="73569" y="371901"/>
                    </a:cubicBezTo>
                    <a:cubicBezTo>
                      <a:pt x="72521" y="374968"/>
                      <a:pt x="72007" y="378188"/>
                      <a:pt x="72045" y="381426"/>
                    </a:cubicBezTo>
                    <a:cubicBezTo>
                      <a:pt x="78341" y="372539"/>
                      <a:pt x="83589" y="362948"/>
                      <a:pt x="87666" y="352851"/>
                    </a:cubicBezTo>
                    <a:cubicBezTo>
                      <a:pt x="108050" y="352851"/>
                      <a:pt x="105668" y="325515"/>
                      <a:pt x="123956" y="323229"/>
                    </a:cubicBezTo>
                    <a:cubicBezTo>
                      <a:pt x="125842" y="320495"/>
                      <a:pt x="128195" y="318104"/>
                      <a:pt x="130910" y="316180"/>
                    </a:cubicBezTo>
                    <a:lnTo>
                      <a:pt x="132815" y="316180"/>
                    </a:lnTo>
                    <a:lnTo>
                      <a:pt x="136720" y="315228"/>
                    </a:lnTo>
                    <a:cubicBezTo>
                      <a:pt x="131929" y="318047"/>
                      <a:pt x="128157" y="322314"/>
                      <a:pt x="125957" y="327420"/>
                    </a:cubicBezTo>
                    <a:lnTo>
                      <a:pt x="128909" y="331611"/>
                    </a:lnTo>
                    <a:cubicBezTo>
                      <a:pt x="134977" y="325781"/>
                      <a:pt x="142359" y="321495"/>
                      <a:pt x="150436" y="319133"/>
                    </a:cubicBezTo>
                    <a:cubicBezTo>
                      <a:pt x="149207" y="316104"/>
                      <a:pt x="146997" y="313589"/>
                      <a:pt x="144149" y="311989"/>
                    </a:cubicBezTo>
                    <a:cubicBezTo>
                      <a:pt x="144912" y="300273"/>
                      <a:pt x="144912" y="300273"/>
                      <a:pt x="155103" y="283414"/>
                    </a:cubicBezTo>
                    <a:lnTo>
                      <a:pt x="152531" y="279033"/>
                    </a:lnTo>
                    <a:cubicBezTo>
                      <a:pt x="147483" y="280652"/>
                      <a:pt x="143006" y="283700"/>
                      <a:pt x="138149" y="285605"/>
                    </a:cubicBezTo>
                    <a:cubicBezTo>
                      <a:pt x="144578" y="279461"/>
                      <a:pt x="151636" y="274003"/>
                      <a:pt x="159199" y="269317"/>
                    </a:cubicBezTo>
                    <a:cubicBezTo>
                      <a:pt x="164085" y="270784"/>
                      <a:pt x="168857" y="272603"/>
                      <a:pt x="173487" y="274746"/>
                    </a:cubicBezTo>
                    <a:cubicBezTo>
                      <a:pt x="178154" y="273222"/>
                      <a:pt x="178154" y="273222"/>
                      <a:pt x="186631" y="265888"/>
                    </a:cubicBezTo>
                    <a:lnTo>
                      <a:pt x="189393" y="265888"/>
                    </a:lnTo>
                    <a:cubicBezTo>
                      <a:pt x="189393" y="265888"/>
                      <a:pt x="189393" y="265888"/>
                      <a:pt x="192441" y="264459"/>
                    </a:cubicBezTo>
                    <a:cubicBezTo>
                      <a:pt x="203109" y="262021"/>
                      <a:pt x="210301" y="252020"/>
                      <a:pt x="209205" y="241123"/>
                    </a:cubicBezTo>
                    <a:lnTo>
                      <a:pt x="199109" y="241123"/>
                    </a:lnTo>
                    <a:cubicBezTo>
                      <a:pt x="202052" y="239475"/>
                      <a:pt x="205290" y="238446"/>
                      <a:pt x="208634" y="238075"/>
                    </a:cubicBezTo>
                    <a:cubicBezTo>
                      <a:pt x="208634" y="217501"/>
                      <a:pt x="221397" y="200546"/>
                      <a:pt x="223779" y="180925"/>
                    </a:cubicBezTo>
                    <a:cubicBezTo>
                      <a:pt x="213110" y="189212"/>
                      <a:pt x="211301" y="190450"/>
                      <a:pt x="207205" y="194450"/>
                    </a:cubicBezTo>
                    <a:lnTo>
                      <a:pt x="202728" y="192165"/>
                    </a:lnTo>
                    <a:cubicBezTo>
                      <a:pt x="203300" y="179020"/>
                      <a:pt x="214444" y="171114"/>
                      <a:pt x="218921" y="159875"/>
                    </a:cubicBezTo>
                    <a:cubicBezTo>
                      <a:pt x="217016" y="157494"/>
                      <a:pt x="214539" y="154255"/>
                      <a:pt x="212825" y="151683"/>
                    </a:cubicBezTo>
                    <a:cubicBezTo>
                      <a:pt x="180202" y="182773"/>
                      <a:pt x="150103" y="216406"/>
                      <a:pt x="122813" y="252267"/>
                    </a:cubicBezTo>
                    <a:cubicBezTo>
                      <a:pt x="147769" y="191593"/>
                      <a:pt x="147769" y="191593"/>
                      <a:pt x="146721" y="185592"/>
                    </a:cubicBezTo>
                    <a:cubicBezTo>
                      <a:pt x="165105" y="162542"/>
                      <a:pt x="195680" y="151017"/>
                      <a:pt x="207396" y="121489"/>
                    </a:cubicBezTo>
                    <a:lnTo>
                      <a:pt x="208157" y="121489"/>
                    </a:lnTo>
                    <a:cubicBezTo>
                      <a:pt x="208157" y="121489"/>
                      <a:pt x="208157" y="121489"/>
                      <a:pt x="207586" y="123489"/>
                    </a:cubicBezTo>
                    <a:lnTo>
                      <a:pt x="208253" y="128633"/>
                    </a:lnTo>
                    <a:cubicBezTo>
                      <a:pt x="213396" y="127585"/>
                      <a:pt x="213396" y="127585"/>
                      <a:pt x="227779" y="112536"/>
                    </a:cubicBezTo>
                    <a:lnTo>
                      <a:pt x="225303" y="117012"/>
                    </a:lnTo>
                    <a:cubicBezTo>
                      <a:pt x="225303" y="117012"/>
                      <a:pt x="266831" y="103487"/>
                      <a:pt x="274547" y="83675"/>
                    </a:cubicBezTo>
                    <a:cubicBezTo>
                      <a:pt x="266088" y="90295"/>
                      <a:pt x="256954" y="96010"/>
                      <a:pt x="247305" y="100725"/>
                    </a:cubicBezTo>
                    <a:cubicBezTo>
                      <a:pt x="261402" y="87961"/>
                      <a:pt x="261402" y="87961"/>
                      <a:pt x="262545" y="86246"/>
                    </a:cubicBezTo>
                    <a:lnTo>
                      <a:pt x="253973" y="91866"/>
                    </a:lnTo>
                    <a:cubicBezTo>
                      <a:pt x="265498" y="81770"/>
                      <a:pt x="280452" y="75674"/>
                      <a:pt x="289310" y="62244"/>
                    </a:cubicBezTo>
                    <a:cubicBezTo>
                      <a:pt x="280947" y="66320"/>
                      <a:pt x="273004" y="71197"/>
                      <a:pt x="265593" y="76817"/>
                    </a:cubicBezTo>
                    <a:lnTo>
                      <a:pt x="265593" y="76817"/>
                    </a:lnTo>
                    <a:lnTo>
                      <a:pt x="263117" y="78627"/>
                    </a:lnTo>
                    <a:cubicBezTo>
                      <a:pt x="263117" y="78627"/>
                      <a:pt x="263117" y="78627"/>
                      <a:pt x="263117" y="78627"/>
                    </a:cubicBezTo>
                    <a:lnTo>
                      <a:pt x="257116" y="83103"/>
                    </a:lnTo>
                    <a:cubicBezTo>
                      <a:pt x="257478" y="82675"/>
                      <a:pt x="257897" y="82294"/>
                      <a:pt x="258354" y="81960"/>
                    </a:cubicBezTo>
                    <a:lnTo>
                      <a:pt x="261116" y="79770"/>
                    </a:lnTo>
                    <a:lnTo>
                      <a:pt x="267213" y="74436"/>
                    </a:lnTo>
                    <a:lnTo>
                      <a:pt x="267213" y="74436"/>
                    </a:lnTo>
                    <a:cubicBezTo>
                      <a:pt x="266355" y="74436"/>
                      <a:pt x="266355" y="74436"/>
                      <a:pt x="262926" y="76721"/>
                    </a:cubicBezTo>
                    <a:cubicBezTo>
                      <a:pt x="259497" y="79008"/>
                      <a:pt x="260355" y="78341"/>
                      <a:pt x="259021" y="78627"/>
                    </a:cubicBezTo>
                    <a:lnTo>
                      <a:pt x="259021" y="78627"/>
                    </a:lnTo>
                    <a:cubicBezTo>
                      <a:pt x="258011" y="79236"/>
                      <a:pt x="257087" y="79970"/>
                      <a:pt x="256259" y="80817"/>
                    </a:cubicBezTo>
                    <a:lnTo>
                      <a:pt x="256830" y="80817"/>
                    </a:lnTo>
                    <a:cubicBezTo>
                      <a:pt x="256830" y="81389"/>
                      <a:pt x="255782" y="81675"/>
                      <a:pt x="255401" y="82341"/>
                    </a:cubicBezTo>
                    <a:cubicBezTo>
                      <a:pt x="255021" y="83008"/>
                      <a:pt x="255401" y="82341"/>
                      <a:pt x="255401" y="82341"/>
                    </a:cubicBezTo>
                    <a:lnTo>
                      <a:pt x="255401" y="82341"/>
                    </a:lnTo>
                    <a:cubicBezTo>
                      <a:pt x="254925" y="83199"/>
                      <a:pt x="253782" y="83484"/>
                      <a:pt x="253496" y="84532"/>
                    </a:cubicBezTo>
                    <a:cubicBezTo>
                      <a:pt x="254392" y="84342"/>
                      <a:pt x="255259" y="84018"/>
                      <a:pt x="256068" y="83579"/>
                    </a:cubicBezTo>
                    <a:cubicBezTo>
                      <a:pt x="250163" y="88152"/>
                      <a:pt x="244257" y="92628"/>
                      <a:pt x="238066" y="96819"/>
                    </a:cubicBezTo>
                    <a:lnTo>
                      <a:pt x="236923" y="96819"/>
                    </a:lnTo>
                    <a:cubicBezTo>
                      <a:pt x="245114" y="91295"/>
                      <a:pt x="245114" y="91295"/>
                      <a:pt x="248163" y="86056"/>
                    </a:cubicBezTo>
                    <a:lnTo>
                      <a:pt x="243114" y="86056"/>
                    </a:lnTo>
                    <a:cubicBezTo>
                      <a:pt x="246162" y="81770"/>
                      <a:pt x="250258" y="78531"/>
                      <a:pt x="253592" y="74531"/>
                    </a:cubicBezTo>
                    <a:cubicBezTo>
                      <a:pt x="246886" y="79627"/>
                      <a:pt x="239857" y="84265"/>
                      <a:pt x="232541" y="88437"/>
                    </a:cubicBezTo>
                    <a:lnTo>
                      <a:pt x="254449" y="72245"/>
                    </a:lnTo>
                    <a:cubicBezTo>
                      <a:pt x="255592" y="72245"/>
                      <a:pt x="256640" y="71483"/>
                      <a:pt x="257783" y="71292"/>
                    </a:cubicBezTo>
                    <a:lnTo>
                      <a:pt x="257783" y="71292"/>
                    </a:lnTo>
                    <a:cubicBezTo>
                      <a:pt x="259116" y="70721"/>
                      <a:pt x="260164" y="69483"/>
                      <a:pt x="261783" y="69673"/>
                    </a:cubicBezTo>
                    <a:cubicBezTo>
                      <a:pt x="260355" y="71197"/>
                      <a:pt x="258354" y="72245"/>
                      <a:pt x="256925" y="73769"/>
                    </a:cubicBezTo>
                    <a:cubicBezTo>
                      <a:pt x="256925" y="73769"/>
                      <a:pt x="255401" y="75864"/>
                      <a:pt x="254925" y="76912"/>
                    </a:cubicBezTo>
                    <a:cubicBezTo>
                      <a:pt x="257221" y="75712"/>
                      <a:pt x="259412" y="74350"/>
                      <a:pt x="261497" y="72816"/>
                    </a:cubicBezTo>
                    <a:cubicBezTo>
                      <a:pt x="260355" y="72816"/>
                      <a:pt x="259402" y="73959"/>
                      <a:pt x="258259" y="74436"/>
                    </a:cubicBezTo>
                    <a:cubicBezTo>
                      <a:pt x="264069" y="70054"/>
                      <a:pt x="264260" y="70054"/>
                      <a:pt x="266165" y="69768"/>
                    </a:cubicBezTo>
                    <a:cubicBezTo>
                      <a:pt x="265403" y="70911"/>
                      <a:pt x="265403" y="70911"/>
                      <a:pt x="265403" y="71197"/>
                    </a:cubicBezTo>
                    <a:cubicBezTo>
                      <a:pt x="266450" y="70759"/>
                      <a:pt x="267469" y="70245"/>
                      <a:pt x="268451" y="69673"/>
                    </a:cubicBezTo>
                    <a:cubicBezTo>
                      <a:pt x="271784" y="67768"/>
                      <a:pt x="274071" y="64625"/>
                      <a:pt x="277214" y="62434"/>
                    </a:cubicBezTo>
                    <a:cubicBezTo>
                      <a:pt x="284453" y="57386"/>
                      <a:pt x="284453" y="57386"/>
                      <a:pt x="285120" y="57291"/>
                    </a:cubicBezTo>
                    <a:lnTo>
                      <a:pt x="306932" y="44241"/>
                    </a:lnTo>
                    <a:lnTo>
                      <a:pt x="312266" y="40622"/>
                    </a:lnTo>
                    <a:cubicBezTo>
                      <a:pt x="309342" y="41765"/>
                      <a:pt x="306503" y="43136"/>
                      <a:pt x="303788" y="44717"/>
                    </a:cubicBezTo>
                    <a:cubicBezTo>
                      <a:pt x="301626" y="46137"/>
                      <a:pt x="299331" y="47356"/>
                      <a:pt x="296930" y="48337"/>
                    </a:cubicBezTo>
                    <a:cubicBezTo>
                      <a:pt x="300645" y="44432"/>
                      <a:pt x="306455" y="44622"/>
                      <a:pt x="310170" y="40241"/>
                    </a:cubicBezTo>
                    <a:cubicBezTo>
                      <a:pt x="307789" y="41098"/>
                      <a:pt x="305979" y="42908"/>
                      <a:pt x="303598" y="43765"/>
                    </a:cubicBezTo>
                    <a:lnTo>
                      <a:pt x="303598" y="43765"/>
                    </a:lnTo>
                    <a:cubicBezTo>
                      <a:pt x="303055" y="43813"/>
                      <a:pt x="302522" y="43813"/>
                      <a:pt x="301979" y="43765"/>
                    </a:cubicBezTo>
                    <a:cubicBezTo>
                      <a:pt x="305408" y="41384"/>
                      <a:pt x="309694" y="40527"/>
                      <a:pt x="313028" y="37859"/>
                    </a:cubicBezTo>
                    <a:cubicBezTo>
                      <a:pt x="311694" y="38431"/>
                      <a:pt x="310361" y="39193"/>
                      <a:pt x="309027" y="39669"/>
                    </a:cubicBezTo>
                    <a:cubicBezTo>
                      <a:pt x="312704" y="37993"/>
                      <a:pt x="316266" y="36078"/>
                      <a:pt x="319695" y="33954"/>
                    </a:cubicBezTo>
                    <a:cubicBezTo>
                      <a:pt x="310780" y="36745"/>
                      <a:pt x="302255" y="40679"/>
                      <a:pt x="294359" y="45670"/>
                    </a:cubicBezTo>
                    <a:cubicBezTo>
                      <a:pt x="295597" y="45670"/>
                      <a:pt x="296645" y="44432"/>
                      <a:pt x="297978" y="44146"/>
                    </a:cubicBezTo>
                    <a:cubicBezTo>
                      <a:pt x="296283" y="45070"/>
                      <a:pt x="294530" y="45899"/>
                      <a:pt x="292739" y="46623"/>
                    </a:cubicBezTo>
                    <a:cubicBezTo>
                      <a:pt x="289215" y="47832"/>
                      <a:pt x="285977" y="49747"/>
                      <a:pt x="283214" y="52242"/>
                    </a:cubicBezTo>
                    <a:lnTo>
                      <a:pt x="283976" y="52242"/>
                    </a:lnTo>
                    <a:cubicBezTo>
                      <a:pt x="281119" y="55386"/>
                      <a:pt x="280452" y="55671"/>
                      <a:pt x="278928" y="56243"/>
                    </a:cubicBezTo>
                    <a:lnTo>
                      <a:pt x="278928" y="56243"/>
                    </a:lnTo>
                    <a:cubicBezTo>
                      <a:pt x="279405" y="55386"/>
                      <a:pt x="280357" y="55004"/>
                      <a:pt x="280833" y="54242"/>
                    </a:cubicBezTo>
                    <a:cubicBezTo>
                      <a:pt x="280100" y="54328"/>
                      <a:pt x="279385" y="54557"/>
                      <a:pt x="278738" y="54909"/>
                    </a:cubicBezTo>
                    <a:cubicBezTo>
                      <a:pt x="285024" y="49832"/>
                      <a:pt x="291711" y="45280"/>
                      <a:pt x="298740" y="41288"/>
                    </a:cubicBezTo>
                    <a:cubicBezTo>
                      <a:pt x="293978" y="43765"/>
                      <a:pt x="289215" y="45956"/>
                      <a:pt x="284453" y="48528"/>
                    </a:cubicBezTo>
                    <a:cubicBezTo>
                      <a:pt x="266355" y="59100"/>
                      <a:pt x="242924" y="74340"/>
                      <a:pt x="225588" y="86056"/>
                    </a:cubicBezTo>
                    <a:cubicBezTo>
                      <a:pt x="205967" y="101582"/>
                      <a:pt x="180630" y="123394"/>
                      <a:pt x="162342" y="140349"/>
                    </a:cubicBezTo>
                    <a:cubicBezTo>
                      <a:pt x="142635" y="159989"/>
                      <a:pt x="124480" y="181135"/>
                      <a:pt x="108050" y="203595"/>
                    </a:cubicBezTo>
                    <a:cubicBezTo>
                      <a:pt x="93953" y="224454"/>
                      <a:pt x="76331" y="252934"/>
                      <a:pt x="63854" y="274746"/>
                    </a:cubicBezTo>
                    <a:cubicBezTo>
                      <a:pt x="50023" y="300245"/>
                      <a:pt x="38270" y="326810"/>
                      <a:pt x="28706" y="354185"/>
                    </a:cubicBezTo>
                    <a:cubicBezTo>
                      <a:pt x="20429" y="381664"/>
                      <a:pt x="13562" y="409544"/>
                      <a:pt x="8132" y="437719"/>
                    </a:cubicBezTo>
                    <a:cubicBezTo>
                      <a:pt x="-1393" y="491535"/>
                      <a:pt x="-2536" y="519158"/>
                      <a:pt x="3846" y="562878"/>
                    </a:cubicBezTo>
                    <a:cubicBezTo>
                      <a:pt x="7466" y="587262"/>
                      <a:pt x="18038" y="608026"/>
                      <a:pt x="22896" y="631458"/>
                    </a:cubicBezTo>
                    <a:lnTo>
                      <a:pt x="22896" y="632315"/>
                    </a:lnTo>
                    <a:lnTo>
                      <a:pt x="22896" y="635077"/>
                    </a:lnTo>
                    <a:lnTo>
                      <a:pt x="22896" y="635744"/>
                    </a:lnTo>
                    <a:cubicBezTo>
                      <a:pt x="22896" y="635744"/>
                      <a:pt x="22896" y="636220"/>
                      <a:pt x="24230" y="636982"/>
                    </a:cubicBezTo>
                    <a:cubicBezTo>
                      <a:pt x="25430" y="640268"/>
                      <a:pt x="26897" y="643459"/>
                      <a:pt x="28611" y="646507"/>
                    </a:cubicBezTo>
                    <a:cubicBezTo>
                      <a:pt x="30145" y="652184"/>
                      <a:pt x="33488" y="657194"/>
                      <a:pt x="38136" y="660795"/>
                    </a:cubicBezTo>
                    <a:cubicBezTo>
                      <a:pt x="38136" y="648507"/>
                      <a:pt x="38136" y="648507"/>
                      <a:pt x="39089" y="645650"/>
                    </a:cubicBezTo>
                    <a:cubicBezTo>
                      <a:pt x="56805" y="684988"/>
                      <a:pt x="53852" y="730422"/>
                      <a:pt x="75569" y="768618"/>
                    </a:cubicBezTo>
                    <a:cubicBezTo>
                      <a:pt x="99287" y="810337"/>
                      <a:pt x="139387" y="837674"/>
                      <a:pt x="169010" y="874345"/>
                    </a:cubicBezTo>
                    <a:cubicBezTo>
                      <a:pt x="212625" y="930514"/>
                      <a:pt x="267279" y="977158"/>
                      <a:pt x="329601" y="1011410"/>
                    </a:cubicBezTo>
                    <a:lnTo>
                      <a:pt x="329601" y="1011410"/>
                    </a:lnTo>
                    <a:lnTo>
                      <a:pt x="332745" y="1013124"/>
                    </a:lnTo>
                    <a:lnTo>
                      <a:pt x="341222" y="1018173"/>
                    </a:lnTo>
                    <a:lnTo>
                      <a:pt x="336459" y="1016458"/>
                    </a:lnTo>
                    <a:cubicBezTo>
                      <a:pt x="341412" y="1019220"/>
                      <a:pt x="341412" y="1019220"/>
                      <a:pt x="379131" y="1035508"/>
                    </a:cubicBezTo>
                    <a:lnTo>
                      <a:pt x="369606" y="1031793"/>
                    </a:lnTo>
                    <a:cubicBezTo>
                      <a:pt x="383798" y="1037508"/>
                      <a:pt x="398305" y="1042442"/>
                      <a:pt x="413040" y="1046557"/>
                    </a:cubicBezTo>
                    <a:lnTo>
                      <a:pt x="405325" y="1043509"/>
                    </a:lnTo>
                    <a:lnTo>
                      <a:pt x="412659" y="1046081"/>
                    </a:lnTo>
                    <a:lnTo>
                      <a:pt x="419041" y="1047795"/>
                    </a:lnTo>
                    <a:cubicBezTo>
                      <a:pt x="420565" y="1047795"/>
                      <a:pt x="420946" y="1048367"/>
                      <a:pt x="421137" y="1048653"/>
                    </a:cubicBezTo>
                    <a:cubicBezTo>
                      <a:pt x="421327" y="1048938"/>
                      <a:pt x="419327" y="1047509"/>
                      <a:pt x="418184" y="1047891"/>
                    </a:cubicBezTo>
                    <a:lnTo>
                      <a:pt x="418184" y="1047891"/>
                    </a:lnTo>
                    <a:lnTo>
                      <a:pt x="418184" y="1047891"/>
                    </a:lnTo>
                    <a:cubicBezTo>
                      <a:pt x="420327" y="1048872"/>
                      <a:pt x="422679" y="1049329"/>
                      <a:pt x="425042" y="1049224"/>
                    </a:cubicBezTo>
                    <a:lnTo>
                      <a:pt x="425042" y="1049224"/>
                    </a:lnTo>
                    <a:close/>
                    <a:moveTo>
                      <a:pt x="158342" y="303131"/>
                    </a:moveTo>
                    <a:lnTo>
                      <a:pt x="158342" y="303131"/>
                    </a:lnTo>
                    <a:cubicBezTo>
                      <a:pt x="157142" y="303702"/>
                      <a:pt x="156122" y="304588"/>
                      <a:pt x="155389" y="305703"/>
                    </a:cubicBezTo>
                    <a:cubicBezTo>
                      <a:pt x="154437" y="307322"/>
                      <a:pt x="153865" y="309036"/>
                      <a:pt x="153008" y="310560"/>
                    </a:cubicBezTo>
                    <a:cubicBezTo>
                      <a:pt x="152150" y="312084"/>
                      <a:pt x="151388" y="312846"/>
                      <a:pt x="150722" y="314180"/>
                    </a:cubicBezTo>
                    <a:cubicBezTo>
                      <a:pt x="150464" y="314656"/>
                      <a:pt x="150464" y="315228"/>
                      <a:pt x="150722" y="315704"/>
                    </a:cubicBezTo>
                    <a:cubicBezTo>
                      <a:pt x="151141" y="316180"/>
                      <a:pt x="151865" y="316218"/>
                      <a:pt x="152331" y="315808"/>
                    </a:cubicBezTo>
                    <a:cubicBezTo>
                      <a:pt x="152370" y="315770"/>
                      <a:pt x="152408" y="315742"/>
                      <a:pt x="152436" y="315704"/>
                    </a:cubicBezTo>
                    <a:lnTo>
                      <a:pt x="155580" y="313513"/>
                    </a:lnTo>
                    <a:cubicBezTo>
                      <a:pt x="156265" y="312884"/>
                      <a:pt x="156789" y="312103"/>
                      <a:pt x="157104" y="311227"/>
                    </a:cubicBezTo>
                    <a:cubicBezTo>
                      <a:pt x="157104" y="310560"/>
                      <a:pt x="157580" y="309513"/>
                      <a:pt x="156246" y="310655"/>
                    </a:cubicBezTo>
                    <a:cubicBezTo>
                      <a:pt x="154913" y="311799"/>
                      <a:pt x="155580" y="311132"/>
                      <a:pt x="155389" y="310655"/>
                    </a:cubicBezTo>
                    <a:cubicBezTo>
                      <a:pt x="155198" y="310179"/>
                      <a:pt x="155389" y="310655"/>
                      <a:pt x="156056" y="308846"/>
                    </a:cubicBezTo>
                    <a:cubicBezTo>
                      <a:pt x="157104" y="306884"/>
                      <a:pt x="157989" y="304845"/>
                      <a:pt x="158723" y="302750"/>
                    </a:cubicBezTo>
                    <a:close/>
                    <a:moveTo>
                      <a:pt x="131481" y="233884"/>
                    </a:moveTo>
                    <a:cubicBezTo>
                      <a:pt x="131481" y="233884"/>
                      <a:pt x="130719" y="235217"/>
                      <a:pt x="130529" y="235694"/>
                    </a:cubicBezTo>
                    <a:cubicBezTo>
                      <a:pt x="130091" y="236951"/>
                      <a:pt x="129871" y="238266"/>
                      <a:pt x="129862" y="239599"/>
                    </a:cubicBezTo>
                    <a:lnTo>
                      <a:pt x="129862" y="239599"/>
                    </a:lnTo>
                    <a:lnTo>
                      <a:pt x="131576" y="236646"/>
                    </a:lnTo>
                    <a:cubicBezTo>
                      <a:pt x="132110" y="235760"/>
                      <a:pt x="132586" y="234837"/>
                      <a:pt x="133005" y="233884"/>
                    </a:cubicBezTo>
                    <a:cubicBezTo>
                      <a:pt x="133005" y="233408"/>
                      <a:pt x="133005" y="231979"/>
                      <a:pt x="133005" y="231884"/>
                    </a:cubicBezTo>
                    <a:cubicBezTo>
                      <a:pt x="133005" y="231788"/>
                      <a:pt x="131862" y="233503"/>
                      <a:pt x="131862" y="233503"/>
                    </a:cubicBezTo>
                    <a:close/>
                    <a:moveTo>
                      <a:pt x="150531" y="308084"/>
                    </a:moveTo>
                    <a:cubicBezTo>
                      <a:pt x="150617" y="307941"/>
                      <a:pt x="150617" y="307750"/>
                      <a:pt x="150531" y="307608"/>
                    </a:cubicBezTo>
                    <a:cubicBezTo>
                      <a:pt x="150531" y="307608"/>
                      <a:pt x="150531" y="307608"/>
                      <a:pt x="149960" y="307608"/>
                    </a:cubicBezTo>
                    <a:cubicBezTo>
                      <a:pt x="149503" y="307493"/>
                      <a:pt x="149093" y="307227"/>
                      <a:pt x="148817" y="306846"/>
                    </a:cubicBezTo>
                    <a:cubicBezTo>
                      <a:pt x="148445" y="306179"/>
                      <a:pt x="148121" y="305474"/>
                      <a:pt x="147864" y="304750"/>
                    </a:cubicBezTo>
                    <a:cubicBezTo>
                      <a:pt x="147617" y="304464"/>
                      <a:pt x="147426" y="304150"/>
                      <a:pt x="147293" y="303798"/>
                    </a:cubicBezTo>
                    <a:cubicBezTo>
                      <a:pt x="147340" y="303102"/>
                      <a:pt x="147340" y="302397"/>
                      <a:pt x="147293" y="301702"/>
                    </a:cubicBezTo>
                    <a:lnTo>
                      <a:pt x="147293" y="301702"/>
                    </a:lnTo>
                    <a:cubicBezTo>
                      <a:pt x="147045" y="301645"/>
                      <a:pt x="146778" y="301645"/>
                      <a:pt x="146531" y="301702"/>
                    </a:cubicBezTo>
                    <a:cubicBezTo>
                      <a:pt x="146531" y="301702"/>
                      <a:pt x="146531" y="301702"/>
                      <a:pt x="146531" y="301702"/>
                    </a:cubicBezTo>
                    <a:lnTo>
                      <a:pt x="146531" y="301702"/>
                    </a:lnTo>
                    <a:lnTo>
                      <a:pt x="146531" y="301702"/>
                    </a:lnTo>
                    <a:lnTo>
                      <a:pt x="146531" y="301702"/>
                    </a:lnTo>
                    <a:lnTo>
                      <a:pt x="146531" y="301702"/>
                    </a:lnTo>
                    <a:lnTo>
                      <a:pt x="146531" y="301702"/>
                    </a:lnTo>
                    <a:lnTo>
                      <a:pt x="146531" y="302274"/>
                    </a:lnTo>
                    <a:lnTo>
                      <a:pt x="146531" y="302274"/>
                    </a:lnTo>
                    <a:cubicBezTo>
                      <a:pt x="146531" y="302940"/>
                      <a:pt x="146531" y="303036"/>
                      <a:pt x="147293" y="303417"/>
                    </a:cubicBezTo>
                    <a:cubicBezTo>
                      <a:pt x="148055" y="303798"/>
                      <a:pt x="147769" y="303893"/>
                      <a:pt x="147864" y="304179"/>
                    </a:cubicBezTo>
                    <a:cubicBezTo>
                      <a:pt x="147959" y="304464"/>
                      <a:pt x="147864" y="304179"/>
                      <a:pt x="147864" y="305798"/>
                    </a:cubicBezTo>
                    <a:cubicBezTo>
                      <a:pt x="147788" y="306264"/>
                      <a:pt x="147969" y="306741"/>
                      <a:pt x="148340" y="307036"/>
                    </a:cubicBezTo>
                    <a:cubicBezTo>
                      <a:pt x="148340" y="307036"/>
                      <a:pt x="148340" y="307608"/>
                      <a:pt x="148340" y="307893"/>
                    </a:cubicBezTo>
                    <a:cubicBezTo>
                      <a:pt x="148340" y="308179"/>
                      <a:pt x="150246" y="308655"/>
                      <a:pt x="150912" y="307703"/>
                    </a:cubicBezTo>
                    <a:close/>
                    <a:moveTo>
                      <a:pt x="158818" y="280747"/>
                    </a:moveTo>
                    <a:cubicBezTo>
                      <a:pt x="158818" y="280747"/>
                      <a:pt x="158818" y="281319"/>
                      <a:pt x="159961" y="281700"/>
                    </a:cubicBezTo>
                    <a:cubicBezTo>
                      <a:pt x="160323" y="281900"/>
                      <a:pt x="160637" y="282157"/>
                      <a:pt x="160913" y="282462"/>
                    </a:cubicBezTo>
                    <a:cubicBezTo>
                      <a:pt x="161342" y="282795"/>
                      <a:pt x="161723" y="283176"/>
                      <a:pt x="162056" y="283605"/>
                    </a:cubicBezTo>
                    <a:lnTo>
                      <a:pt x="162818" y="283605"/>
                    </a:lnTo>
                    <a:cubicBezTo>
                      <a:pt x="162818" y="283605"/>
                      <a:pt x="165866" y="284843"/>
                      <a:pt x="166438" y="283605"/>
                    </a:cubicBezTo>
                    <a:cubicBezTo>
                      <a:pt x="166533" y="283033"/>
                      <a:pt x="166533" y="282462"/>
                      <a:pt x="166438" y="281890"/>
                    </a:cubicBezTo>
                    <a:cubicBezTo>
                      <a:pt x="166438" y="280938"/>
                      <a:pt x="165676" y="280080"/>
                      <a:pt x="165390" y="279128"/>
                    </a:cubicBezTo>
                    <a:cubicBezTo>
                      <a:pt x="165105" y="278175"/>
                      <a:pt x="165390" y="277509"/>
                      <a:pt x="165390" y="276651"/>
                    </a:cubicBezTo>
                    <a:lnTo>
                      <a:pt x="165390" y="276651"/>
                    </a:lnTo>
                    <a:cubicBezTo>
                      <a:pt x="163657" y="275613"/>
                      <a:pt x="161752" y="274908"/>
                      <a:pt x="159771" y="274556"/>
                    </a:cubicBezTo>
                    <a:lnTo>
                      <a:pt x="159104" y="276175"/>
                    </a:lnTo>
                    <a:cubicBezTo>
                      <a:pt x="159561" y="277270"/>
                      <a:pt x="159561" y="278509"/>
                      <a:pt x="159104" y="279604"/>
                    </a:cubicBezTo>
                    <a:cubicBezTo>
                      <a:pt x="159075" y="279861"/>
                      <a:pt x="159104" y="280128"/>
                      <a:pt x="159199" y="280366"/>
                    </a:cubicBezTo>
                    <a:close/>
                    <a:moveTo>
                      <a:pt x="198823" y="265221"/>
                    </a:moveTo>
                    <a:cubicBezTo>
                      <a:pt x="198013" y="264926"/>
                      <a:pt x="197185" y="264669"/>
                      <a:pt x="196346" y="264459"/>
                    </a:cubicBezTo>
                    <a:cubicBezTo>
                      <a:pt x="195851" y="264478"/>
                      <a:pt x="195394" y="264726"/>
                      <a:pt x="195108" y="265126"/>
                    </a:cubicBezTo>
                    <a:cubicBezTo>
                      <a:pt x="193298" y="267126"/>
                      <a:pt x="192727" y="269888"/>
                      <a:pt x="190917" y="271794"/>
                    </a:cubicBezTo>
                    <a:cubicBezTo>
                      <a:pt x="189107" y="273699"/>
                      <a:pt x="186821" y="273984"/>
                      <a:pt x="185297" y="275889"/>
                    </a:cubicBezTo>
                    <a:cubicBezTo>
                      <a:pt x="184688" y="276566"/>
                      <a:pt x="184269" y="277385"/>
                      <a:pt x="184059" y="278271"/>
                    </a:cubicBezTo>
                    <a:cubicBezTo>
                      <a:pt x="182821" y="281700"/>
                      <a:pt x="182821" y="281700"/>
                      <a:pt x="177201" y="286938"/>
                    </a:cubicBezTo>
                    <a:cubicBezTo>
                      <a:pt x="176592" y="287510"/>
                      <a:pt x="175915" y="288024"/>
                      <a:pt x="175201" y="288462"/>
                    </a:cubicBezTo>
                    <a:cubicBezTo>
                      <a:pt x="172153" y="290082"/>
                      <a:pt x="170343" y="291987"/>
                      <a:pt x="170248" y="292939"/>
                    </a:cubicBezTo>
                    <a:cubicBezTo>
                      <a:pt x="171172" y="293415"/>
                      <a:pt x="172172" y="293701"/>
                      <a:pt x="173201" y="293796"/>
                    </a:cubicBezTo>
                    <a:lnTo>
                      <a:pt x="173201" y="293796"/>
                    </a:lnTo>
                    <a:cubicBezTo>
                      <a:pt x="172239" y="294396"/>
                      <a:pt x="171172" y="294815"/>
                      <a:pt x="170057" y="295034"/>
                    </a:cubicBezTo>
                    <a:cubicBezTo>
                      <a:pt x="168533" y="295034"/>
                      <a:pt x="168438" y="295701"/>
                      <a:pt x="168438" y="296082"/>
                    </a:cubicBezTo>
                    <a:cubicBezTo>
                      <a:pt x="168838" y="296616"/>
                      <a:pt x="169486" y="296911"/>
                      <a:pt x="170153" y="296844"/>
                    </a:cubicBezTo>
                    <a:cubicBezTo>
                      <a:pt x="171905" y="296749"/>
                      <a:pt x="173658" y="296559"/>
                      <a:pt x="175391" y="296273"/>
                    </a:cubicBezTo>
                    <a:cubicBezTo>
                      <a:pt x="177744" y="295930"/>
                      <a:pt x="180116" y="296663"/>
                      <a:pt x="181868" y="298273"/>
                    </a:cubicBezTo>
                    <a:cubicBezTo>
                      <a:pt x="181868" y="298273"/>
                      <a:pt x="183012" y="300083"/>
                      <a:pt x="182440" y="301035"/>
                    </a:cubicBezTo>
                    <a:cubicBezTo>
                      <a:pt x="181868" y="301988"/>
                      <a:pt x="180249" y="301035"/>
                      <a:pt x="179392" y="302369"/>
                    </a:cubicBezTo>
                    <a:cubicBezTo>
                      <a:pt x="179820" y="302874"/>
                      <a:pt x="180440" y="303178"/>
                      <a:pt x="181106" y="303226"/>
                    </a:cubicBezTo>
                    <a:lnTo>
                      <a:pt x="188441" y="302178"/>
                    </a:lnTo>
                    <a:lnTo>
                      <a:pt x="190441" y="301321"/>
                    </a:lnTo>
                    <a:cubicBezTo>
                      <a:pt x="188917" y="302750"/>
                      <a:pt x="186536" y="302940"/>
                      <a:pt x="185679" y="305131"/>
                    </a:cubicBezTo>
                    <a:cubicBezTo>
                      <a:pt x="186974" y="305769"/>
                      <a:pt x="188307" y="306312"/>
                      <a:pt x="189679" y="306750"/>
                    </a:cubicBezTo>
                    <a:cubicBezTo>
                      <a:pt x="189679" y="306750"/>
                      <a:pt x="193489" y="302369"/>
                      <a:pt x="193584" y="302369"/>
                    </a:cubicBezTo>
                    <a:cubicBezTo>
                      <a:pt x="194727" y="300750"/>
                      <a:pt x="194156" y="300273"/>
                      <a:pt x="193584" y="299797"/>
                    </a:cubicBezTo>
                    <a:cubicBezTo>
                      <a:pt x="193013" y="299321"/>
                      <a:pt x="192155" y="298749"/>
                      <a:pt x="192537" y="297416"/>
                    </a:cubicBezTo>
                    <a:cubicBezTo>
                      <a:pt x="192917" y="296082"/>
                      <a:pt x="193965" y="295892"/>
                      <a:pt x="193870" y="294654"/>
                    </a:cubicBezTo>
                    <a:cubicBezTo>
                      <a:pt x="193775" y="293415"/>
                      <a:pt x="192822" y="294654"/>
                      <a:pt x="192632" y="293701"/>
                    </a:cubicBezTo>
                    <a:cubicBezTo>
                      <a:pt x="192441" y="292749"/>
                      <a:pt x="194346" y="292082"/>
                      <a:pt x="195108" y="291129"/>
                    </a:cubicBezTo>
                    <a:lnTo>
                      <a:pt x="195108" y="291129"/>
                    </a:lnTo>
                    <a:cubicBezTo>
                      <a:pt x="192727" y="291129"/>
                      <a:pt x="192727" y="291129"/>
                      <a:pt x="193108" y="290082"/>
                    </a:cubicBezTo>
                    <a:cubicBezTo>
                      <a:pt x="193489" y="289034"/>
                      <a:pt x="196156" y="288748"/>
                      <a:pt x="195870" y="286653"/>
                    </a:cubicBezTo>
                    <a:cubicBezTo>
                      <a:pt x="194527" y="285938"/>
                      <a:pt x="192927" y="285938"/>
                      <a:pt x="191584" y="286653"/>
                    </a:cubicBezTo>
                    <a:cubicBezTo>
                      <a:pt x="190441" y="286653"/>
                      <a:pt x="190060" y="286653"/>
                      <a:pt x="189774" y="286653"/>
                    </a:cubicBezTo>
                    <a:cubicBezTo>
                      <a:pt x="189488" y="286653"/>
                      <a:pt x="189774" y="286176"/>
                      <a:pt x="189774" y="285605"/>
                    </a:cubicBezTo>
                    <a:cubicBezTo>
                      <a:pt x="190060" y="284033"/>
                      <a:pt x="190060" y="282414"/>
                      <a:pt x="189774" y="280842"/>
                    </a:cubicBezTo>
                    <a:cubicBezTo>
                      <a:pt x="188536" y="280271"/>
                      <a:pt x="188155" y="281890"/>
                      <a:pt x="187012" y="281890"/>
                    </a:cubicBezTo>
                    <a:cubicBezTo>
                      <a:pt x="189403" y="277042"/>
                      <a:pt x="192622" y="272660"/>
                      <a:pt x="196537" y="268936"/>
                    </a:cubicBezTo>
                    <a:cubicBezTo>
                      <a:pt x="200156" y="265602"/>
                      <a:pt x="199395" y="265126"/>
                      <a:pt x="199204" y="264840"/>
                    </a:cubicBezTo>
                    <a:close/>
                    <a:moveTo>
                      <a:pt x="1084648" y="503918"/>
                    </a:moveTo>
                    <a:lnTo>
                      <a:pt x="1084648" y="502013"/>
                    </a:lnTo>
                    <a:cubicBezTo>
                      <a:pt x="1084648" y="502013"/>
                      <a:pt x="1083696" y="521539"/>
                      <a:pt x="1083029" y="526111"/>
                    </a:cubicBezTo>
                    <a:cubicBezTo>
                      <a:pt x="1082362" y="516586"/>
                      <a:pt x="1082362" y="516586"/>
                      <a:pt x="1082172" y="514871"/>
                    </a:cubicBezTo>
                    <a:lnTo>
                      <a:pt x="1080362" y="515443"/>
                    </a:lnTo>
                    <a:cubicBezTo>
                      <a:pt x="1079505" y="544018"/>
                      <a:pt x="1082743" y="571926"/>
                      <a:pt x="1078457" y="600025"/>
                    </a:cubicBezTo>
                    <a:lnTo>
                      <a:pt x="1078457" y="600787"/>
                    </a:lnTo>
                    <a:lnTo>
                      <a:pt x="1078457" y="601835"/>
                    </a:lnTo>
                    <a:lnTo>
                      <a:pt x="1078457" y="602978"/>
                    </a:lnTo>
                    <a:lnTo>
                      <a:pt x="1078457" y="604311"/>
                    </a:lnTo>
                    <a:lnTo>
                      <a:pt x="1078457" y="605835"/>
                    </a:lnTo>
                    <a:lnTo>
                      <a:pt x="1078457" y="607455"/>
                    </a:lnTo>
                    <a:lnTo>
                      <a:pt x="1078457" y="609074"/>
                    </a:lnTo>
                    <a:cubicBezTo>
                      <a:pt x="1078457" y="609645"/>
                      <a:pt x="1078457" y="610217"/>
                      <a:pt x="1077981" y="612408"/>
                    </a:cubicBezTo>
                    <a:cubicBezTo>
                      <a:pt x="1077218" y="616408"/>
                      <a:pt x="1077218" y="616408"/>
                      <a:pt x="1075885" y="621933"/>
                    </a:cubicBezTo>
                    <a:lnTo>
                      <a:pt x="1075885" y="621933"/>
                    </a:lnTo>
                    <a:cubicBezTo>
                      <a:pt x="1075456" y="623466"/>
                      <a:pt x="1074790" y="624914"/>
                      <a:pt x="1073885" y="626219"/>
                    </a:cubicBezTo>
                    <a:cubicBezTo>
                      <a:pt x="1073075" y="627752"/>
                      <a:pt x="1072589" y="629438"/>
                      <a:pt x="1072456" y="631172"/>
                    </a:cubicBezTo>
                    <a:lnTo>
                      <a:pt x="1072456" y="631172"/>
                    </a:lnTo>
                    <a:cubicBezTo>
                      <a:pt x="1072456" y="631172"/>
                      <a:pt x="1072456" y="631172"/>
                      <a:pt x="1072456" y="631172"/>
                    </a:cubicBezTo>
                    <a:cubicBezTo>
                      <a:pt x="1072456" y="631172"/>
                      <a:pt x="1072456" y="631743"/>
                      <a:pt x="1071694" y="633172"/>
                    </a:cubicBezTo>
                    <a:cubicBezTo>
                      <a:pt x="1071027" y="636125"/>
                      <a:pt x="1071027" y="636125"/>
                      <a:pt x="1070837" y="636220"/>
                    </a:cubicBezTo>
                    <a:cubicBezTo>
                      <a:pt x="1070646" y="636315"/>
                      <a:pt x="1070837" y="636220"/>
                      <a:pt x="1070265" y="636220"/>
                    </a:cubicBezTo>
                    <a:cubicBezTo>
                      <a:pt x="1069694" y="636220"/>
                      <a:pt x="1069598" y="639078"/>
                      <a:pt x="1068646" y="640221"/>
                    </a:cubicBezTo>
                    <a:cubicBezTo>
                      <a:pt x="1068732" y="636687"/>
                      <a:pt x="1069208" y="633172"/>
                      <a:pt x="1070075" y="629743"/>
                    </a:cubicBezTo>
                    <a:cubicBezTo>
                      <a:pt x="1070523" y="627733"/>
                      <a:pt x="1070808" y="625695"/>
                      <a:pt x="1070932" y="623647"/>
                    </a:cubicBezTo>
                    <a:cubicBezTo>
                      <a:pt x="1070884" y="623095"/>
                      <a:pt x="1070694" y="622571"/>
                      <a:pt x="1070360" y="622123"/>
                    </a:cubicBezTo>
                    <a:lnTo>
                      <a:pt x="1070360" y="622123"/>
                    </a:lnTo>
                    <a:lnTo>
                      <a:pt x="1070360" y="622123"/>
                    </a:lnTo>
                    <a:cubicBezTo>
                      <a:pt x="1069598" y="615932"/>
                      <a:pt x="1075314" y="608883"/>
                      <a:pt x="1068360" y="603073"/>
                    </a:cubicBezTo>
                    <a:cubicBezTo>
                      <a:pt x="1069122" y="595263"/>
                      <a:pt x="1069122" y="595263"/>
                      <a:pt x="1068360" y="593548"/>
                    </a:cubicBezTo>
                    <a:cubicBezTo>
                      <a:pt x="1065503" y="603073"/>
                      <a:pt x="1065503" y="612598"/>
                      <a:pt x="1063503" y="622123"/>
                    </a:cubicBezTo>
                    <a:cubicBezTo>
                      <a:pt x="1062407" y="626114"/>
                      <a:pt x="1061674" y="630191"/>
                      <a:pt x="1061312" y="634315"/>
                    </a:cubicBezTo>
                    <a:cubicBezTo>
                      <a:pt x="1061636" y="638458"/>
                      <a:pt x="1061188" y="642621"/>
                      <a:pt x="1059978" y="646602"/>
                    </a:cubicBezTo>
                    <a:lnTo>
                      <a:pt x="1059978" y="646602"/>
                    </a:lnTo>
                    <a:cubicBezTo>
                      <a:pt x="1059312" y="649746"/>
                      <a:pt x="1058454" y="653651"/>
                      <a:pt x="1059978" y="654984"/>
                    </a:cubicBezTo>
                    <a:cubicBezTo>
                      <a:pt x="1063503" y="658128"/>
                      <a:pt x="1054454" y="695561"/>
                      <a:pt x="1049882" y="708420"/>
                    </a:cubicBezTo>
                    <a:cubicBezTo>
                      <a:pt x="1049129" y="711344"/>
                      <a:pt x="1047939" y="714134"/>
                      <a:pt x="1046357" y="716706"/>
                    </a:cubicBezTo>
                    <a:cubicBezTo>
                      <a:pt x="1048186" y="709086"/>
                      <a:pt x="1049491" y="701352"/>
                      <a:pt x="1050263" y="693561"/>
                    </a:cubicBezTo>
                    <a:cubicBezTo>
                      <a:pt x="1051691" y="685179"/>
                      <a:pt x="1054454" y="677082"/>
                      <a:pt x="1056073" y="668700"/>
                    </a:cubicBezTo>
                    <a:cubicBezTo>
                      <a:pt x="1056645" y="666129"/>
                      <a:pt x="1056930" y="663462"/>
                      <a:pt x="1057311" y="660890"/>
                    </a:cubicBezTo>
                    <a:lnTo>
                      <a:pt x="1058168" y="644602"/>
                    </a:lnTo>
                    <a:cubicBezTo>
                      <a:pt x="1057502" y="645936"/>
                      <a:pt x="1057597" y="647650"/>
                      <a:pt x="1056549" y="648888"/>
                    </a:cubicBezTo>
                    <a:cubicBezTo>
                      <a:pt x="1056549" y="639363"/>
                      <a:pt x="1062645" y="631838"/>
                      <a:pt x="1061788" y="622504"/>
                    </a:cubicBezTo>
                    <a:cubicBezTo>
                      <a:pt x="1059692" y="602978"/>
                      <a:pt x="1068551" y="583642"/>
                      <a:pt x="1063217" y="564021"/>
                    </a:cubicBezTo>
                    <a:cubicBezTo>
                      <a:pt x="1062826" y="568364"/>
                      <a:pt x="1061064" y="572469"/>
                      <a:pt x="1058168" y="575736"/>
                    </a:cubicBezTo>
                    <a:lnTo>
                      <a:pt x="1057406" y="574022"/>
                    </a:lnTo>
                    <a:cubicBezTo>
                      <a:pt x="1057406" y="573450"/>
                      <a:pt x="1057406" y="571641"/>
                      <a:pt x="1057406" y="572212"/>
                    </a:cubicBezTo>
                    <a:cubicBezTo>
                      <a:pt x="1058026" y="553381"/>
                      <a:pt x="1054949" y="534617"/>
                      <a:pt x="1048358" y="516967"/>
                    </a:cubicBezTo>
                    <a:cubicBezTo>
                      <a:pt x="1048358" y="519920"/>
                      <a:pt x="1045691" y="520967"/>
                      <a:pt x="1044357" y="522968"/>
                    </a:cubicBezTo>
                    <a:cubicBezTo>
                      <a:pt x="1044357" y="521634"/>
                      <a:pt x="1043690" y="519825"/>
                      <a:pt x="1043500" y="518491"/>
                    </a:cubicBezTo>
                    <a:cubicBezTo>
                      <a:pt x="1043452" y="519996"/>
                      <a:pt x="1043262" y="521501"/>
                      <a:pt x="1042929" y="522968"/>
                    </a:cubicBezTo>
                    <a:lnTo>
                      <a:pt x="1042262" y="521158"/>
                    </a:lnTo>
                    <a:cubicBezTo>
                      <a:pt x="1042262" y="521730"/>
                      <a:pt x="1041690" y="522492"/>
                      <a:pt x="1041405" y="522968"/>
                    </a:cubicBezTo>
                    <a:cubicBezTo>
                      <a:pt x="1041147" y="521577"/>
                      <a:pt x="1040795" y="520215"/>
                      <a:pt x="1040357" y="518872"/>
                    </a:cubicBezTo>
                    <a:cubicBezTo>
                      <a:pt x="1031308" y="553448"/>
                      <a:pt x="1012639" y="584976"/>
                      <a:pt x="1008257" y="621075"/>
                    </a:cubicBezTo>
                    <a:lnTo>
                      <a:pt x="1008257" y="621075"/>
                    </a:lnTo>
                    <a:lnTo>
                      <a:pt x="1008257" y="624409"/>
                    </a:lnTo>
                    <a:lnTo>
                      <a:pt x="1008257" y="624409"/>
                    </a:lnTo>
                    <a:cubicBezTo>
                      <a:pt x="1008277" y="626352"/>
                      <a:pt x="1008124" y="628305"/>
                      <a:pt x="1007781" y="630219"/>
                    </a:cubicBezTo>
                    <a:cubicBezTo>
                      <a:pt x="1007581" y="630934"/>
                      <a:pt x="1007334" y="631639"/>
                      <a:pt x="1007019" y="632315"/>
                    </a:cubicBezTo>
                    <a:cubicBezTo>
                      <a:pt x="1006353" y="633553"/>
                      <a:pt x="1005209" y="634505"/>
                      <a:pt x="1004638" y="635839"/>
                    </a:cubicBezTo>
                    <a:cubicBezTo>
                      <a:pt x="1004066" y="637173"/>
                      <a:pt x="1003590" y="639078"/>
                      <a:pt x="1002733" y="640602"/>
                    </a:cubicBezTo>
                    <a:lnTo>
                      <a:pt x="1002733" y="641268"/>
                    </a:lnTo>
                    <a:cubicBezTo>
                      <a:pt x="1001971" y="642411"/>
                      <a:pt x="1000638" y="642983"/>
                      <a:pt x="999875" y="644221"/>
                    </a:cubicBezTo>
                    <a:cubicBezTo>
                      <a:pt x="999114" y="645459"/>
                      <a:pt x="998828" y="647650"/>
                      <a:pt x="997780" y="649174"/>
                    </a:cubicBezTo>
                    <a:cubicBezTo>
                      <a:pt x="997446" y="649736"/>
                      <a:pt x="997028" y="650250"/>
                      <a:pt x="996542" y="650698"/>
                    </a:cubicBezTo>
                    <a:cubicBezTo>
                      <a:pt x="993684" y="653555"/>
                      <a:pt x="993398" y="652317"/>
                      <a:pt x="993113" y="650698"/>
                    </a:cubicBezTo>
                    <a:cubicBezTo>
                      <a:pt x="992827" y="649079"/>
                      <a:pt x="992446" y="644221"/>
                      <a:pt x="992351" y="641173"/>
                    </a:cubicBezTo>
                    <a:cubicBezTo>
                      <a:pt x="992255" y="638125"/>
                      <a:pt x="993398" y="634029"/>
                      <a:pt x="993017" y="630410"/>
                    </a:cubicBezTo>
                    <a:cubicBezTo>
                      <a:pt x="993017" y="628409"/>
                      <a:pt x="992255" y="626409"/>
                      <a:pt x="991970" y="624314"/>
                    </a:cubicBezTo>
                    <a:lnTo>
                      <a:pt x="991970" y="619647"/>
                    </a:lnTo>
                    <a:lnTo>
                      <a:pt x="991970" y="619647"/>
                    </a:lnTo>
                    <a:cubicBezTo>
                      <a:pt x="987017" y="570688"/>
                      <a:pt x="978444" y="526302"/>
                      <a:pt x="978349" y="526206"/>
                    </a:cubicBezTo>
                    <a:cubicBezTo>
                      <a:pt x="977111" y="530207"/>
                      <a:pt x="980064" y="534684"/>
                      <a:pt x="976730" y="538303"/>
                    </a:cubicBezTo>
                    <a:cubicBezTo>
                      <a:pt x="968919" y="547161"/>
                      <a:pt x="961014" y="524016"/>
                      <a:pt x="960918" y="523730"/>
                    </a:cubicBezTo>
                    <a:cubicBezTo>
                      <a:pt x="962166" y="522682"/>
                      <a:pt x="963233" y="521425"/>
                      <a:pt x="964062" y="520015"/>
                    </a:cubicBezTo>
                    <a:cubicBezTo>
                      <a:pt x="956622" y="514481"/>
                      <a:pt x="950479" y="507394"/>
                      <a:pt x="946059" y="499250"/>
                    </a:cubicBezTo>
                    <a:cubicBezTo>
                      <a:pt x="935772" y="496012"/>
                      <a:pt x="926152" y="502299"/>
                      <a:pt x="915960" y="501155"/>
                    </a:cubicBezTo>
                    <a:cubicBezTo>
                      <a:pt x="913674" y="501155"/>
                      <a:pt x="897958" y="497250"/>
                      <a:pt x="896910" y="496774"/>
                    </a:cubicBezTo>
                    <a:cubicBezTo>
                      <a:pt x="892814" y="494298"/>
                      <a:pt x="893862" y="488678"/>
                      <a:pt x="890147" y="485916"/>
                    </a:cubicBezTo>
                    <a:cubicBezTo>
                      <a:pt x="887452" y="486506"/>
                      <a:pt x="884918" y="487678"/>
                      <a:pt x="882718" y="489345"/>
                    </a:cubicBezTo>
                    <a:cubicBezTo>
                      <a:pt x="874907" y="497822"/>
                      <a:pt x="867764" y="482582"/>
                      <a:pt x="859191" y="483058"/>
                    </a:cubicBezTo>
                    <a:cubicBezTo>
                      <a:pt x="853572" y="475724"/>
                      <a:pt x="852809" y="464675"/>
                      <a:pt x="842522" y="460770"/>
                    </a:cubicBezTo>
                    <a:cubicBezTo>
                      <a:pt x="840132" y="463389"/>
                      <a:pt x="837446" y="465723"/>
                      <a:pt x="834522" y="467723"/>
                    </a:cubicBezTo>
                    <a:cubicBezTo>
                      <a:pt x="841237" y="481934"/>
                      <a:pt x="849514" y="495345"/>
                      <a:pt x="859191" y="507728"/>
                    </a:cubicBezTo>
                    <a:cubicBezTo>
                      <a:pt x="858715" y="499060"/>
                      <a:pt x="858715" y="499060"/>
                      <a:pt x="860334" y="496107"/>
                    </a:cubicBezTo>
                    <a:cubicBezTo>
                      <a:pt x="867573" y="500775"/>
                      <a:pt x="861477" y="508109"/>
                      <a:pt x="862525" y="514109"/>
                    </a:cubicBezTo>
                    <a:cubicBezTo>
                      <a:pt x="872050" y="518967"/>
                      <a:pt x="872050" y="518967"/>
                      <a:pt x="889385" y="492964"/>
                    </a:cubicBezTo>
                    <a:cubicBezTo>
                      <a:pt x="892243" y="507728"/>
                      <a:pt x="892243" y="507728"/>
                      <a:pt x="901482" y="514014"/>
                    </a:cubicBezTo>
                    <a:cubicBezTo>
                      <a:pt x="908693" y="519796"/>
                      <a:pt x="912522" y="528816"/>
                      <a:pt x="911674" y="538017"/>
                    </a:cubicBezTo>
                    <a:cubicBezTo>
                      <a:pt x="907578" y="562592"/>
                      <a:pt x="885290" y="574308"/>
                      <a:pt x="872907" y="592977"/>
                    </a:cubicBezTo>
                    <a:cubicBezTo>
                      <a:pt x="872907" y="592977"/>
                      <a:pt x="824044" y="622599"/>
                      <a:pt x="817948" y="618408"/>
                    </a:cubicBezTo>
                    <a:cubicBezTo>
                      <a:pt x="816233" y="617265"/>
                      <a:pt x="815853" y="616980"/>
                      <a:pt x="811947" y="608883"/>
                    </a:cubicBezTo>
                    <a:cubicBezTo>
                      <a:pt x="808042" y="600787"/>
                      <a:pt x="812423" y="591357"/>
                      <a:pt x="808709" y="583071"/>
                    </a:cubicBezTo>
                    <a:cubicBezTo>
                      <a:pt x="802898" y="570021"/>
                      <a:pt x="790802" y="561449"/>
                      <a:pt x="784991" y="548495"/>
                    </a:cubicBezTo>
                    <a:cubicBezTo>
                      <a:pt x="784058" y="546266"/>
                      <a:pt x="783639" y="543856"/>
                      <a:pt x="783753" y="541446"/>
                    </a:cubicBezTo>
                    <a:cubicBezTo>
                      <a:pt x="784115" y="537741"/>
                      <a:pt x="783315" y="534017"/>
                      <a:pt x="781467" y="530778"/>
                    </a:cubicBezTo>
                    <a:cubicBezTo>
                      <a:pt x="781467" y="530778"/>
                      <a:pt x="781467" y="529921"/>
                      <a:pt x="781467" y="530112"/>
                    </a:cubicBezTo>
                    <a:cubicBezTo>
                      <a:pt x="769942" y="511062"/>
                      <a:pt x="756607" y="493440"/>
                      <a:pt x="745558" y="474295"/>
                    </a:cubicBezTo>
                    <a:cubicBezTo>
                      <a:pt x="742796" y="480963"/>
                      <a:pt x="745558" y="488297"/>
                      <a:pt x="743081" y="495059"/>
                    </a:cubicBezTo>
                    <a:cubicBezTo>
                      <a:pt x="736985" y="487059"/>
                      <a:pt x="735080" y="476676"/>
                      <a:pt x="728032" y="469247"/>
                    </a:cubicBezTo>
                    <a:lnTo>
                      <a:pt x="726413" y="470771"/>
                    </a:lnTo>
                    <a:cubicBezTo>
                      <a:pt x="732604" y="488392"/>
                      <a:pt x="746130" y="501632"/>
                      <a:pt x="754988" y="517443"/>
                    </a:cubicBezTo>
                    <a:cubicBezTo>
                      <a:pt x="763846" y="533255"/>
                      <a:pt x="763846" y="551257"/>
                      <a:pt x="771942" y="566878"/>
                    </a:cubicBezTo>
                    <a:cubicBezTo>
                      <a:pt x="773942" y="570688"/>
                      <a:pt x="778038" y="572688"/>
                      <a:pt x="780515" y="576403"/>
                    </a:cubicBezTo>
                    <a:cubicBezTo>
                      <a:pt x="782991" y="580118"/>
                      <a:pt x="782801" y="579832"/>
                      <a:pt x="783753" y="587738"/>
                    </a:cubicBezTo>
                    <a:cubicBezTo>
                      <a:pt x="783982" y="590548"/>
                      <a:pt x="784896" y="593262"/>
                      <a:pt x="786420" y="595644"/>
                    </a:cubicBezTo>
                    <a:cubicBezTo>
                      <a:pt x="787754" y="597644"/>
                      <a:pt x="787849" y="597549"/>
                      <a:pt x="789564" y="596787"/>
                    </a:cubicBezTo>
                    <a:cubicBezTo>
                      <a:pt x="791278" y="596025"/>
                      <a:pt x="790040" y="596787"/>
                      <a:pt x="792230" y="598882"/>
                    </a:cubicBezTo>
                    <a:cubicBezTo>
                      <a:pt x="794421" y="600978"/>
                      <a:pt x="791754" y="601454"/>
                      <a:pt x="792992" y="602502"/>
                    </a:cubicBezTo>
                    <a:cubicBezTo>
                      <a:pt x="794231" y="603549"/>
                      <a:pt x="796898" y="602502"/>
                      <a:pt x="798326" y="604026"/>
                    </a:cubicBezTo>
                    <a:cubicBezTo>
                      <a:pt x="799470" y="605645"/>
                      <a:pt x="800460" y="607369"/>
                      <a:pt x="801279" y="609169"/>
                    </a:cubicBezTo>
                    <a:cubicBezTo>
                      <a:pt x="801946" y="610122"/>
                      <a:pt x="801946" y="611455"/>
                      <a:pt x="802708" y="612408"/>
                    </a:cubicBezTo>
                    <a:cubicBezTo>
                      <a:pt x="803470" y="613360"/>
                      <a:pt x="802708" y="612408"/>
                      <a:pt x="804422" y="613551"/>
                    </a:cubicBezTo>
                    <a:cubicBezTo>
                      <a:pt x="806137" y="614694"/>
                      <a:pt x="812328" y="617456"/>
                      <a:pt x="811757" y="620504"/>
                    </a:cubicBezTo>
                    <a:cubicBezTo>
                      <a:pt x="811452" y="621475"/>
                      <a:pt x="810966" y="622380"/>
                      <a:pt x="810328" y="623171"/>
                    </a:cubicBezTo>
                    <a:lnTo>
                      <a:pt x="810328" y="623171"/>
                    </a:lnTo>
                    <a:cubicBezTo>
                      <a:pt x="809766" y="623809"/>
                      <a:pt x="809347" y="624552"/>
                      <a:pt x="809090" y="625362"/>
                    </a:cubicBezTo>
                    <a:cubicBezTo>
                      <a:pt x="807661" y="629267"/>
                      <a:pt x="819853" y="637839"/>
                      <a:pt x="820043" y="637839"/>
                    </a:cubicBezTo>
                    <a:cubicBezTo>
                      <a:pt x="821948" y="637839"/>
                      <a:pt x="830712" y="636411"/>
                      <a:pt x="860906" y="622790"/>
                    </a:cubicBezTo>
                    <a:lnTo>
                      <a:pt x="861763" y="622790"/>
                    </a:lnTo>
                    <a:cubicBezTo>
                      <a:pt x="863001" y="624885"/>
                      <a:pt x="863001" y="624885"/>
                      <a:pt x="862811" y="626124"/>
                    </a:cubicBezTo>
                    <a:cubicBezTo>
                      <a:pt x="862620" y="627362"/>
                      <a:pt x="855381" y="660509"/>
                      <a:pt x="840903" y="677463"/>
                    </a:cubicBezTo>
                    <a:cubicBezTo>
                      <a:pt x="840046" y="678416"/>
                      <a:pt x="838236" y="680702"/>
                      <a:pt x="836617" y="682893"/>
                    </a:cubicBezTo>
                    <a:cubicBezTo>
                      <a:pt x="830854" y="691884"/>
                      <a:pt x="823720" y="699923"/>
                      <a:pt x="815472" y="706705"/>
                    </a:cubicBezTo>
                    <a:cubicBezTo>
                      <a:pt x="796422" y="722898"/>
                      <a:pt x="796422" y="722898"/>
                      <a:pt x="794421" y="725184"/>
                    </a:cubicBezTo>
                    <a:cubicBezTo>
                      <a:pt x="792421" y="727470"/>
                      <a:pt x="787182" y="729755"/>
                      <a:pt x="784896" y="733470"/>
                    </a:cubicBezTo>
                    <a:cubicBezTo>
                      <a:pt x="779372" y="742233"/>
                      <a:pt x="771275" y="749091"/>
                      <a:pt x="766513" y="758426"/>
                    </a:cubicBezTo>
                    <a:cubicBezTo>
                      <a:pt x="764322" y="762617"/>
                      <a:pt x="767180" y="767094"/>
                      <a:pt x="765560" y="771189"/>
                    </a:cubicBezTo>
                    <a:cubicBezTo>
                      <a:pt x="761179" y="782715"/>
                      <a:pt x="760322" y="784715"/>
                      <a:pt x="761941" y="788525"/>
                    </a:cubicBezTo>
                    <a:cubicBezTo>
                      <a:pt x="765941" y="798050"/>
                      <a:pt x="765941" y="798050"/>
                      <a:pt x="763751" y="803193"/>
                    </a:cubicBezTo>
                    <a:cubicBezTo>
                      <a:pt x="761560" y="808337"/>
                      <a:pt x="759179" y="817005"/>
                      <a:pt x="756607" y="823863"/>
                    </a:cubicBezTo>
                    <a:cubicBezTo>
                      <a:pt x="755940" y="825672"/>
                      <a:pt x="757369" y="827673"/>
                      <a:pt x="756607" y="829482"/>
                    </a:cubicBezTo>
                    <a:cubicBezTo>
                      <a:pt x="752283" y="835159"/>
                      <a:pt x="746063" y="839074"/>
                      <a:pt x="739081" y="840531"/>
                    </a:cubicBezTo>
                    <a:lnTo>
                      <a:pt x="739081" y="840531"/>
                    </a:lnTo>
                    <a:cubicBezTo>
                      <a:pt x="710030" y="849199"/>
                      <a:pt x="714221" y="889204"/>
                      <a:pt x="685074" y="897681"/>
                    </a:cubicBezTo>
                    <a:cubicBezTo>
                      <a:pt x="683074" y="903206"/>
                      <a:pt x="663738" y="951593"/>
                      <a:pt x="596968" y="948259"/>
                    </a:cubicBezTo>
                    <a:cubicBezTo>
                      <a:pt x="597635" y="936353"/>
                      <a:pt x="592491" y="925209"/>
                      <a:pt x="592491" y="913398"/>
                    </a:cubicBezTo>
                    <a:cubicBezTo>
                      <a:pt x="589157" y="912064"/>
                      <a:pt x="583538" y="909683"/>
                      <a:pt x="583728" y="882632"/>
                    </a:cubicBezTo>
                    <a:cubicBezTo>
                      <a:pt x="583728" y="870154"/>
                      <a:pt x="573537" y="861867"/>
                      <a:pt x="571155" y="850342"/>
                    </a:cubicBezTo>
                    <a:cubicBezTo>
                      <a:pt x="571165" y="841484"/>
                      <a:pt x="572251" y="832654"/>
                      <a:pt x="574394" y="824053"/>
                    </a:cubicBezTo>
                    <a:cubicBezTo>
                      <a:pt x="577251" y="813861"/>
                      <a:pt x="593444" y="807861"/>
                      <a:pt x="586395" y="795478"/>
                    </a:cubicBezTo>
                    <a:cubicBezTo>
                      <a:pt x="580966" y="785953"/>
                      <a:pt x="582109" y="775380"/>
                      <a:pt x="579918" y="765284"/>
                    </a:cubicBezTo>
                    <a:cubicBezTo>
                      <a:pt x="577061" y="751854"/>
                      <a:pt x="560868" y="750234"/>
                      <a:pt x="555915" y="739090"/>
                    </a:cubicBezTo>
                    <a:cubicBezTo>
                      <a:pt x="547629" y="721850"/>
                      <a:pt x="570679" y="700990"/>
                      <a:pt x="550772" y="685559"/>
                    </a:cubicBezTo>
                    <a:cubicBezTo>
                      <a:pt x="545914" y="686893"/>
                      <a:pt x="540485" y="685083"/>
                      <a:pt x="535817" y="688036"/>
                    </a:cubicBezTo>
                    <a:cubicBezTo>
                      <a:pt x="525435" y="683845"/>
                      <a:pt x="518672" y="672129"/>
                      <a:pt x="505623" y="673653"/>
                    </a:cubicBezTo>
                    <a:cubicBezTo>
                      <a:pt x="492574" y="675177"/>
                      <a:pt x="480954" y="685655"/>
                      <a:pt x="466571" y="683178"/>
                    </a:cubicBezTo>
                    <a:lnTo>
                      <a:pt x="462951" y="682607"/>
                    </a:lnTo>
                    <a:cubicBezTo>
                      <a:pt x="448473" y="679940"/>
                      <a:pt x="435805" y="692132"/>
                      <a:pt x="421232" y="687941"/>
                    </a:cubicBezTo>
                    <a:cubicBezTo>
                      <a:pt x="408945" y="684798"/>
                      <a:pt x="409421" y="667653"/>
                      <a:pt x="396276" y="665557"/>
                    </a:cubicBezTo>
                    <a:lnTo>
                      <a:pt x="392466" y="665557"/>
                    </a:lnTo>
                    <a:lnTo>
                      <a:pt x="390275" y="665557"/>
                    </a:lnTo>
                    <a:cubicBezTo>
                      <a:pt x="380274" y="650946"/>
                      <a:pt x="369530" y="636868"/>
                      <a:pt x="358081" y="623361"/>
                    </a:cubicBezTo>
                    <a:lnTo>
                      <a:pt x="358081" y="623361"/>
                    </a:lnTo>
                    <a:lnTo>
                      <a:pt x="357605" y="622409"/>
                    </a:lnTo>
                    <a:cubicBezTo>
                      <a:pt x="356843" y="616408"/>
                      <a:pt x="352938" y="610788"/>
                      <a:pt x="355033" y="604311"/>
                    </a:cubicBezTo>
                    <a:cubicBezTo>
                      <a:pt x="355033" y="603263"/>
                      <a:pt x="363605" y="578594"/>
                      <a:pt x="359129" y="572022"/>
                    </a:cubicBezTo>
                    <a:cubicBezTo>
                      <a:pt x="357224" y="569164"/>
                      <a:pt x="347889" y="554305"/>
                      <a:pt x="356081" y="542304"/>
                    </a:cubicBezTo>
                    <a:cubicBezTo>
                      <a:pt x="357757" y="539913"/>
                      <a:pt x="359186" y="537360"/>
                      <a:pt x="360367" y="534684"/>
                    </a:cubicBezTo>
                    <a:cubicBezTo>
                      <a:pt x="371606" y="497060"/>
                      <a:pt x="371606" y="497060"/>
                      <a:pt x="401705" y="478010"/>
                    </a:cubicBezTo>
                    <a:cubicBezTo>
                      <a:pt x="413421" y="470771"/>
                      <a:pt x="403706" y="457245"/>
                      <a:pt x="410183" y="448482"/>
                    </a:cubicBezTo>
                    <a:cubicBezTo>
                      <a:pt x="416660" y="439719"/>
                      <a:pt x="428090" y="434766"/>
                      <a:pt x="433995" y="424860"/>
                    </a:cubicBezTo>
                    <a:cubicBezTo>
                      <a:pt x="434710" y="423327"/>
                      <a:pt x="435281" y="421736"/>
                      <a:pt x="435710" y="420098"/>
                    </a:cubicBezTo>
                    <a:cubicBezTo>
                      <a:pt x="446464" y="420422"/>
                      <a:pt x="457170" y="421669"/>
                      <a:pt x="467714" y="423813"/>
                    </a:cubicBezTo>
                    <a:cubicBezTo>
                      <a:pt x="483906" y="405620"/>
                      <a:pt x="523054" y="408573"/>
                      <a:pt x="539056" y="410763"/>
                    </a:cubicBezTo>
                    <a:cubicBezTo>
                      <a:pt x="542752" y="405696"/>
                      <a:pt x="549724" y="404324"/>
                      <a:pt x="555058" y="407620"/>
                    </a:cubicBezTo>
                    <a:cubicBezTo>
                      <a:pt x="557163" y="413964"/>
                      <a:pt x="560078" y="420012"/>
                      <a:pt x="563726" y="425622"/>
                    </a:cubicBezTo>
                    <a:cubicBezTo>
                      <a:pt x="558392" y="436481"/>
                      <a:pt x="558392" y="436481"/>
                      <a:pt x="560201" y="437624"/>
                    </a:cubicBezTo>
                    <a:cubicBezTo>
                      <a:pt x="571346" y="445053"/>
                      <a:pt x="587443" y="439243"/>
                      <a:pt x="596682" y="451435"/>
                    </a:cubicBezTo>
                    <a:cubicBezTo>
                      <a:pt x="604016" y="460960"/>
                      <a:pt x="616399" y="461532"/>
                      <a:pt x="626019" y="467151"/>
                    </a:cubicBezTo>
                    <a:cubicBezTo>
                      <a:pt x="629648" y="463284"/>
                      <a:pt x="632001" y="458398"/>
                      <a:pt x="632782" y="453150"/>
                    </a:cubicBezTo>
                    <a:cubicBezTo>
                      <a:pt x="632210" y="450863"/>
                      <a:pt x="631163" y="446101"/>
                      <a:pt x="636306" y="445434"/>
                    </a:cubicBezTo>
                    <a:cubicBezTo>
                      <a:pt x="659642" y="442386"/>
                      <a:pt x="679264" y="460103"/>
                      <a:pt x="702505" y="457055"/>
                    </a:cubicBezTo>
                    <a:cubicBezTo>
                      <a:pt x="712030" y="444482"/>
                      <a:pt x="726317" y="465342"/>
                      <a:pt x="735652" y="452578"/>
                    </a:cubicBezTo>
                    <a:cubicBezTo>
                      <a:pt x="739748" y="447054"/>
                      <a:pt x="742510" y="402953"/>
                      <a:pt x="742510" y="402572"/>
                    </a:cubicBezTo>
                    <a:cubicBezTo>
                      <a:pt x="732318" y="407811"/>
                      <a:pt x="732318" y="407811"/>
                      <a:pt x="704886" y="405715"/>
                    </a:cubicBezTo>
                    <a:cubicBezTo>
                      <a:pt x="704134" y="407020"/>
                      <a:pt x="703505" y="408392"/>
                      <a:pt x="702981" y="409811"/>
                    </a:cubicBezTo>
                    <a:cubicBezTo>
                      <a:pt x="702981" y="409811"/>
                      <a:pt x="683931" y="412763"/>
                      <a:pt x="679550" y="406572"/>
                    </a:cubicBezTo>
                    <a:cubicBezTo>
                      <a:pt x="681197" y="406334"/>
                      <a:pt x="682826" y="405953"/>
                      <a:pt x="684407" y="405429"/>
                    </a:cubicBezTo>
                    <a:cubicBezTo>
                      <a:pt x="681455" y="404858"/>
                      <a:pt x="681455" y="404858"/>
                      <a:pt x="676788" y="396571"/>
                    </a:cubicBezTo>
                    <a:cubicBezTo>
                      <a:pt x="675244" y="396428"/>
                      <a:pt x="673711" y="396142"/>
                      <a:pt x="672215" y="395714"/>
                    </a:cubicBezTo>
                    <a:lnTo>
                      <a:pt x="671454" y="393428"/>
                    </a:lnTo>
                    <a:cubicBezTo>
                      <a:pt x="672025" y="392094"/>
                      <a:pt x="672692" y="390284"/>
                      <a:pt x="673263" y="388856"/>
                    </a:cubicBezTo>
                    <a:lnTo>
                      <a:pt x="670882" y="388284"/>
                    </a:lnTo>
                    <a:cubicBezTo>
                      <a:pt x="670406" y="385236"/>
                      <a:pt x="670406" y="385141"/>
                      <a:pt x="666881" y="383522"/>
                    </a:cubicBezTo>
                    <a:cubicBezTo>
                      <a:pt x="668882" y="371901"/>
                      <a:pt x="681836" y="376188"/>
                      <a:pt x="688503" y="371139"/>
                    </a:cubicBezTo>
                    <a:lnTo>
                      <a:pt x="686693" y="369711"/>
                    </a:lnTo>
                    <a:cubicBezTo>
                      <a:pt x="687103" y="369044"/>
                      <a:pt x="687446" y="368339"/>
                      <a:pt x="687741" y="367615"/>
                    </a:cubicBezTo>
                    <a:cubicBezTo>
                      <a:pt x="694637" y="366901"/>
                      <a:pt x="701438" y="365472"/>
                      <a:pt x="708030" y="363329"/>
                    </a:cubicBezTo>
                    <a:cubicBezTo>
                      <a:pt x="717555" y="357042"/>
                      <a:pt x="722222" y="353804"/>
                      <a:pt x="727080" y="358947"/>
                    </a:cubicBezTo>
                    <a:cubicBezTo>
                      <a:pt x="736481" y="361395"/>
                      <a:pt x="746025" y="363272"/>
                      <a:pt x="755655" y="364567"/>
                    </a:cubicBezTo>
                    <a:cubicBezTo>
                      <a:pt x="763751" y="363519"/>
                      <a:pt x="765180" y="360186"/>
                      <a:pt x="766418" y="357995"/>
                    </a:cubicBezTo>
                    <a:cubicBezTo>
                      <a:pt x="764027" y="354537"/>
                      <a:pt x="762017" y="350832"/>
                      <a:pt x="760417" y="346946"/>
                    </a:cubicBezTo>
                    <a:cubicBezTo>
                      <a:pt x="753559" y="346088"/>
                      <a:pt x="728127" y="334754"/>
                      <a:pt x="725270" y="325515"/>
                    </a:cubicBezTo>
                    <a:cubicBezTo>
                      <a:pt x="729842" y="322467"/>
                      <a:pt x="729842" y="322467"/>
                      <a:pt x="729842" y="316752"/>
                    </a:cubicBezTo>
                    <a:lnTo>
                      <a:pt x="731556" y="315132"/>
                    </a:lnTo>
                    <a:cubicBezTo>
                      <a:pt x="730651" y="314018"/>
                      <a:pt x="729880" y="312808"/>
                      <a:pt x="729270" y="311513"/>
                    </a:cubicBezTo>
                    <a:cubicBezTo>
                      <a:pt x="730413" y="310655"/>
                      <a:pt x="731747" y="309417"/>
                      <a:pt x="732795" y="308465"/>
                    </a:cubicBezTo>
                    <a:lnTo>
                      <a:pt x="732223" y="306179"/>
                    </a:lnTo>
                    <a:cubicBezTo>
                      <a:pt x="725212" y="308617"/>
                      <a:pt x="718736" y="312408"/>
                      <a:pt x="713173" y="317323"/>
                    </a:cubicBezTo>
                    <a:cubicBezTo>
                      <a:pt x="711078" y="317323"/>
                      <a:pt x="711078" y="317323"/>
                      <a:pt x="706696" y="318275"/>
                    </a:cubicBezTo>
                    <a:cubicBezTo>
                      <a:pt x="706744" y="319009"/>
                      <a:pt x="706744" y="319733"/>
                      <a:pt x="706696" y="320466"/>
                    </a:cubicBezTo>
                    <a:cubicBezTo>
                      <a:pt x="711935" y="321324"/>
                      <a:pt x="716221" y="325991"/>
                      <a:pt x="721841" y="324657"/>
                    </a:cubicBezTo>
                    <a:cubicBezTo>
                      <a:pt x="722479" y="326010"/>
                      <a:pt x="723022" y="327410"/>
                      <a:pt x="723460" y="328848"/>
                    </a:cubicBezTo>
                    <a:cubicBezTo>
                      <a:pt x="716697" y="331039"/>
                      <a:pt x="711458" y="341231"/>
                      <a:pt x="703172" y="335516"/>
                    </a:cubicBezTo>
                    <a:cubicBezTo>
                      <a:pt x="704315" y="331325"/>
                      <a:pt x="705077" y="328563"/>
                      <a:pt x="698219" y="328182"/>
                    </a:cubicBezTo>
                    <a:lnTo>
                      <a:pt x="696980" y="326372"/>
                    </a:lnTo>
                    <a:cubicBezTo>
                      <a:pt x="699133" y="325276"/>
                      <a:pt x="701076" y="323791"/>
                      <a:pt x="702696" y="321990"/>
                    </a:cubicBezTo>
                    <a:lnTo>
                      <a:pt x="702696" y="319609"/>
                    </a:lnTo>
                    <a:cubicBezTo>
                      <a:pt x="699171" y="318495"/>
                      <a:pt x="695523" y="317790"/>
                      <a:pt x="691837" y="317513"/>
                    </a:cubicBezTo>
                    <a:cubicBezTo>
                      <a:pt x="693466" y="315951"/>
                      <a:pt x="695180" y="314494"/>
                      <a:pt x="696980" y="313132"/>
                    </a:cubicBezTo>
                    <a:cubicBezTo>
                      <a:pt x="680979" y="313894"/>
                      <a:pt x="685074" y="332182"/>
                      <a:pt x="676692" y="340278"/>
                    </a:cubicBezTo>
                    <a:cubicBezTo>
                      <a:pt x="679740" y="348089"/>
                      <a:pt x="674787" y="356090"/>
                      <a:pt x="677359" y="363805"/>
                    </a:cubicBezTo>
                    <a:cubicBezTo>
                      <a:pt x="683931" y="366853"/>
                      <a:pt x="683931" y="366853"/>
                      <a:pt x="685360" y="368663"/>
                    </a:cubicBezTo>
                    <a:lnTo>
                      <a:pt x="683646" y="369996"/>
                    </a:lnTo>
                    <a:cubicBezTo>
                      <a:pt x="681445" y="369549"/>
                      <a:pt x="679178" y="369549"/>
                      <a:pt x="676978" y="369996"/>
                    </a:cubicBezTo>
                    <a:lnTo>
                      <a:pt x="674406" y="373902"/>
                    </a:lnTo>
                    <a:cubicBezTo>
                      <a:pt x="667196" y="374064"/>
                      <a:pt x="659976" y="373835"/>
                      <a:pt x="652784" y="373235"/>
                    </a:cubicBezTo>
                    <a:cubicBezTo>
                      <a:pt x="651889" y="374521"/>
                      <a:pt x="651423" y="376054"/>
                      <a:pt x="651451" y="377616"/>
                    </a:cubicBezTo>
                    <a:lnTo>
                      <a:pt x="649451" y="378664"/>
                    </a:lnTo>
                    <a:cubicBezTo>
                      <a:pt x="648193" y="377788"/>
                      <a:pt x="647088" y="376692"/>
                      <a:pt x="646212" y="375425"/>
                    </a:cubicBezTo>
                    <a:lnTo>
                      <a:pt x="644022" y="375425"/>
                    </a:lnTo>
                    <a:cubicBezTo>
                      <a:pt x="644022" y="375425"/>
                      <a:pt x="644022" y="389904"/>
                      <a:pt x="656023" y="392475"/>
                    </a:cubicBezTo>
                    <a:cubicBezTo>
                      <a:pt x="657071" y="399333"/>
                      <a:pt x="648403" y="402572"/>
                      <a:pt x="650022" y="409525"/>
                    </a:cubicBezTo>
                    <a:lnTo>
                      <a:pt x="647831" y="409525"/>
                    </a:lnTo>
                    <a:lnTo>
                      <a:pt x="647831" y="411811"/>
                    </a:lnTo>
                    <a:cubicBezTo>
                      <a:pt x="642974" y="408192"/>
                      <a:pt x="638726" y="403820"/>
                      <a:pt x="635258" y="398857"/>
                    </a:cubicBezTo>
                    <a:lnTo>
                      <a:pt x="636116" y="396666"/>
                    </a:lnTo>
                    <a:lnTo>
                      <a:pt x="649070" y="397428"/>
                    </a:lnTo>
                    <a:cubicBezTo>
                      <a:pt x="649117" y="396009"/>
                      <a:pt x="648717" y="394609"/>
                      <a:pt x="647927" y="393428"/>
                    </a:cubicBezTo>
                    <a:cubicBezTo>
                      <a:pt x="643059" y="394418"/>
                      <a:pt x="638021" y="394190"/>
                      <a:pt x="633258" y="392761"/>
                    </a:cubicBezTo>
                    <a:cubicBezTo>
                      <a:pt x="631544" y="381807"/>
                      <a:pt x="620685" y="375045"/>
                      <a:pt x="620018" y="363615"/>
                    </a:cubicBezTo>
                    <a:lnTo>
                      <a:pt x="614399" y="359328"/>
                    </a:lnTo>
                    <a:cubicBezTo>
                      <a:pt x="608503" y="355537"/>
                      <a:pt x="602083" y="352613"/>
                      <a:pt x="595349" y="350661"/>
                    </a:cubicBezTo>
                    <a:cubicBezTo>
                      <a:pt x="588396" y="347898"/>
                      <a:pt x="589443" y="337325"/>
                      <a:pt x="580966" y="335897"/>
                    </a:cubicBezTo>
                    <a:lnTo>
                      <a:pt x="580204" y="337992"/>
                    </a:lnTo>
                    <a:cubicBezTo>
                      <a:pt x="575537" y="336849"/>
                      <a:pt x="575537" y="336849"/>
                      <a:pt x="572679" y="329991"/>
                    </a:cubicBezTo>
                    <a:cubicBezTo>
                      <a:pt x="571127" y="329896"/>
                      <a:pt x="569564" y="329896"/>
                      <a:pt x="568012" y="329991"/>
                    </a:cubicBezTo>
                    <a:cubicBezTo>
                      <a:pt x="565155" y="336945"/>
                      <a:pt x="565155" y="336945"/>
                      <a:pt x="577537" y="351137"/>
                    </a:cubicBezTo>
                    <a:cubicBezTo>
                      <a:pt x="584395" y="364948"/>
                      <a:pt x="584776" y="364948"/>
                      <a:pt x="596111" y="364662"/>
                    </a:cubicBezTo>
                    <a:cubicBezTo>
                      <a:pt x="596015" y="366186"/>
                      <a:pt x="596015" y="367710"/>
                      <a:pt x="596111" y="369234"/>
                    </a:cubicBezTo>
                    <a:cubicBezTo>
                      <a:pt x="600968" y="372568"/>
                      <a:pt x="607731" y="372473"/>
                      <a:pt x="611732" y="377426"/>
                    </a:cubicBezTo>
                    <a:lnTo>
                      <a:pt x="611065" y="379807"/>
                    </a:lnTo>
                    <a:cubicBezTo>
                      <a:pt x="607950" y="378893"/>
                      <a:pt x="604759" y="378216"/>
                      <a:pt x="601540" y="377807"/>
                    </a:cubicBezTo>
                    <a:cubicBezTo>
                      <a:pt x="600016" y="380664"/>
                      <a:pt x="600016" y="380664"/>
                      <a:pt x="603826" y="385522"/>
                    </a:cubicBezTo>
                    <a:cubicBezTo>
                      <a:pt x="606112" y="388570"/>
                      <a:pt x="602207" y="398381"/>
                      <a:pt x="594301" y="399333"/>
                    </a:cubicBezTo>
                    <a:lnTo>
                      <a:pt x="592587" y="397905"/>
                    </a:lnTo>
                    <a:cubicBezTo>
                      <a:pt x="597349" y="386379"/>
                      <a:pt x="597349" y="386379"/>
                      <a:pt x="592587" y="380950"/>
                    </a:cubicBezTo>
                    <a:cubicBezTo>
                      <a:pt x="588014" y="376692"/>
                      <a:pt x="582595" y="373444"/>
                      <a:pt x="576680" y="371425"/>
                    </a:cubicBezTo>
                    <a:cubicBezTo>
                      <a:pt x="559249" y="368853"/>
                      <a:pt x="554677" y="351804"/>
                      <a:pt x="543533" y="342183"/>
                    </a:cubicBezTo>
                    <a:cubicBezTo>
                      <a:pt x="540408" y="342974"/>
                      <a:pt x="537427" y="344231"/>
                      <a:pt x="534674" y="345898"/>
                    </a:cubicBezTo>
                    <a:cubicBezTo>
                      <a:pt x="534284" y="347432"/>
                      <a:pt x="534284" y="349032"/>
                      <a:pt x="534674" y="350565"/>
                    </a:cubicBezTo>
                    <a:cubicBezTo>
                      <a:pt x="529531" y="351518"/>
                      <a:pt x="525149" y="355137"/>
                      <a:pt x="519339" y="353994"/>
                    </a:cubicBezTo>
                    <a:cubicBezTo>
                      <a:pt x="506004" y="351137"/>
                      <a:pt x="506004" y="351137"/>
                      <a:pt x="501432" y="354661"/>
                    </a:cubicBezTo>
                    <a:cubicBezTo>
                      <a:pt x="501432" y="367615"/>
                      <a:pt x="501432" y="367615"/>
                      <a:pt x="498765" y="368949"/>
                    </a:cubicBezTo>
                    <a:cubicBezTo>
                      <a:pt x="483621" y="375521"/>
                      <a:pt x="483621" y="375521"/>
                      <a:pt x="483239" y="377330"/>
                    </a:cubicBezTo>
                    <a:cubicBezTo>
                      <a:pt x="479906" y="391618"/>
                      <a:pt x="479906" y="391618"/>
                      <a:pt x="480572" y="393904"/>
                    </a:cubicBezTo>
                    <a:cubicBezTo>
                      <a:pt x="460856" y="412478"/>
                      <a:pt x="460856" y="412478"/>
                      <a:pt x="438663" y="417526"/>
                    </a:cubicBezTo>
                    <a:lnTo>
                      <a:pt x="414755" y="408668"/>
                    </a:lnTo>
                    <a:cubicBezTo>
                      <a:pt x="418850" y="367139"/>
                      <a:pt x="418850" y="367139"/>
                      <a:pt x="421994" y="363329"/>
                    </a:cubicBezTo>
                    <a:cubicBezTo>
                      <a:pt x="420860" y="362205"/>
                      <a:pt x="419651" y="361157"/>
                      <a:pt x="418374" y="360186"/>
                    </a:cubicBezTo>
                    <a:cubicBezTo>
                      <a:pt x="419231" y="356280"/>
                      <a:pt x="420851" y="349041"/>
                      <a:pt x="433329" y="348470"/>
                    </a:cubicBezTo>
                    <a:lnTo>
                      <a:pt x="433329" y="350756"/>
                    </a:lnTo>
                    <a:cubicBezTo>
                      <a:pt x="444501" y="352337"/>
                      <a:pt x="455827" y="352566"/>
                      <a:pt x="467047" y="351423"/>
                    </a:cubicBezTo>
                    <a:cubicBezTo>
                      <a:pt x="475810" y="347517"/>
                      <a:pt x="472857" y="337707"/>
                      <a:pt x="477334" y="331611"/>
                    </a:cubicBezTo>
                    <a:cubicBezTo>
                      <a:pt x="471524" y="316942"/>
                      <a:pt x="470476" y="316466"/>
                      <a:pt x="453045" y="308655"/>
                    </a:cubicBezTo>
                    <a:cubicBezTo>
                      <a:pt x="454093" y="306369"/>
                      <a:pt x="454093" y="306369"/>
                      <a:pt x="471619" y="300559"/>
                    </a:cubicBezTo>
                    <a:cubicBezTo>
                      <a:pt x="471619" y="297987"/>
                      <a:pt x="471619" y="297987"/>
                      <a:pt x="469428" y="294368"/>
                    </a:cubicBezTo>
                    <a:cubicBezTo>
                      <a:pt x="471524" y="292844"/>
                      <a:pt x="471524" y="292844"/>
                      <a:pt x="479620" y="296654"/>
                    </a:cubicBezTo>
                    <a:cubicBezTo>
                      <a:pt x="481973" y="296063"/>
                      <a:pt x="483849" y="294301"/>
                      <a:pt x="484573" y="291987"/>
                    </a:cubicBezTo>
                    <a:cubicBezTo>
                      <a:pt x="484573" y="291987"/>
                      <a:pt x="506195" y="280938"/>
                      <a:pt x="510862" y="267221"/>
                    </a:cubicBezTo>
                    <a:cubicBezTo>
                      <a:pt x="512767" y="261602"/>
                      <a:pt x="512767" y="261602"/>
                      <a:pt x="544390" y="258459"/>
                    </a:cubicBezTo>
                    <a:cubicBezTo>
                      <a:pt x="543333" y="256525"/>
                      <a:pt x="542123" y="254677"/>
                      <a:pt x="540771" y="252934"/>
                    </a:cubicBezTo>
                    <a:cubicBezTo>
                      <a:pt x="538370" y="252705"/>
                      <a:pt x="536160" y="251505"/>
                      <a:pt x="534674" y="249600"/>
                    </a:cubicBezTo>
                    <a:cubicBezTo>
                      <a:pt x="535437" y="244447"/>
                      <a:pt x="534951" y="239189"/>
                      <a:pt x="533246" y="234265"/>
                    </a:cubicBezTo>
                    <a:lnTo>
                      <a:pt x="533246" y="234265"/>
                    </a:lnTo>
                    <a:lnTo>
                      <a:pt x="533246" y="234265"/>
                    </a:lnTo>
                    <a:lnTo>
                      <a:pt x="533246" y="234265"/>
                    </a:lnTo>
                    <a:lnTo>
                      <a:pt x="533246" y="234265"/>
                    </a:lnTo>
                    <a:cubicBezTo>
                      <a:pt x="533779" y="233684"/>
                      <a:pt x="534551" y="233370"/>
                      <a:pt x="535341" y="233408"/>
                    </a:cubicBezTo>
                    <a:cubicBezTo>
                      <a:pt x="536484" y="233408"/>
                      <a:pt x="537056" y="232170"/>
                      <a:pt x="537913" y="231693"/>
                    </a:cubicBezTo>
                    <a:cubicBezTo>
                      <a:pt x="538770" y="231217"/>
                      <a:pt x="542199" y="234265"/>
                      <a:pt x="542104" y="232265"/>
                    </a:cubicBezTo>
                    <a:cubicBezTo>
                      <a:pt x="542009" y="230265"/>
                      <a:pt x="541247" y="230550"/>
                      <a:pt x="542104" y="229598"/>
                    </a:cubicBezTo>
                    <a:cubicBezTo>
                      <a:pt x="542961" y="228645"/>
                      <a:pt x="544009" y="227598"/>
                      <a:pt x="544962" y="227407"/>
                    </a:cubicBezTo>
                    <a:cubicBezTo>
                      <a:pt x="545914" y="227217"/>
                      <a:pt x="545914" y="227407"/>
                      <a:pt x="550105" y="231693"/>
                    </a:cubicBezTo>
                    <a:cubicBezTo>
                      <a:pt x="550838" y="232541"/>
                      <a:pt x="551419" y="233503"/>
                      <a:pt x="551820" y="234551"/>
                    </a:cubicBezTo>
                    <a:lnTo>
                      <a:pt x="551820" y="234551"/>
                    </a:lnTo>
                    <a:lnTo>
                      <a:pt x="551153" y="236932"/>
                    </a:lnTo>
                    <a:lnTo>
                      <a:pt x="549057" y="236265"/>
                    </a:lnTo>
                    <a:lnTo>
                      <a:pt x="547819" y="238266"/>
                    </a:lnTo>
                    <a:lnTo>
                      <a:pt x="544199" y="242266"/>
                    </a:lnTo>
                    <a:cubicBezTo>
                      <a:pt x="545800" y="243990"/>
                      <a:pt x="546771" y="246209"/>
                      <a:pt x="546962" y="248553"/>
                    </a:cubicBezTo>
                    <a:cubicBezTo>
                      <a:pt x="556373" y="250924"/>
                      <a:pt x="565916" y="252744"/>
                      <a:pt x="575537" y="253982"/>
                    </a:cubicBezTo>
                    <a:cubicBezTo>
                      <a:pt x="580595" y="247952"/>
                      <a:pt x="588281" y="244790"/>
                      <a:pt x="596111" y="245504"/>
                    </a:cubicBezTo>
                    <a:cubicBezTo>
                      <a:pt x="597073" y="246714"/>
                      <a:pt x="597844" y="248067"/>
                      <a:pt x="598397" y="249505"/>
                    </a:cubicBezTo>
                    <a:cubicBezTo>
                      <a:pt x="604588" y="250458"/>
                      <a:pt x="607064" y="244647"/>
                      <a:pt x="611541" y="242361"/>
                    </a:cubicBezTo>
                    <a:lnTo>
                      <a:pt x="611541" y="239980"/>
                    </a:lnTo>
                    <a:cubicBezTo>
                      <a:pt x="609789" y="238456"/>
                      <a:pt x="608560" y="236427"/>
                      <a:pt x="608017" y="234170"/>
                    </a:cubicBezTo>
                    <a:lnTo>
                      <a:pt x="608017" y="234170"/>
                    </a:lnTo>
                    <a:cubicBezTo>
                      <a:pt x="606112" y="230741"/>
                      <a:pt x="606112" y="230265"/>
                      <a:pt x="606303" y="228264"/>
                    </a:cubicBezTo>
                    <a:cubicBezTo>
                      <a:pt x="609446" y="225788"/>
                      <a:pt x="609255" y="220454"/>
                      <a:pt x="613827" y="219216"/>
                    </a:cubicBezTo>
                    <a:cubicBezTo>
                      <a:pt x="623352" y="226740"/>
                      <a:pt x="623352" y="226740"/>
                      <a:pt x="625067" y="225788"/>
                    </a:cubicBezTo>
                    <a:lnTo>
                      <a:pt x="623257" y="212167"/>
                    </a:lnTo>
                    <a:cubicBezTo>
                      <a:pt x="622019" y="212643"/>
                      <a:pt x="620876" y="213405"/>
                      <a:pt x="619638" y="213882"/>
                    </a:cubicBezTo>
                    <a:cubicBezTo>
                      <a:pt x="617256" y="212262"/>
                      <a:pt x="617351" y="211977"/>
                      <a:pt x="618018" y="209405"/>
                    </a:cubicBezTo>
                    <a:cubicBezTo>
                      <a:pt x="617542" y="208643"/>
                      <a:pt x="616780" y="207786"/>
                      <a:pt x="616208" y="207024"/>
                    </a:cubicBezTo>
                    <a:cubicBezTo>
                      <a:pt x="617199" y="204995"/>
                      <a:pt x="619199" y="203652"/>
                      <a:pt x="621447" y="203499"/>
                    </a:cubicBezTo>
                    <a:cubicBezTo>
                      <a:pt x="626476" y="203661"/>
                      <a:pt x="631506" y="203433"/>
                      <a:pt x="636497" y="202833"/>
                    </a:cubicBezTo>
                    <a:lnTo>
                      <a:pt x="650117" y="196832"/>
                    </a:lnTo>
                    <a:cubicBezTo>
                      <a:pt x="647546" y="192736"/>
                      <a:pt x="642497" y="193117"/>
                      <a:pt x="639068" y="190641"/>
                    </a:cubicBezTo>
                    <a:cubicBezTo>
                      <a:pt x="631763" y="193851"/>
                      <a:pt x="624209" y="196498"/>
                      <a:pt x="616494" y="198546"/>
                    </a:cubicBezTo>
                    <a:cubicBezTo>
                      <a:pt x="608303" y="199308"/>
                      <a:pt x="588491" y="182830"/>
                      <a:pt x="607541" y="161494"/>
                    </a:cubicBezTo>
                    <a:cubicBezTo>
                      <a:pt x="607541" y="161494"/>
                      <a:pt x="609160" y="155970"/>
                      <a:pt x="611732" y="154541"/>
                    </a:cubicBezTo>
                    <a:cubicBezTo>
                      <a:pt x="612208" y="151207"/>
                      <a:pt x="609731" y="148826"/>
                      <a:pt x="608874" y="145968"/>
                    </a:cubicBezTo>
                    <a:cubicBezTo>
                      <a:pt x="604502" y="148016"/>
                      <a:pt x="599940" y="149645"/>
                      <a:pt x="595254" y="150826"/>
                    </a:cubicBezTo>
                    <a:lnTo>
                      <a:pt x="595254" y="151874"/>
                    </a:lnTo>
                    <a:lnTo>
                      <a:pt x="597254" y="162923"/>
                    </a:lnTo>
                    <a:cubicBezTo>
                      <a:pt x="594872" y="167495"/>
                      <a:pt x="589443" y="167495"/>
                      <a:pt x="585919" y="170352"/>
                    </a:cubicBezTo>
                    <a:cubicBezTo>
                      <a:pt x="580585" y="174638"/>
                      <a:pt x="577918" y="176734"/>
                      <a:pt x="581061" y="189879"/>
                    </a:cubicBezTo>
                    <a:lnTo>
                      <a:pt x="592396" y="197499"/>
                    </a:lnTo>
                    <a:cubicBezTo>
                      <a:pt x="593234" y="199870"/>
                      <a:pt x="592767" y="202518"/>
                      <a:pt x="591158" y="204452"/>
                    </a:cubicBezTo>
                    <a:cubicBezTo>
                      <a:pt x="587633" y="206642"/>
                      <a:pt x="583919" y="203499"/>
                      <a:pt x="580299" y="204452"/>
                    </a:cubicBezTo>
                    <a:cubicBezTo>
                      <a:pt x="590586" y="207690"/>
                      <a:pt x="590586" y="207690"/>
                      <a:pt x="590586" y="207881"/>
                    </a:cubicBezTo>
                    <a:cubicBezTo>
                      <a:pt x="588110" y="210357"/>
                      <a:pt x="584300" y="210548"/>
                      <a:pt x="582109" y="213405"/>
                    </a:cubicBezTo>
                    <a:cubicBezTo>
                      <a:pt x="587633" y="225692"/>
                      <a:pt x="584109" y="229503"/>
                      <a:pt x="579728" y="234265"/>
                    </a:cubicBezTo>
                    <a:lnTo>
                      <a:pt x="579728" y="234265"/>
                    </a:lnTo>
                    <a:lnTo>
                      <a:pt x="579156" y="234932"/>
                    </a:lnTo>
                    <a:cubicBezTo>
                      <a:pt x="577728" y="236361"/>
                      <a:pt x="576204" y="234932"/>
                      <a:pt x="574775" y="234932"/>
                    </a:cubicBezTo>
                    <a:cubicBezTo>
                      <a:pt x="573346" y="234932"/>
                      <a:pt x="573251" y="235979"/>
                      <a:pt x="573441" y="237027"/>
                    </a:cubicBezTo>
                    <a:cubicBezTo>
                      <a:pt x="573479" y="238808"/>
                      <a:pt x="573089" y="240571"/>
                      <a:pt x="572298" y="242171"/>
                    </a:cubicBezTo>
                    <a:lnTo>
                      <a:pt x="572298" y="242171"/>
                    </a:lnTo>
                    <a:cubicBezTo>
                      <a:pt x="572298" y="242171"/>
                      <a:pt x="571346" y="242171"/>
                      <a:pt x="570870" y="242171"/>
                    </a:cubicBezTo>
                    <a:cubicBezTo>
                      <a:pt x="570393" y="242171"/>
                      <a:pt x="569346" y="242171"/>
                      <a:pt x="568488" y="242171"/>
                    </a:cubicBezTo>
                    <a:cubicBezTo>
                      <a:pt x="562964" y="242171"/>
                      <a:pt x="562773" y="242171"/>
                      <a:pt x="562488" y="242171"/>
                    </a:cubicBezTo>
                    <a:cubicBezTo>
                      <a:pt x="562202" y="242171"/>
                      <a:pt x="562488" y="242171"/>
                      <a:pt x="563059" y="241028"/>
                    </a:cubicBezTo>
                    <a:cubicBezTo>
                      <a:pt x="563783" y="240228"/>
                      <a:pt x="564126" y="239151"/>
                      <a:pt x="564012" y="238075"/>
                    </a:cubicBezTo>
                    <a:cubicBezTo>
                      <a:pt x="564012" y="236456"/>
                      <a:pt x="562202" y="235694"/>
                      <a:pt x="561916" y="234170"/>
                    </a:cubicBezTo>
                    <a:lnTo>
                      <a:pt x="563249" y="231979"/>
                    </a:lnTo>
                    <a:cubicBezTo>
                      <a:pt x="563249" y="231979"/>
                      <a:pt x="548105" y="212929"/>
                      <a:pt x="551057" y="208738"/>
                    </a:cubicBezTo>
                    <a:cubicBezTo>
                      <a:pt x="550514" y="206824"/>
                      <a:pt x="549295" y="205166"/>
                      <a:pt x="547629" y="204071"/>
                    </a:cubicBezTo>
                    <a:cubicBezTo>
                      <a:pt x="546428" y="208109"/>
                      <a:pt x="544495" y="211891"/>
                      <a:pt x="541914" y="215215"/>
                    </a:cubicBezTo>
                    <a:cubicBezTo>
                      <a:pt x="534770" y="220644"/>
                      <a:pt x="520101" y="220930"/>
                      <a:pt x="520863" y="209309"/>
                    </a:cubicBezTo>
                    <a:cubicBezTo>
                      <a:pt x="521863" y="208719"/>
                      <a:pt x="522825" y="208052"/>
                      <a:pt x="523721" y="207309"/>
                    </a:cubicBezTo>
                    <a:lnTo>
                      <a:pt x="523245" y="206166"/>
                    </a:lnTo>
                    <a:cubicBezTo>
                      <a:pt x="522101" y="205909"/>
                      <a:pt x="521006" y="205452"/>
                      <a:pt x="520006" y="204833"/>
                    </a:cubicBezTo>
                    <a:lnTo>
                      <a:pt x="520006" y="203690"/>
                    </a:lnTo>
                    <a:lnTo>
                      <a:pt x="523530" y="202547"/>
                    </a:lnTo>
                    <a:cubicBezTo>
                      <a:pt x="520482" y="201785"/>
                      <a:pt x="520482" y="201785"/>
                      <a:pt x="520006" y="201499"/>
                    </a:cubicBezTo>
                    <a:cubicBezTo>
                      <a:pt x="521416" y="200375"/>
                      <a:pt x="521778" y="198384"/>
                      <a:pt x="520863" y="196832"/>
                    </a:cubicBezTo>
                    <a:lnTo>
                      <a:pt x="519339" y="196832"/>
                    </a:lnTo>
                    <a:cubicBezTo>
                      <a:pt x="518768" y="195308"/>
                      <a:pt x="519339" y="193403"/>
                      <a:pt x="518291" y="191974"/>
                    </a:cubicBezTo>
                    <a:cubicBezTo>
                      <a:pt x="518291" y="189498"/>
                      <a:pt x="521435" y="190355"/>
                      <a:pt x="522959" y="189402"/>
                    </a:cubicBezTo>
                    <a:cubicBezTo>
                      <a:pt x="516672" y="187497"/>
                      <a:pt x="516577" y="187497"/>
                      <a:pt x="518101" y="184068"/>
                    </a:cubicBezTo>
                    <a:cubicBezTo>
                      <a:pt x="519701" y="184649"/>
                      <a:pt x="521454" y="184649"/>
                      <a:pt x="523054" y="184068"/>
                    </a:cubicBezTo>
                    <a:lnTo>
                      <a:pt x="523054" y="182830"/>
                    </a:lnTo>
                    <a:cubicBezTo>
                      <a:pt x="518958" y="181782"/>
                      <a:pt x="518958" y="181782"/>
                      <a:pt x="518768" y="181592"/>
                    </a:cubicBezTo>
                    <a:lnTo>
                      <a:pt x="518768" y="180449"/>
                    </a:lnTo>
                    <a:cubicBezTo>
                      <a:pt x="522197" y="179782"/>
                      <a:pt x="525816" y="181878"/>
                      <a:pt x="528959" y="179496"/>
                    </a:cubicBezTo>
                    <a:lnTo>
                      <a:pt x="520578" y="177782"/>
                    </a:lnTo>
                    <a:cubicBezTo>
                      <a:pt x="523435" y="174448"/>
                      <a:pt x="527721" y="175782"/>
                      <a:pt x="531246" y="174543"/>
                    </a:cubicBezTo>
                    <a:lnTo>
                      <a:pt x="531246" y="173305"/>
                    </a:lnTo>
                    <a:cubicBezTo>
                      <a:pt x="532655" y="173238"/>
                      <a:pt x="534055" y="173086"/>
                      <a:pt x="535437" y="172829"/>
                    </a:cubicBezTo>
                    <a:cubicBezTo>
                      <a:pt x="536484" y="169304"/>
                      <a:pt x="536484" y="169304"/>
                      <a:pt x="544962" y="167019"/>
                    </a:cubicBezTo>
                    <a:cubicBezTo>
                      <a:pt x="542961" y="165590"/>
                      <a:pt x="541628" y="164733"/>
                      <a:pt x="542961" y="161875"/>
                    </a:cubicBezTo>
                    <a:cubicBezTo>
                      <a:pt x="545057" y="161875"/>
                      <a:pt x="546866" y="163304"/>
                      <a:pt x="549057" y="162732"/>
                    </a:cubicBezTo>
                    <a:cubicBezTo>
                      <a:pt x="551248" y="162161"/>
                      <a:pt x="552867" y="159303"/>
                      <a:pt x="555439" y="158637"/>
                    </a:cubicBezTo>
                    <a:lnTo>
                      <a:pt x="556677" y="158637"/>
                    </a:lnTo>
                    <a:cubicBezTo>
                      <a:pt x="558773" y="160065"/>
                      <a:pt x="558773" y="160065"/>
                      <a:pt x="560011" y="159875"/>
                    </a:cubicBezTo>
                    <a:lnTo>
                      <a:pt x="560011" y="158732"/>
                    </a:lnTo>
                    <a:cubicBezTo>
                      <a:pt x="559287" y="158227"/>
                      <a:pt x="558649" y="157617"/>
                      <a:pt x="558106" y="156922"/>
                    </a:cubicBezTo>
                    <a:cubicBezTo>
                      <a:pt x="556582" y="156922"/>
                      <a:pt x="556582" y="156922"/>
                      <a:pt x="549533" y="160351"/>
                    </a:cubicBezTo>
                    <a:cubicBezTo>
                      <a:pt x="545628" y="158732"/>
                      <a:pt x="545628" y="158732"/>
                      <a:pt x="553724" y="152255"/>
                    </a:cubicBezTo>
                    <a:cubicBezTo>
                      <a:pt x="551153" y="150064"/>
                      <a:pt x="556391" y="148159"/>
                      <a:pt x="556963" y="145683"/>
                    </a:cubicBezTo>
                    <a:cubicBezTo>
                      <a:pt x="557601" y="146178"/>
                      <a:pt x="558353" y="146502"/>
                      <a:pt x="559154" y="146635"/>
                    </a:cubicBezTo>
                    <a:lnTo>
                      <a:pt x="559725" y="145492"/>
                    </a:lnTo>
                    <a:cubicBezTo>
                      <a:pt x="558353" y="144749"/>
                      <a:pt x="557077" y="143854"/>
                      <a:pt x="555915" y="142825"/>
                    </a:cubicBezTo>
                    <a:cubicBezTo>
                      <a:pt x="558106" y="142825"/>
                      <a:pt x="558106" y="142825"/>
                      <a:pt x="559249" y="142158"/>
                    </a:cubicBezTo>
                    <a:cubicBezTo>
                      <a:pt x="560392" y="141492"/>
                      <a:pt x="558392" y="142158"/>
                      <a:pt x="558201" y="141682"/>
                    </a:cubicBezTo>
                    <a:cubicBezTo>
                      <a:pt x="556106" y="139491"/>
                      <a:pt x="559725" y="138729"/>
                      <a:pt x="561821" y="138253"/>
                    </a:cubicBezTo>
                    <a:lnTo>
                      <a:pt x="561821" y="137110"/>
                    </a:lnTo>
                    <a:cubicBezTo>
                      <a:pt x="561287" y="136415"/>
                      <a:pt x="560925" y="135596"/>
                      <a:pt x="560773" y="134729"/>
                    </a:cubicBezTo>
                    <a:lnTo>
                      <a:pt x="563154" y="133967"/>
                    </a:lnTo>
                    <a:lnTo>
                      <a:pt x="563154" y="132824"/>
                    </a:lnTo>
                    <a:cubicBezTo>
                      <a:pt x="562211" y="132700"/>
                      <a:pt x="561287" y="132481"/>
                      <a:pt x="560392" y="132157"/>
                    </a:cubicBezTo>
                    <a:cubicBezTo>
                      <a:pt x="560935" y="130233"/>
                      <a:pt x="562926" y="129109"/>
                      <a:pt x="564850" y="129652"/>
                    </a:cubicBezTo>
                    <a:cubicBezTo>
                      <a:pt x="564888" y="129661"/>
                      <a:pt x="564926" y="129671"/>
                      <a:pt x="564964" y="129680"/>
                    </a:cubicBezTo>
                    <a:cubicBezTo>
                      <a:pt x="565402" y="128919"/>
                      <a:pt x="565659" y="128080"/>
                      <a:pt x="565726" y="127204"/>
                    </a:cubicBezTo>
                    <a:cubicBezTo>
                      <a:pt x="566812" y="126680"/>
                      <a:pt x="567964" y="126299"/>
                      <a:pt x="569155" y="126061"/>
                    </a:cubicBezTo>
                    <a:cubicBezTo>
                      <a:pt x="568488" y="125585"/>
                      <a:pt x="567440" y="125204"/>
                      <a:pt x="567059" y="124537"/>
                    </a:cubicBezTo>
                    <a:cubicBezTo>
                      <a:pt x="566679" y="123870"/>
                      <a:pt x="569631" y="118250"/>
                      <a:pt x="572298" y="117774"/>
                    </a:cubicBezTo>
                    <a:cubicBezTo>
                      <a:pt x="572622" y="116984"/>
                      <a:pt x="573003" y="116222"/>
                      <a:pt x="573441" y="115488"/>
                    </a:cubicBezTo>
                    <a:cubicBezTo>
                      <a:pt x="575632" y="115488"/>
                      <a:pt x="575632" y="115488"/>
                      <a:pt x="578013" y="113488"/>
                    </a:cubicBezTo>
                    <a:cubicBezTo>
                      <a:pt x="578966" y="114441"/>
                      <a:pt x="579537" y="115679"/>
                      <a:pt x="580775" y="116346"/>
                    </a:cubicBezTo>
                    <a:cubicBezTo>
                      <a:pt x="582490" y="113583"/>
                      <a:pt x="582490" y="113583"/>
                      <a:pt x="586205" y="111774"/>
                    </a:cubicBezTo>
                    <a:cubicBezTo>
                      <a:pt x="583823" y="111012"/>
                      <a:pt x="583823" y="111012"/>
                      <a:pt x="583252" y="109583"/>
                    </a:cubicBezTo>
                    <a:cubicBezTo>
                      <a:pt x="585767" y="109116"/>
                      <a:pt x="588357" y="109116"/>
                      <a:pt x="590872" y="109583"/>
                    </a:cubicBezTo>
                    <a:cubicBezTo>
                      <a:pt x="592777" y="112631"/>
                      <a:pt x="593444" y="112536"/>
                      <a:pt x="594968" y="112345"/>
                    </a:cubicBezTo>
                    <a:cubicBezTo>
                      <a:pt x="593444" y="111297"/>
                      <a:pt x="593444" y="111297"/>
                      <a:pt x="594206" y="108059"/>
                    </a:cubicBezTo>
                    <a:lnTo>
                      <a:pt x="595349" y="108630"/>
                    </a:lnTo>
                    <a:lnTo>
                      <a:pt x="595349" y="107487"/>
                    </a:lnTo>
                    <a:lnTo>
                      <a:pt x="594587" y="106440"/>
                    </a:lnTo>
                    <a:cubicBezTo>
                      <a:pt x="595825" y="105011"/>
                      <a:pt x="596206" y="105011"/>
                      <a:pt x="599064" y="105392"/>
                    </a:cubicBezTo>
                    <a:lnTo>
                      <a:pt x="599730" y="106249"/>
                    </a:lnTo>
                    <a:lnTo>
                      <a:pt x="599730" y="107487"/>
                    </a:lnTo>
                    <a:lnTo>
                      <a:pt x="601064" y="107487"/>
                    </a:lnTo>
                    <a:cubicBezTo>
                      <a:pt x="601064" y="106249"/>
                      <a:pt x="601064" y="106249"/>
                      <a:pt x="602969" y="104344"/>
                    </a:cubicBezTo>
                    <a:cubicBezTo>
                      <a:pt x="602969" y="104344"/>
                      <a:pt x="602969" y="104344"/>
                      <a:pt x="602969" y="106916"/>
                    </a:cubicBezTo>
                    <a:lnTo>
                      <a:pt x="603921" y="107773"/>
                    </a:lnTo>
                    <a:cubicBezTo>
                      <a:pt x="605636" y="104439"/>
                      <a:pt x="605636" y="104439"/>
                      <a:pt x="609731" y="104630"/>
                    </a:cubicBezTo>
                    <a:cubicBezTo>
                      <a:pt x="609731" y="105773"/>
                      <a:pt x="609731" y="106916"/>
                      <a:pt x="609731" y="108059"/>
                    </a:cubicBezTo>
                    <a:cubicBezTo>
                      <a:pt x="614589" y="102629"/>
                      <a:pt x="621828" y="109011"/>
                      <a:pt x="622400" y="110916"/>
                    </a:cubicBezTo>
                    <a:cubicBezTo>
                      <a:pt x="619828" y="111488"/>
                      <a:pt x="617351" y="110345"/>
                      <a:pt x="614780" y="110916"/>
                    </a:cubicBezTo>
                    <a:lnTo>
                      <a:pt x="614018" y="112154"/>
                    </a:lnTo>
                    <a:cubicBezTo>
                      <a:pt x="617399" y="112936"/>
                      <a:pt x="620837" y="113383"/>
                      <a:pt x="624305" y="113488"/>
                    </a:cubicBezTo>
                    <a:cubicBezTo>
                      <a:pt x="624514" y="112726"/>
                      <a:pt x="624876" y="112021"/>
                      <a:pt x="625353" y="111392"/>
                    </a:cubicBezTo>
                    <a:cubicBezTo>
                      <a:pt x="626686" y="111354"/>
                      <a:pt x="628000" y="111678"/>
                      <a:pt x="629163" y="112345"/>
                    </a:cubicBezTo>
                    <a:cubicBezTo>
                      <a:pt x="629163" y="114641"/>
                      <a:pt x="630963" y="116526"/>
                      <a:pt x="633258" y="116631"/>
                    </a:cubicBezTo>
                    <a:lnTo>
                      <a:pt x="633925" y="115583"/>
                    </a:lnTo>
                    <a:cubicBezTo>
                      <a:pt x="647174" y="115279"/>
                      <a:pt x="660033" y="120089"/>
                      <a:pt x="669834" y="129014"/>
                    </a:cubicBezTo>
                    <a:cubicBezTo>
                      <a:pt x="672501" y="131967"/>
                      <a:pt x="673168" y="139872"/>
                      <a:pt x="670882" y="140349"/>
                    </a:cubicBezTo>
                    <a:cubicBezTo>
                      <a:pt x="660309" y="142539"/>
                      <a:pt x="651356" y="135396"/>
                      <a:pt x="641259" y="135015"/>
                    </a:cubicBezTo>
                    <a:lnTo>
                      <a:pt x="640021" y="135015"/>
                    </a:lnTo>
                    <a:cubicBezTo>
                      <a:pt x="634497" y="132538"/>
                      <a:pt x="634497" y="132538"/>
                      <a:pt x="632401" y="133109"/>
                    </a:cubicBezTo>
                    <a:cubicBezTo>
                      <a:pt x="636687" y="134538"/>
                      <a:pt x="636687" y="134538"/>
                      <a:pt x="637925" y="135586"/>
                    </a:cubicBezTo>
                    <a:cubicBezTo>
                      <a:pt x="637249" y="136034"/>
                      <a:pt x="636544" y="136443"/>
                      <a:pt x="635830" y="136824"/>
                    </a:cubicBezTo>
                    <a:lnTo>
                      <a:pt x="635830" y="138063"/>
                    </a:lnTo>
                    <a:cubicBezTo>
                      <a:pt x="642697" y="137710"/>
                      <a:pt x="649194" y="141196"/>
                      <a:pt x="652689" y="147111"/>
                    </a:cubicBezTo>
                    <a:lnTo>
                      <a:pt x="651927" y="147969"/>
                    </a:lnTo>
                    <a:cubicBezTo>
                      <a:pt x="653489" y="154093"/>
                      <a:pt x="658547" y="158703"/>
                      <a:pt x="664786" y="159684"/>
                    </a:cubicBezTo>
                    <a:lnTo>
                      <a:pt x="664786" y="159684"/>
                    </a:lnTo>
                    <a:cubicBezTo>
                      <a:pt x="668006" y="159856"/>
                      <a:pt x="671225" y="159465"/>
                      <a:pt x="674311" y="158541"/>
                    </a:cubicBezTo>
                    <a:cubicBezTo>
                      <a:pt x="671358" y="153303"/>
                      <a:pt x="664786" y="152826"/>
                      <a:pt x="660785" y="149683"/>
                    </a:cubicBezTo>
                    <a:cubicBezTo>
                      <a:pt x="663005" y="148188"/>
                      <a:pt x="665900" y="148188"/>
                      <a:pt x="668120" y="149683"/>
                    </a:cubicBezTo>
                    <a:cubicBezTo>
                      <a:pt x="671072" y="151874"/>
                      <a:pt x="671072" y="151874"/>
                      <a:pt x="678692" y="150636"/>
                    </a:cubicBezTo>
                    <a:lnTo>
                      <a:pt x="678692" y="149492"/>
                    </a:lnTo>
                    <a:cubicBezTo>
                      <a:pt x="674787" y="146445"/>
                      <a:pt x="672692" y="143968"/>
                      <a:pt x="672597" y="141968"/>
                    </a:cubicBezTo>
                    <a:cubicBezTo>
                      <a:pt x="674216" y="140825"/>
                      <a:pt x="674216" y="140825"/>
                      <a:pt x="676502" y="134824"/>
                    </a:cubicBezTo>
                    <a:cubicBezTo>
                      <a:pt x="681169" y="134824"/>
                      <a:pt x="683931" y="138634"/>
                      <a:pt x="687932" y="140063"/>
                    </a:cubicBezTo>
                    <a:cubicBezTo>
                      <a:pt x="683417" y="132224"/>
                      <a:pt x="677835" y="125042"/>
                      <a:pt x="671358" y="118727"/>
                    </a:cubicBezTo>
                    <a:cubicBezTo>
                      <a:pt x="676025" y="114155"/>
                      <a:pt x="685265" y="118727"/>
                      <a:pt x="687837" y="123489"/>
                    </a:cubicBezTo>
                    <a:lnTo>
                      <a:pt x="683264" y="123489"/>
                    </a:lnTo>
                    <a:lnTo>
                      <a:pt x="682503" y="124346"/>
                    </a:lnTo>
                    <a:cubicBezTo>
                      <a:pt x="684598" y="133014"/>
                      <a:pt x="695171" y="131490"/>
                      <a:pt x="696028" y="130824"/>
                    </a:cubicBezTo>
                    <a:lnTo>
                      <a:pt x="693171" y="119870"/>
                    </a:lnTo>
                    <a:cubicBezTo>
                      <a:pt x="694314" y="119013"/>
                      <a:pt x="695552" y="118536"/>
                      <a:pt x="696599" y="117774"/>
                    </a:cubicBezTo>
                    <a:lnTo>
                      <a:pt x="696599" y="117774"/>
                    </a:lnTo>
                    <a:cubicBezTo>
                      <a:pt x="698028" y="116155"/>
                      <a:pt x="700219" y="115679"/>
                      <a:pt x="701933" y="114441"/>
                    </a:cubicBezTo>
                    <a:cubicBezTo>
                      <a:pt x="702181" y="111964"/>
                      <a:pt x="703219" y="109621"/>
                      <a:pt x="704886" y="107773"/>
                    </a:cubicBezTo>
                    <a:lnTo>
                      <a:pt x="706315" y="108345"/>
                    </a:lnTo>
                    <a:cubicBezTo>
                      <a:pt x="704315" y="109773"/>
                      <a:pt x="704315" y="109773"/>
                      <a:pt x="707172" y="115869"/>
                    </a:cubicBezTo>
                    <a:lnTo>
                      <a:pt x="706315" y="117108"/>
                    </a:lnTo>
                    <a:lnTo>
                      <a:pt x="707458" y="118155"/>
                    </a:lnTo>
                    <a:cubicBezTo>
                      <a:pt x="710125" y="118155"/>
                      <a:pt x="710220" y="117488"/>
                      <a:pt x="710982" y="115679"/>
                    </a:cubicBezTo>
                    <a:cubicBezTo>
                      <a:pt x="708887" y="114345"/>
                      <a:pt x="708887" y="113583"/>
                      <a:pt x="709363" y="111869"/>
                    </a:cubicBezTo>
                    <a:cubicBezTo>
                      <a:pt x="711935" y="111869"/>
                      <a:pt x="714506" y="112631"/>
                      <a:pt x="717078" y="111869"/>
                    </a:cubicBezTo>
                    <a:cubicBezTo>
                      <a:pt x="716087" y="111088"/>
                      <a:pt x="715164" y="110230"/>
                      <a:pt x="714316" y="109297"/>
                    </a:cubicBezTo>
                    <a:cubicBezTo>
                      <a:pt x="716697" y="109297"/>
                      <a:pt x="716697" y="109297"/>
                      <a:pt x="720031" y="107773"/>
                    </a:cubicBezTo>
                    <a:cubicBezTo>
                      <a:pt x="722698" y="110059"/>
                      <a:pt x="722698" y="110059"/>
                      <a:pt x="724317" y="110345"/>
                    </a:cubicBezTo>
                    <a:cubicBezTo>
                      <a:pt x="723746" y="107202"/>
                      <a:pt x="721269" y="105296"/>
                      <a:pt x="719745" y="102820"/>
                    </a:cubicBezTo>
                    <a:cubicBezTo>
                      <a:pt x="720155" y="101858"/>
                      <a:pt x="720383" y="100820"/>
                      <a:pt x="720412" y="99772"/>
                    </a:cubicBezTo>
                    <a:cubicBezTo>
                      <a:pt x="721907" y="100344"/>
                      <a:pt x="723479" y="100696"/>
                      <a:pt x="725079" y="100820"/>
                    </a:cubicBezTo>
                    <a:lnTo>
                      <a:pt x="725079" y="99486"/>
                    </a:lnTo>
                    <a:cubicBezTo>
                      <a:pt x="733556" y="100629"/>
                      <a:pt x="740319" y="107106"/>
                      <a:pt x="749082" y="107392"/>
                    </a:cubicBezTo>
                    <a:cubicBezTo>
                      <a:pt x="745215" y="102687"/>
                      <a:pt x="740195" y="99077"/>
                      <a:pt x="734509" y="96915"/>
                    </a:cubicBezTo>
                    <a:lnTo>
                      <a:pt x="733556" y="98058"/>
                    </a:lnTo>
                    <a:cubicBezTo>
                      <a:pt x="728651" y="93962"/>
                      <a:pt x="724298" y="89256"/>
                      <a:pt x="720603" y="84056"/>
                    </a:cubicBezTo>
                    <a:cubicBezTo>
                      <a:pt x="721107" y="83180"/>
                      <a:pt x="721879" y="82484"/>
                      <a:pt x="722793" y="82055"/>
                    </a:cubicBezTo>
                    <a:cubicBezTo>
                      <a:pt x="720412" y="77674"/>
                      <a:pt x="715840" y="75102"/>
                      <a:pt x="713268" y="71102"/>
                    </a:cubicBezTo>
                    <a:lnTo>
                      <a:pt x="713840" y="69768"/>
                    </a:lnTo>
                    <a:cubicBezTo>
                      <a:pt x="736795" y="79293"/>
                      <a:pt x="738795" y="80913"/>
                      <a:pt x="740414" y="87485"/>
                    </a:cubicBezTo>
                    <a:cubicBezTo>
                      <a:pt x="740414" y="87485"/>
                      <a:pt x="768989" y="106535"/>
                      <a:pt x="768989" y="118536"/>
                    </a:cubicBezTo>
                    <a:lnTo>
                      <a:pt x="765941" y="119108"/>
                    </a:lnTo>
                    <a:lnTo>
                      <a:pt x="767084" y="120537"/>
                    </a:lnTo>
                    <a:lnTo>
                      <a:pt x="764132" y="120537"/>
                    </a:lnTo>
                    <a:cubicBezTo>
                      <a:pt x="766608" y="122346"/>
                      <a:pt x="769847" y="120537"/>
                      <a:pt x="772323" y="121965"/>
                    </a:cubicBezTo>
                    <a:cubicBezTo>
                      <a:pt x="774895" y="120822"/>
                      <a:pt x="774895" y="120822"/>
                      <a:pt x="775466" y="119203"/>
                    </a:cubicBezTo>
                    <a:cubicBezTo>
                      <a:pt x="762131" y="99010"/>
                      <a:pt x="762131" y="99010"/>
                      <a:pt x="762893" y="97486"/>
                    </a:cubicBezTo>
                    <a:cubicBezTo>
                      <a:pt x="771371" y="99677"/>
                      <a:pt x="774609" y="112726"/>
                      <a:pt x="786134" y="108725"/>
                    </a:cubicBezTo>
                    <a:cubicBezTo>
                      <a:pt x="776609" y="105773"/>
                      <a:pt x="769847" y="96153"/>
                      <a:pt x="759179" y="94819"/>
                    </a:cubicBezTo>
                    <a:cubicBezTo>
                      <a:pt x="756607" y="98915"/>
                      <a:pt x="753845" y="96343"/>
                      <a:pt x="751940" y="94152"/>
                    </a:cubicBezTo>
                    <a:cubicBezTo>
                      <a:pt x="744348" y="84237"/>
                      <a:pt x="735290" y="75531"/>
                      <a:pt x="725079" y="68340"/>
                    </a:cubicBezTo>
                    <a:lnTo>
                      <a:pt x="725079" y="66911"/>
                    </a:lnTo>
                    <a:cubicBezTo>
                      <a:pt x="728556" y="68425"/>
                      <a:pt x="731775" y="70483"/>
                      <a:pt x="734604" y="73007"/>
                    </a:cubicBezTo>
                    <a:lnTo>
                      <a:pt x="734604" y="73007"/>
                    </a:lnTo>
                    <a:lnTo>
                      <a:pt x="735366" y="71769"/>
                    </a:lnTo>
                    <a:cubicBezTo>
                      <a:pt x="737081" y="71769"/>
                      <a:pt x="738700" y="72626"/>
                      <a:pt x="740414" y="72721"/>
                    </a:cubicBezTo>
                    <a:cubicBezTo>
                      <a:pt x="735747" y="69768"/>
                      <a:pt x="735747" y="69768"/>
                      <a:pt x="735271" y="68340"/>
                    </a:cubicBezTo>
                    <a:lnTo>
                      <a:pt x="732318" y="67578"/>
                    </a:lnTo>
                    <a:lnTo>
                      <a:pt x="731747" y="66149"/>
                    </a:lnTo>
                    <a:cubicBezTo>
                      <a:pt x="731747" y="66149"/>
                      <a:pt x="737271" y="67958"/>
                      <a:pt x="746987" y="71769"/>
                    </a:cubicBezTo>
                    <a:lnTo>
                      <a:pt x="747463" y="71769"/>
                    </a:lnTo>
                    <a:cubicBezTo>
                      <a:pt x="740453" y="68282"/>
                      <a:pt x="733871" y="63996"/>
                      <a:pt x="727841" y="59005"/>
                    </a:cubicBezTo>
                    <a:cubicBezTo>
                      <a:pt x="728089" y="57062"/>
                      <a:pt x="729613" y="55538"/>
                      <a:pt x="731556" y="55290"/>
                    </a:cubicBezTo>
                    <a:cubicBezTo>
                      <a:pt x="730737" y="54795"/>
                      <a:pt x="729975" y="54223"/>
                      <a:pt x="729270" y="53576"/>
                    </a:cubicBezTo>
                    <a:lnTo>
                      <a:pt x="729270" y="53004"/>
                    </a:lnTo>
                    <a:cubicBezTo>
                      <a:pt x="724317" y="50623"/>
                      <a:pt x="719174" y="48528"/>
                      <a:pt x="717650" y="42146"/>
                    </a:cubicBezTo>
                    <a:cubicBezTo>
                      <a:pt x="714602" y="40431"/>
                      <a:pt x="714506" y="40336"/>
                      <a:pt x="713364" y="37955"/>
                    </a:cubicBezTo>
                    <a:lnTo>
                      <a:pt x="714125" y="36717"/>
                    </a:lnTo>
                    <a:lnTo>
                      <a:pt x="712697" y="36145"/>
                    </a:lnTo>
                    <a:lnTo>
                      <a:pt x="712697" y="34621"/>
                    </a:lnTo>
                    <a:cubicBezTo>
                      <a:pt x="711811" y="34002"/>
                      <a:pt x="710982" y="33297"/>
                      <a:pt x="710220" y="32525"/>
                    </a:cubicBezTo>
                    <a:lnTo>
                      <a:pt x="710220" y="31097"/>
                    </a:lnTo>
                    <a:lnTo>
                      <a:pt x="712887" y="32621"/>
                    </a:lnTo>
                    <a:lnTo>
                      <a:pt x="714506" y="30335"/>
                    </a:lnTo>
                    <a:cubicBezTo>
                      <a:pt x="715459" y="30430"/>
                      <a:pt x="716412" y="30430"/>
                      <a:pt x="717364" y="30335"/>
                    </a:cubicBezTo>
                    <a:lnTo>
                      <a:pt x="716221" y="29287"/>
                    </a:lnTo>
                    <a:lnTo>
                      <a:pt x="717745" y="29287"/>
                    </a:lnTo>
                    <a:lnTo>
                      <a:pt x="710125" y="26334"/>
                    </a:lnTo>
                    <a:lnTo>
                      <a:pt x="709649" y="24905"/>
                    </a:lnTo>
                    <a:lnTo>
                      <a:pt x="710982" y="24429"/>
                    </a:lnTo>
                    <a:cubicBezTo>
                      <a:pt x="704296" y="21972"/>
                      <a:pt x="697904" y="18781"/>
                      <a:pt x="691932" y="14904"/>
                    </a:cubicBezTo>
                    <a:cubicBezTo>
                      <a:pt x="697914" y="16676"/>
                      <a:pt x="703800" y="18771"/>
                      <a:pt x="709554" y="21191"/>
                    </a:cubicBezTo>
                    <a:cubicBezTo>
                      <a:pt x="708125" y="20629"/>
                      <a:pt x="706963" y="19533"/>
                      <a:pt x="706315" y="18143"/>
                    </a:cubicBezTo>
                    <a:lnTo>
                      <a:pt x="706315" y="16619"/>
                    </a:lnTo>
                    <a:cubicBezTo>
                      <a:pt x="710620" y="17590"/>
                      <a:pt x="714745" y="19257"/>
                      <a:pt x="718507" y="21572"/>
                    </a:cubicBezTo>
                    <a:lnTo>
                      <a:pt x="717078" y="21572"/>
                    </a:lnTo>
                    <a:cubicBezTo>
                      <a:pt x="731366" y="27001"/>
                      <a:pt x="740986" y="40622"/>
                      <a:pt x="755178" y="44813"/>
                    </a:cubicBezTo>
                    <a:cubicBezTo>
                      <a:pt x="753654" y="41384"/>
                      <a:pt x="750511" y="39479"/>
                      <a:pt x="748225" y="36621"/>
                    </a:cubicBezTo>
                    <a:cubicBezTo>
                      <a:pt x="745634" y="36955"/>
                      <a:pt x="743139" y="35507"/>
                      <a:pt x="742129" y="33097"/>
                    </a:cubicBezTo>
                    <a:lnTo>
                      <a:pt x="743653" y="33097"/>
                    </a:lnTo>
                    <a:cubicBezTo>
                      <a:pt x="742634" y="32611"/>
                      <a:pt x="741653" y="32078"/>
                      <a:pt x="740700" y="31478"/>
                    </a:cubicBezTo>
                    <a:lnTo>
                      <a:pt x="747272" y="34526"/>
                    </a:lnTo>
                    <a:lnTo>
                      <a:pt x="747272" y="34526"/>
                    </a:lnTo>
                    <a:lnTo>
                      <a:pt x="747272" y="32907"/>
                    </a:lnTo>
                    <a:cubicBezTo>
                      <a:pt x="746491" y="32297"/>
                      <a:pt x="745815" y="31554"/>
                      <a:pt x="745272" y="30716"/>
                    </a:cubicBezTo>
                    <a:cubicBezTo>
                      <a:pt x="747320" y="31906"/>
                      <a:pt x="749539" y="32773"/>
                      <a:pt x="751845" y="33288"/>
                    </a:cubicBezTo>
                    <a:cubicBezTo>
                      <a:pt x="747558" y="29382"/>
                      <a:pt x="741748" y="28049"/>
                      <a:pt x="737176" y="24525"/>
                    </a:cubicBezTo>
                    <a:lnTo>
                      <a:pt x="740224" y="25287"/>
                    </a:lnTo>
                    <a:lnTo>
                      <a:pt x="739272" y="24144"/>
                    </a:lnTo>
                    <a:cubicBezTo>
                      <a:pt x="745748" y="25382"/>
                      <a:pt x="750892" y="30049"/>
                      <a:pt x="757179" y="31668"/>
                    </a:cubicBezTo>
                    <a:lnTo>
                      <a:pt x="757179" y="31668"/>
                    </a:lnTo>
                    <a:cubicBezTo>
                      <a:pt x="762122" y="33068"/>
                      <a:pt x="766961" y="34821"/>
                      <a:pt x="771656" y="36907"/>
                    </a:cubicBezTo>
                    <a:cubicBezTo>
                      <a:pt x="766418" y="33859"/>
                      <a:pt x="760417" y="32145"/>
                      <a:pt x="755178" y="29001"/>
                    </a:cubicBezTo>
                    <a:cubicBezTo>
                      <a:pt x="757512" y="30106"/>
                      <a:pt x="759979" y="30906"/>
                      <a:pt x="762513" y="31383"/>
                    </a:cubicBezTo>
                    <a:lnTo>
                      <a:pt x="755559" y="28144"/>
                    </a:lnTo>
                    <a:cubicBezTo>
                      <a:pt x="756502" y="28230"/>
                      <a:pt x="757426" y="28430"/>
                      <a:pt x="758322" y="28716"/>
                    </a:cubicBezTo>
                    <a:cubicBezTo>
                      <a:pt x="748797" y="24429"/>
                      <a:pt x="737652" y="23763"/>
                      <a:pt x="729747" y="16047"/>
                    </a:cubicBezTo>
                    <a:cubicBezTo>
                      <a:pt x="731575" y="16895"/>
                      <a:pt x="733452" y="17619"/>
                      <a:pt x="735366" y="18238"/>
                    </a:cubicBezTo>
                    <a:lnTo>
                      <a:pt x="730604" y="16238"/>
                    </a:lnTo>
                    <a:lnTo>
                      <a:pt x="731080" y="16238"/>
                    </a:lnTo>
                    <a:lnTo>
                      <a:pt x="727270" y="14619"/>
                    </a:lnTo>
                    <a:cubicBezTo>
                      <a:pt x="730223" y="15571"/>
                      <a:pt x="733175" y="16714"/>
                      <a:pt x="736128" y="17762"/>
                    </a:cubicBezTo>
                    <a:lnTo>
                      <a:pt x="734890" y="17190"/>
                    </a:lnTo>
                    <a:lnTo>
                      <a:pt x="737652" y="18238"/>
                    </a:lnTo>
                    <a:cubicBezTo>
                      <a:pt x="782944" y="35488"/>
                      <a:pt x="825720" y="58748"/>
                      <a:pt x="864811" y="87390"/>
                    </a:cubicBezTo>
                    <a:cubicBezTo>
                      <a:pt x="887242" y="103849"/>
                      <a:pt x="908388" y="122003"/>
                      <a:pt x="928057" y="141682"/>
                    </a:cubicBezTo>
                    <a:cubicBezTo>
                      <a:pt x="932629" y="146254"/>
                      <a:pt x="937582" y="151207"/>
                      <a:pt x="941868" y="156065"/>
                    </a:cubicBezTo>
                    <a:lnTo>
                      <a:pt x="948155" y="162923"/>
                    </a:lnTo>
                    <a:cubicBezTo>
                      <a:pt x="958918" y="175115"/>
                      <a:pt x="972253" y="192165"/>
                      <a:pt x="982349" y="204928"/>
                    </a:cubicBezTo>
                    <a:cubicBezTo>
                      <a:pt x="989112" y="214453"/>
                      <a:pt x="995684" y="223978"/>
                      <a:pt x="1001876" y="233503"/>
                    </a:cubicBezTo>
                    <a:cubicBezTo>
                      <a:pt x="1010763" y="247343"/>
                      <a:pt x="1018954" y="261535"/>
                      <a:pt x="1026450" y="276080"/>
                    </a:cubicBezTo>
                    <a:cubicBezTo>
                      <a:pt x="1033975" y="290558"/>
                      <a:pt x="1040833" y="305512"/>
                      <a:pt x="1047310" y="321133"/>
                    </a:cubicBezTo>
                    <a:lnTo>
                      <a:pt x="1046453" y="319323"/>
                    </a:lnTo>
                    <a:cubicBezTo>
                      <a:pt x="1047405" y="321990"/>
                      <a:pt x="1048453" y="324753"/>
                      <a:pt x="1049310" y="327420"/>
                    </a:cubicBezTo>
                    <a:cubicBezTo>
                      <a:pt x="1042357" y="311322"/>
                      <a:pt x="1042357" y="311322"/>
                      <a:pt x="1041881" y="310465"/>
                    </a:cubicBezTo>
                    <a:cubicBezTo>
                      <a:pt x="1046262" y="323419"/>
                      <a:pt x="1051406" y="335992"/>
                      <a:pt x="1056073" y="348565"/>
                    </a:cubicBezTo>
                    <a:cubicBezTo>
                      <a:pt x="1055968" y="346546"/>
                      <a:pt x="1055711" y="344546"/>
                      <a:pt x="1055311" y="342564"/>
                    </a:cubicBezTo>
                    <a:cubicBezTo>
                      <a:pt x="1057311" y="346850"/>
                      <a:pt x="1068837" y="384760"/>
                      <a:pt x="1072361" y="399143"/>
                    </a:cubicBezTo>
                    <a:lnTo>
                      <a:pt x="1072361" y="399714"/>
                    </a:lnTo>
                    <a:cubicBezTo>
                      <a:pt x="1072837" y="401810"/>
                      <a:pt x="1073408" y="404572"/>
                      <a:pt x="1073885" y="406572"/>
                    </a:cubicBezTo>
                    <a:lnTo>
                      <a:pt x="1073885" y="406572"/>
                    </a:lnTo>
                    <a:cubicBezTo>
                      <a:pt x="1074551" y="409525"/>
                      <a:pt x="1075218" y="412478"/>
                      <a:pt x="1075885" y="416097"/>
                    </a:cubicBezTo>
                    <a:cubicBezTo>
                      <a:pt x="1076552" y="419717"/>
                      <a:pt x="1075885" y="418479"/>
                      <a:pt x="1077123" y="422955"/>
                    </a:cubicBezTo>
                    <a:lnTo>
                      <a:pt x="1076456" y="418859"/>
                    </a:lnTo>
                    <a:lnTo>
                      <a:pt x="1079790" y="437433"/>
                    </a:lnTo>
                    <a:cubicBezTo>
                      <a:pt x="1084743" y="472009"/>
                      <a:pt x="1086839" y="487535"/>
                      <a:pt x="1085315" y="503537"/>
                    </a:cubicBezTo>
                    <a:close/>
                    <a:moveTo>
                      <a:pt x="743081" y="21286"/>
                    </a:moveTo>
                    <a:cubicBezTo>
                      <a:pt x="739367" y="19762"/>
                      <a:pt x="735462" y="18524"/>
                      <a:pt x="731747" y="17000"/>
                    </a:cubicBezTo>
                    <a:cubicBezTo>
                      <a:pt x="735366" y="18429"/>
                      <a:pt x="739176" y="20048"/>
                      <a:pt x="743081" y="21286"/>
                    </a:cubicBezTo>
                    <a:close/>
                    <a:moveTo>
                      <a:pt x="726413" y="47861"/>
                    </a:moveTo>
                    <a:lnTo>
                      <a:pt x="726413" y="47861"/>
                    </a:lnTo>
                    <a:lnTo>
                      <a:pt x="724317" y="46813"/>
                    </a:lnTo>
                    <a:lnTo>
                      <a:pt x="723174" y="46813"/>
                    </a:lnTo>
                    <a:lnTo>
                      <a:pt x="723174" y="46813"/>
                    </a:lnTo>
                    <a:cubicBezTo>
                      <a:pt x="723955" y="47832"/>
                      <a:pt x="725251" y="48318"/>
                      <a:pt x="726508" y="48051"/>
                    </a:cubicBezTo>
                    <a:close/>
                    <a:moveTo>
                      <a:pt x="737557" y="56052"/>
                    </a:moveTo>
                    <a:cubicBezTo>
                      <a:pt x="736785" y="55281"/>
                      <a:pt x="735919" y="54614"/>
                      <a:pt x="734985" y="54052"/>
                    </a:cubicBezTo>
                    <a:cubicBezTo>
                      <a:pt x="735728" y="54814"/>
                      <a:pt x="736557" y="55490"/>
                      <a:pt x="737462" y="56052"/>
                    </a:cubicBezTo>
                    <a:close/>
                    <a:moveTo>
                      <a:pt x="753083" y="79770"/>
                    </a:moveTo>
                    <a:cubicBezTo>
                      <a:pt x="751397" y="78369"/>
                      <a:pt x="749539" y="77188"/>
                      <a:pt x="747558" y="76245"/>
                    </a:cubicBezTo>
                    <a:lnTo>
                      <a:pt x="746987" y="77579"/>
                    </a:lnTo>
                    <a:cubicBezTo>
                      <a:pt x="742129" y="75769"/>
                      <a:pt x="739557" y="74817"/>
                      <a:pt x="738224" y="74150"/>
                    </a:cubicBezTo>
                    <a:cubicBezTo>
                      <a:pt x="742081" y="77865"/>
                      <a:pt x="747253" y="79884"/>
                      <a:pt x="752606" y="79770"/>
                    </a:cubicBezTo>
                    <a:close/>
                    <a:moveTo>
                      <a:pt x="773657" y="86056"/>
                    </a:moveTo>
                    <a:cubicBezTo>
                      <a:pt x="767818" y="81198"/>
                      <a:pt x="761417" y="77036"/>
                      <a:pt x="754607" y="73674"/>
                    </a:cubicBezTo>
                    <a:cubicBezTo>
                      <a:pt x="759722" y="79398"/>
                      <a:pt x="766265" y="83665"/>
                      <a:pt x="773562" y="86056"/>
                    </a:cubicBezTo>
                    <a:close/>
                  </a:path>
                </a:pathLst>
              </a:custGeom>
              <a:solidFill>
                <a:schemeClr val="accent1">
                  <a:lumMod val="40000"/>
                  <a:lumOff val="60000"/>
                </a:schemeClr>
              </a:solidFill>
              <a:ln w="9525" cap="flat">
                <a:noFill/>
                <a:prstDash val="solid"/>
                <a:miter/>
              </a:ln>
            </p:spPr>
            <p:txBody>
              <a:bodyPr rtlCol="0" anchor="ctr"/>
              <a:lstStyle/>
              <a:p>
                <a:endParaRPr lang="fr-FR"/>
              </a:p>
            </p:txBody>
          </p:sp>
        </p:grpSp>
        <p:grpSp>
          <p:nvGrpSpPr>
            <p:cNvPr id="51" name="Groupe 1047">
              <a:extLst>
                <a:ext uri="{FF2B5EF4-FFF2-40B4-BE49-F238E27FC236}">
                  <a16:creationId xmlns:a16="http://schemas.microsoft.com/office/drawing/2014/main" id="{9168CC72-525F-4013-A08B-24670101D75B}"/>
                </a:ext>
              </a:extLst>
            </p:cNvPr>
            <p:cNvGrpSpPr/>
            <p:nvPr/>
          </p:nvGrpSpPr>
          <p:grpSpPr>
            <a:xfrm>
              <a:off x="4211389" y="1317347"/>
              <a:ext cx="1428416" cy="491075"/>
              <a:chOff x="3738900" y="1256087"/>
              <a:chExt cx="1428416" cy="491075"/>
            </a:xfrm>
          </p:grpSpPr>
          <p:sp>
            <p:nvSpPr>
              <p:cNvPr id="75" name="Segnaposto contenuto 1">
                <a:extLst>
                  <a:ext uri="{FF2B5EF4-FFF2-40B4-BE49-F238E27FC236}">
                    <a16:creationId xmlns:a16="http://schemas.microsoft.com/office/drawing/2014/main" id="{340A0997-BA6A-4A3E-86D9-CB7FEF0A494E}"/>
                  </a:ext>
                </a:extLst>
              </p:cNvPr>
              <p:cNvSpPr txBox="1">
                <a:spLocks/>
              </p:cNvSpPr>
              <p:nvPr/>
            </p:nvSpPr>
            <p:spPr>
              <a:xfrm>
                <a:off x="3748484" y="1256087"/>
                <a:ext cx="1418832" cy="248801"/>
              </a:xfrm>
              <a:prstGeom prst="rect">
                <a:avLst/>
              </a:prstGeom>
            </p:spPr>
            <p:txBody>
              <a:bodyPr/>
              <a:lstStyle>
                <a:lvl1pPr marL="228600" indent="-228600" algn="l" rtl="0" eaLnBrk="1" fontAlgn="base" hangingPunct="1">
                  <a:lnSpc>
                    <a:spcPct val="90000"/>
                  </a:lnSpc>
                  <a:spcBef>
                    <a:spcPts val="1000"/>
                  </a:spcBef>
                  <a:spcAft>
                    <a:spcPct val="0"/>
                  </a:spcAft>
                  <a:buFont typeface="Arial" panose="020B0604020202020204" pitchFamily="34" charset="0"/>
                  <a:buChar char="•"/>
                  <a:defRPr sz="2800" kern="1200">
                    <a:solidFill>
                      <a:schemeClr val="tx1"/>
                    </a:solidFill>
                    <a:latin typeface="Montserrat" pitchFamily="2" charset="77"/>
                    <a:ea typeface="+mn-ea"/>
                    <a:cs typeface="+mn-cs"/>
                  </a:defRPr>
                </a:lvl1pPr>
                <a:lvl2pPr marL="685800" indent="-228600" algn="l" rtl="0" eaLnBrk="1" fontAlgn="base" hangingPunct="1">
                  <a:lnSpc>
                    <a:spcPct val="90000"/>
                  </a:lnSpc>
                  <a:spcBef>
                    <a:spcPts val="500"/>
                  </a:spcBef>
                  <a:spcAft>
                    <a:spcPct val="0"/>
                  </a:spcAft>
                  <a:buFont typeface="Arial" panose="020B0604020202020204" pitchFamily="34" charset="0"/>
                  <a:buChar char="•"/>
                  <a:defRPr sz="2400" kern="1200">
                    <a:solidFill>
                      <a:schemeClr val="tx1"/>
                    </a:solidFill>
                    <a:latin typeface="Montserrat" pitchFamily="2" charset="77"/>
                    <a:ea typeface="+mn-ea"/>
                    <a:cs typeface="+mn-cs"/>
                  </a:defRPr>
                </a:lvl2pPr>
                <a:lvl3pPr marL="1143000" indent="-228600" algn="l" rtl="0" eaLnBrk="1" fontAlgn="base" hangingPunct="1">
                  <a:lnSpc>
                    <a:spcPct val="90000"/>
                  </a:lnSpc>
                  <a:spcBef>
                    <a:spcPts val="500"/>
                  </a:spcBef>
                  <a:spcAft>
                    <a:spcPct val="0"/>
                  </a:spcAft>
                  <a:buFont typeface="Arial" panose="020B0604020202020204" pitchFamily="34" charset="0"/>
                  <a:buChar char="•"/>
                  <a:defRPr sz="2000" kern="1200">
                    <a:solidFill>
                      <a:schemeClr val="tx1"/>
                    </a:solidFill>
                    <a:latin typeface="Montserrat" pitchFamily="2" charset="77"/>
                    <a:ea typeface="+mn-ea"/>
                    <a:cs typeface="+mn-cs"/>
                  </a:defRPr>
                </a:lvl3pPr>
                <a:lvl4pPr marL="1600200" indent="-228600" algn="l" rtl="0" eaLnBrk="1" fontAlgn="base" hangingPunct="1">
                  <a:lnSpc>
                    <a:spcPct val="90000"/>
                  </a:lnSpc>
                  <a:spcBef>
                    <a:spcPts val="500"/>
                  </a:spcBef>
                  <a:spcAft>
                    <a:spcPct val="0"/>
                  </a:spcAft>
                  <a:buFont typeface="Arial" panose="020B0604020202020204" pitchFamily="34" charset="0"/>
                  <a:buChar char="•"/>
                  <a:defRPr kern="1200">
                    <a:solidFill>
                      <a:schemeClr val="tx1"/>
                    </a:solidFill>
                    <a:latin typeface="Montserrat" pitchFamily="2" charset="77"/>
                    <a:ea typeface="+mn-ea"/>
                    <a:cs typeface="+mn-cs"/>
                  </a:defRPr>
                </a:lvl4pPr>
                <a:lvl5pPr marL="2057400" indent="-228600" algn="l" rtl="0" eaLnBrk="1" fontAlgn="base" hangingPunct="1">
                  <a:lnSpc>
                    <a:spcPct val="90000"/>
                  </a:lnSpc>
                  <a:spcBef>
                    <a:spcPts val="500"/>
                  </a:spcBef>
                  <a:spcAft>
                    <a:spcPct val="0"/>
                  </a:spcAft>
                  <a:buFont typeface="Arial" panose="020B0604020202020204" pitchFamily="34" charset="0"/>
                  <a:buChar char="•"/>
                  <a:defRPr kern="1200">
                    <a:solidFill>
                      <a:schemeClr val="tx1"/>
                    </a:solidFill>
                    <a:latin typeface="Montserra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AU" sz="1100" b="1" dirty="0" err="1">
                    <a:solidFill>
                      <a:schemeClr val="bg1"/>
                    </a:solidFill>
                  </a:rPr>
                  <a:t>Klinische</a:t>
                </a:r>
                <a:r>
                  <a:rPr lang="en-AU" sz="1100" b="1" dirty="0">
                    <a:solidFill>
                      <a:schemeClr val="bg1"/>
                    </a:solidFill>
                  </a:rPr>
                  <a:t> </a:t>
                </a:r>
                <a:r>
                  <a:rPr lang="en-AU" sz="1100" b="1" dirty="0" err="1">
                    <a:solidFill>
                      <a:schemeClr val="bg1"/>
                    </a:solidFill>
                  </a:rPr>
                  <a:t>Dokumentation</a:t>
                </a:r>
                <a:endParaRPr lang="en-AU" sz="1100" b="1" dirty="0">
                  <a:solidFill>
                    <a:schemeClr val="bg1"/>
                  </a:solidFill>
                </a:endParaRPr>
              </a:p>
            </p:txBody>
          </p:sp>
          <p:sp>
            <p:nvSpPr>
              <p:cNvPr id="76" name="TextBox 31">
                <a:extLst>
                  <a:ext uri="{FF2B5EF4-FFF2-40B4-BE49-F238E27FC236}">
                    <a16:creationId xmlns:a16="http://schemas.microsoft.com/office/drawing/2014/main" id="{074A5C00-968C-47F1-BAB0-0E9631C2E2DA}"/>
                  </a:ext>
                </a:extLst>
              </p:cNvPr>
              <p:cNvSpPr txBox="1"/>
              <p:nvPr/>
            </p:nvSpPr>
            <p:spPr>
              <a:xfrm>
                <a:off x="3738900" y="1470163"/>
                <a:ext cx="1410611" cy="276999"/>
              </a:xfrm>
              <a:prstGeom prst="rect">
                <a:avLst/>
              </a:prstGeom>
              <a:noFill/>
            </p:spPr>
            <p:txBody>
              <a:bodyPr wrap="square">
                <a:spAutoFit/>
              </a:bodyPr>
              <a:lstStyle/>
              <a:p>
                <a:pPr algn="ctr"/>
                <a:endParaRPr lang="en-AU" sz="1200" b="0">
                  <a:solidFill>
                    <a:schemeClr val="bg1"/>
                  </a:solidFill>
                </a:endParaRPr>
              </a:p>
            </p:txBody>
          </p:sp>
        </p:grpSp>
        <p:grpSp>
          <p:nvGrpSpPr>
            <p:cNvPr id="52" name="Groupe 116">
              <a:extLst>
                <a:ext uri="{FF2B5EF4-FFF2-40B4-BE49-F238E27FC236}">
                  <a16:creationId xmlns:a16="http://schemas.microsoft.com/office/drawing/2014/main" id="{A250424D-07D4-4FF8-A846-CFD193E025BE}"/>
                </a:ext>
              </a:extLst>
            </p:cNvPr>
            <p:cNvGrpSpPr/>
            <p:nvPr/>
          </p:nvGrpSpPr>
          <p:grpSpPr>
            <a:xfrm>
              <a:off x="5835065" y="1401469"/>
              <a:ext cx="1428416" cy="491075"/>
              <a:chOff x="3738900" y="1256087"/>
              <a:chExt cx="1428416" cy="491075"/>
            </a:xfrm>
          </p:grpSpPr>
          <p:sp>
            <p:nvSpPr>
              <p:cNvPr id="73" name="Segnaposto contenuto 1">
                <a:extLst>
                  <a:ext uri="{FF2B5EF4-FFF2-40B4-BE49-F238E27FC236}">
                    <a16:creationId xmlns:a16="http://schemas.microsoft.com/office/drawing/2014/main" id="{509ADA85-9F5C-4F5E-AF7A-AEA3C985D3C1}"/>
                  </a:ext>
                </a:extLst>
              </p:cNvPr>
              <p:cNvSpPr txBox="1">
                <a:spLocks/>
              </p:cNvSpPr>
              <p:nvPr/>
            </p:nvSpPr>
            <p:spPr>
              <a:xfrm>
                <a:off x="3748484" y="1256087"/>
                <a:ext cx="1418832" cy="248801"/>
              </a:xfrm>
              <a:prstGeom prst="rect">
                <a:avLst/>
              </a:prstGeom>
            </p:spPr>
            <p:txBody>
              <a:bodyPr/>
              <a:lstStyle>
                <a:lvl1pPr marL="228600" indent="-228600" algn="l" rtl="0" eaLnBrk="1" fontAlgn="base" hangingPunct="1">
                  <a:lnSpc>
                    <a:spcPct val="90000"/>
                  </a:lnSpc>
                  <a:spcBef>
                    <a:spcPts val="1000"/>
                  </a:spcBef>
                  <a:spcAft>
                    <a:spcPct val="0"/>
                  </a:spcAft>
                  <a:buFont typeface="Arial" panose="020B0604020202020204" pitchFamily="34" charset="0"/>
                  <a:buChar char="•"/>
                  <a:defRPr sz="2800" kern="1200">
                    <a:solidFill>
                      <a:schemeClr val="tx1"/>
                    </a:solidFill>
                    <a:latin typeface="Montserrat" pitchFamily="2" charset="77"/>
                    <a:ea typeface="+mn-ea"/>
                    <a:cs typeface="+mn-cs"/>
                  </a:defRPr>
                </a:lvl1pPr>
                <a:lvl2pPr marL="685800" indent="-228600" algn="l" rtl="0" eaLnBrk="1" fontAlgn="base" hangingPunct="1">
                  <a:lnSpc>
                    <a:spcPct val="90000"/>
                  </a:lnSpc>
                  <a:spcBef>
                    <a:spcPts val="500"/>
                  </a:spcBef>
                  <a:spcAft>
                    <a:spcPct val="0"/>
                  </a:spcAft>
                  <a:buFont typeface="Arial" panose="020B0604020202020204" pitchFamily="34" charset="0"/>
                  <a:buChar char="•"/>
                  <a:defRPr sz="2400" kern="1200">
                    <a:solidFill>
                      <a:schemeClr val="tx1"/>
                    </a:solidFill>
                    <a:latin typeface="Montserrat" pitchFamily="2" charset="77"/>
                    <a:ea typeface="+mn-ea"/>
                    <a:cs typeface="+mn-cs"/>
                  </a:defRPr>
                </a:lvl2pPr>
                <a:lvl3pPr marL="1143000" indent="-228600" algn="l" rtl="0" eaLnBrk="1" fontAlgn="base" hangingPunct="1">
                  <a:lnSpc>
                    <a:spcPct val="90000"/>
                  </a:lnSpc>
                  <a:spcBef>
                    <a:spcPts val="500"/>
                  </a:spcBef>
                  <a:spcAft>
                    <a:spcPct val="0"/>
                  </a:spcAft>
                  <a:buFont typeface="Arial" panose="020B0604020202020204" pitchFamily="34" charset="0"/>
                  <a:buChar char="•"/>
                  <a:defRPr sz="2000" kern="1200">
                    <a:solidFill>
                      <a:schemeClr val="tx1"/>
                    </a:solidFill>
                    <a:latin typeface="Montserrat" pitchFamily="2" charset="77"/>
                    <a:ea typeface="+mn-ea"/>
                    <a:cs typeface="+mn-cs"/>
                  </a:defRPr>
                </a:lvl3pPr>
                <a:lvl4pPr marL="1600200" indent="-228600" algn="l" rtl="0" eaLnBrk="1" fontAlgn="base" hangingPunct="1">
                  <a:lnSpc>
                    <a:spcPct val="90000"/>
                  </a:lnSpc>
                  <a:spcBef>
                    <a:spcPts val="500"/>
                  </a:spcBef>
                  <a:spcAft>
                    <a:spcPct val="0"/>
                  </a:spcAft>
                  <a:buFont typeface="Arial" panose="020B0604020202020204" pitchFamily="34" charset="0"/>
                  <a:buChar char="•"/>
                  <a:defRPr kern="1200">
                    <a:solidFill>
                      <a:schemeClr val="tx1"/>
                    </a:solidFill>
                    <a:latin typeface="Montserrat" pitchFamily="2" charset="77"/>
                    <a:ea typeface="+mn-ea"/>
                    <a:cs typeface="+mn-cs"/>
                  </a:defRPr>
                </a:lvl4pPr>
                <a:lvl5pPr marL="2057400" indent="-228600" algn="l" rtl="0" eaLnBrk="1" fontAlgn="base" hangingPunct="1">
                  <a:lnSpc>
                    <a:spcPct val="90000"/>
                  </a:lnSpc>
                  <a:spcBef>
                    <a:spcPts val="500"/>
                  </a:spcBef>
                  <a:spcAft>
                    <a:spcPct val="0"/>
                  </a:spcAft>
                  <a:buFont typeface="Arial" panose="020B0604020202020204" pitchFamily="34" charset="0"/>
                  <a:buChar char="•"/>
                  <a:defRPr kern="1200">
                    <a:solidFill>
                      <a:schemeClr val="tx1"/>
                    </a:solidFill>
                    <a:latin typeface="Montserra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AU" sz="1100" b="1" dirty="0" err="1">
                    <a:solidFill>
                      <a:schemeClr val="bg1"/>
                    </a:solidFill>
                  </a:rPr>
                  <a:t>Klinisches</a:t>
                </a:r>
                <a:r>
                  <a:rPr lang="en-AU" sz="1100" b="1" dirty="0">
                    <a:solidFill>
                      <a:schemeClr val="bg1"/>
                    </a:solidFill>
                  </a:rPr>
                  <a:t>- &amp; </a:t>
                </a:r>
                <a:r>
                  <a:rPr lang="en-AU" sz="1100" b="1" dirty="0" err="1">
                    <a:solidFill>
                      <a:schemeClr val="bg1"/>
                    </a:solidFill>
                  </a:rPr>
                  <a:t>Finanz</a:t>
                </a:r>
                <a:r>
                  <a:rPr lang="en-AU" sz="1100" b="1" dirty="0">
                    <a:solidFill>
                      <a:schemeClr val="bg1"/>
                    </a:solidFill>
                  </a:rPr>
                  <a:t>-controlling</a:t>
                </a:r>
              </a:p>
            </p:txBody>
          </p:sp>
          <p:sp>
            <p:nvSpPr>
              <p:cNvPr id="74" name="TextBox 31">
                <a:extLst>
                  <a:ext uri="{FF2B5EF4-FFF2-40B4-BE49-F238E27FC236}">
                    <a16:creationId xmlns:a16="http://schemas.microsoft.com/office/drawing/2014/main" id="{2B778AB1-0D5A-42F3-94CC-07AE2A55EC72}"/>
                  </a:ext>
                </a:extLst>
              </p:cNvPr>
              <p:cNvSpPr txBox="1"/>
              <p:nvPr/>
            </p:nvSpPr>
            <p:spPr>
              <a:xfrm>
                <a:off x="3738900" y="1470163"/>
                <a:ext cx="1410611" cy="276999"/>
              </a:xfrm>
              <a:prstGeom prst="rect">
                <a:avLst/>
              </a:prstGeom>
              <a:noFill/>
            </p:spPr>
            <p:txBody>
              <a:bodyPr wrap="square">
                <a:spAutoFit/>
              </a:bodyPr>
              <a:lstStyle/>
              <a:p>
                <a:pPr algn="ctr"/>
                <a:endParaRPr lang="en-AU" sz="1200" b="0">
                  <a:solidFill>
                    <a:schemeClr val="bg1"/>
                  </a:solidFill>
                </a:endParaRPr>
              </a:p>
            </p:txBody>
          </p:sp>
        </p:grpSp>
        <p:grpSp>
          <p:nvGrpSpPr>
            <p:cNvPr id="53" name="Groupe 119">
              <a:extLst>
                <a:ext uri="{FF2B5EF4-FFF2-40B4-BE49-F238E27FC236}">
                  <a16:creationId xmlns:a16="http://schemas.microsoft.com/office/drawing/2014/main" id="{F02170D0-C800-4A4C-B1D1-1D580954D35E}"/>
                </a:ext>
              </a:extLst>
            </p:cNvPr>
            <p:cNvGrpSpPr/>
            <p:nvPr/>
          </p:nvGrpSpPr>
          <p:grpSpPr>
            <a:xfrm>
              <a:off x="6961085" y="2605242"/>
              <a:ext cx="1428416" cy="491075"/>
              <a:chOff x="3738900" y="1256087"/>
              <a:chExt cx="1428416" cy="491075"/>
            </a:xfrm>
          </p:grpSpPr>
          <p:sp>
            <p:nvSpPr>
              <p:cNvPr id="71" name="Segnaposto contenuto 1">
                <a:extLst>
                  <a:ext uri="{FF2B5EF4-FFF2-40B4-BE49-F238E27FC236}">
                    <a16:creationId xmlns:a16="http://schemas.microsoft.com/office/drawing/2014/main" id="{7D29491B-CDF8-4C45-97C5-1A549CAADE23}"/>
                  </a:ext>
                </a:extLst>
              </p:cNvPr>
              <p:cNvSpPr txBox="1">
                <a:spLocks/>
              </p:cNvSpPr>
              <p:nvPr/>
            </p:nvSpPr>
            <p:spPr>
              <a:xfrm>
                <a:off x="3748484" y="1256087"/>
                <a:ext cx="1418832" cy="248801"/>
              </a:xfrm>
              <a:prstGeom prst="rect">
                <a:avLst/>
              </a:prstGeom>
            </p:spPr>
            <p:txBody>
              <a:bodyPr/>
              <a:lstStyle>
                <a:lvl1pPr marL="228600" indent="-228600" algn="l" rtl="0" eaLnBrk="1" fontAlgn="base" hangingPunct="1">
                  <a:lnSpc>
                    <a:spcPct val="90000"/>
                  </a:lnSpc>
                  <a:spcBef>
                    <a:spcPts val="1000"/>
                  </a:spcBef>
                  <a:spcAft>
                    <a:spcPct val="0"/>
                  </a:spcAft>
                  <a:buFont typeface="Arial" panose="020B0604020202020204" pitchFamily="34" charset="0"/>
                  <a:buChar char="•"/>
                  <a:defRPr sz="2800" kern="1200">
                    <a:solidFill>
                      <a:schemeClr val="tx1"/>
                    </a:solidFill>
                    <a:latin typeface="Montserrat" pitchFamily="2" charset="77"/>
                    <a:ea typeface="+mn-ea"/>
                    <a:cs typeface="+mn-cs"/>
                  </a:defRPr>
                </a:lvl1pPr>
                <a:lvl2pPr marL="685800" indent="-228600" algn="l" rtl="0" eaLnBrk="1" fontAlgn="base" hangingPunct="1">
                  <a:lnSpc>
                    <a:spcPct val="90000"/>
                  </a:lnSpc>
                  <a:spcBef>
                    <a:spcPts val="500"/>
                  </a:spcBef>
                  <a:spcAft>
                    <a:spcPct val="0"/>
                  </a:spcAft>
                  <a:buFont typeface="Arial" panose="020B0604020202020204" pitchFamily="34" charset="0"/>
                  <a:buChar char="•"/>
                  <a:defRPr sz="2400" kern="1200">
                    <a:solidFill>
                      <a:schemeClr val="tx1"/>
                    </a:solidFill>
                    <a:latin typeface="Montserrat" pitchFamily="2" charset="77"/>
                    <a:ea typeface="+mn-ea"/>
                    <a:cs typeface="+mn-cs"/>
                  </a:defRPr>
                </a:lvl2pPr>
                <a:lvl3pPr marL="1143000" indent="-228600" algn="l" rtl="0" eaLnBrk="1" fontAlgn="base" hangingPunct="1">
                  <a:lnSpc>
                    <a:spcPct val="90000"/>
                  </a:lnSpc>
                  <a:spcBef>
                    <a:spcPts val="500"/>
                  </a:spcBef>
                  <a:spcAft>
                    <a:spcPct val="0"/>
                  </a:spcAft>
                  <a:buFont typeface="Arial" panose="020B0604020202020204" pitchFamily="34" charset="0"/>
                  <a:buChar char="•"/>
                  <a:defRPr sz="2000" kern="1200">
                    <a:solidFill>
                      <a:schemeClr val="tx1"/>
                    </a:solidFill>
                    <a:latin typeface="Montserrat" pitchFamily="2" charset="77"/>
                    <a:ea typeface="+mn-ea"/>
                    <a:cs typeface="+mn-cs"/>
                  </a:defRPr>
                </a:lvl3pPr>
                <a:lvl4pPr marL="1600200" indent="-228600" algn="l" rtl="0" eaLnBrk="1" fontAlgn="base" hangingPunct="1">
                  <a:lnSpc>
                    <a:spcPct val="90000"/>
                  </a:lnSpc>
                  <a:spcBef>
                    <a:spcPts val="500"/>
                  </a:spcBef>
                  <a:spcAft>
                    <a:spcPct val="0"/>
                  </a:spcAft>
                  <a:buFont typeface="Arial" panose="020B0604020202020204" pitchFamily="34" charset="0"/>
                  <a:buChar char="•"/>
                  <a:defRPr kern="1200">
                    <a:solidFill>
                      <a:schemeClr val="tx1"/>
                    </a:solidFill>
                    <a:latin typeface="Montserrat" pitchFamily="2" charset="77"/>
                    <a:ea typeface="+mn-ea"/>
                    <a:cs typeface="+mn-cs"/>
                  </a:defRPr>
                </a:lvl4pPr>
                <a:lvl5pPr marL="2057400" indent="-228600" algn="l" rtl="0" eaLnBrk="1" fontAlgn="base" hangingPunct="1">
                  <a:lnSpc>
                    <a:spcPct val="90000"/>
                  </a:lnSpc>
                  <a:spcBef>
                    <a:spcPts val="500"/>
                  </a:spcBef>
                  <a:spcAft>
                    <a:spcPct val="0"/>
                  </a:spcAft>
                  <a:buFont typeface="Arial" panose="020B0604020202020204" pitchFamily="34" charset="0"/>
                  <a:buChar char="•"/>
                  <a:defRPr kern="1200">
                    <a:solidFill>
                      <a:schemeClr val="tx1"/>
                    </a:solidFill>
                    <a:latin typeface="Montserra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AU" sz="1100" b="1" dirty="0">
                    <a:solidFill>
                      <a:schemeClr val="bg1"/>
                    </a:solidFill>
                  </a:rPr>
                  <a:t>Privat-liquidation</a:t>
                </a:r>
              </a:p>
            </p:txBody>
          </p:sp>
          <p:sp>
            <p:nvSpPr>
              <p:cNvPr id="72" name="TextBox 31">
                <a:extLst>
                  <a:ext uri="{FF2B5EF4-FFF2-40B4-BE49-F238E27FC236}">
                    <a16:creationId xmlns:a16="http://schemas.microsoft.com/office/drawing/2014/main" id="{1590DADC-D6FF-4F76-9A8D-69F83D6B8AB3}"/>
                  </a:ext>
                </a:extLst>
              </p:cNvPr>
              <p:cNvSpPr txBox="1"/>
              <p:nvPr/>
            </p:nvSpPr>
            <p:spPr>
              <a:xfrm>
                <a:off x="3738900" y="1470163"/>
                <a:ext cx="1410611" cy="276999"/>
              </a:xfrm>
              <a:prstGeom prst="rect">
                <a:avLst/>
              </a:prstGeom>
              <a:noFill/>
            </p:spPr>
            <p:txBody>
              <a:bodyPr wrap="square">
                <a:spAutoFit/>
              </a:bodyPr>
              <a:lstStyle/>
              <a:p>
                <a:pPr algn="ctr"/>
                <a:endParaRPr lang="en-AU" sz="1200" b="0">
                  <a:solidFill>
                    <a:schemeClr val="bg1"/>
                  </a:solidFill>
                </a:endParaRPr>
              </a:p>
            </p:txBody>
          </p:sp>
        </p:grpSp>
        <p:grpSp>
          <p:nvGrpSpPr>
            <p:cNvPr id="54" name="Groupe 123">
              <a:extLst>
                <a:ext uri="{FF2B5EF4-FFF2-40B4-BE49-F238E27FC236}">
                  <a16:creationId xmlns:a16="http://schemas.microsoft.com/office/drawing/2014/main" id="{A756CCCA-7B76-4889-9FB0-50910F4EF3D4}"/>
                </a:ext>
              </a:extLst>
            </p:cNvPr>
            <p:cNvGrpSpPr/>
            <p:nvPr/>
          </p:nvGrpSpPr>
          <p:grpSpPr>
            <a:xfrm>
              <a:off x="6969082" y="4337052"/>
              <a:ext cx="1428416" cy="491075"/>
              <a:chOff x="3738900" y="1256087"/>
              <a:chExt cx="1428416" cy="491075"/>
            </a:xfrm>
          </p:grpSpPr>
          <p:sp>
            <p:nvSpPr>
              <p:cNvPr id="69" name="Segnaposto contenuto 1">
                <a:extLst>
                  <a:ext uri="{FF2B5EF4-FFF2-40B4-BE49-F238E27FC236}">
                    <a16:creationId xmlns:a16="http://schemas.microsoft.com/office/drawing/2014/main" id="{281DCD77-DC7D-4598-97FA-D7065A7D8F92}"/>
                  </a:ext>
                </a:extLst>
              </p:cNvPr>
              <p:cNvSpPr txBox="1">
                <a:spLocks/>
              </p:cNvSpPr>
              <p:nvPr/>
            </p:nvSpPr>
            <p:spPr>
              <a:xfrm>
                <a:off x="3748484" y="1256087"/>
                <a:ext cx="1418832" cy="248801"/>
              </a:xfrm>
              <a:prstGeom prst="rect">
                <a:avLst/>
              </a:prstGeom>
            </p:spPr>
            <p:txBody>
              <a:bodyPr/>
              <a:lstStyle>
                <a:lvl1pPr marL="228600" indent="-228600" algn="l" rtl="0" eaLnBrk="1" fontAlgn="base" hangingPunct="1">
                  <a:lnSpc>
                    <a:spcPct val="90000"/>
                  </a:lnSpc>
                  <a:spcBef>
                    <a:spcPts val="1000"/>
                  </a:spcBef>
                  <a:spcAft>
                    <a:spcPct val="0"/>
                  </a:spcAft>
                  <a:buFont typeface="Arial" panose="020B0604020202020204" pitchFamily="34" charset="0"/>
                  <a:buChar char="•"/>
                  <a:defRPr sz="2800" kern="1200">
                    <a:solidFill>
                      <a:schemeClr val="tx1"/>
                    </a:solidFill>
                    <a:latin typeface="Montserrat" pitchFamily="2" charset="77"/>
                    <a:ea typeface="+mn-ea"/>
                    <a:cs typeface="+mn-cs"/>
                  </a:defRPr>
                </a:lvl1pPr>
                <a:lvl2pPr marL="685800" indent="-228600" algn="l" rtl="0" eaLnBrk="1" fontAlgn="base" hangingPunct="1">
                  <a:lnSpc>
                    <a:spcPct val="90000"/>
                  </a:lnSpc>
                  <a:spcBef>
                    <a:spcPts val="500"/>
                  </a:spcBef>
                  <a:spcAft>
                    <a:spcPct val="0"/>
                  </a:spcAft>
                  <a:buFont typeface="Arial" panose="020B0604020202020204" pitchFamily="34" charset="0"/>
                  <a:buChar char="•"/>
                  <a:defRPr sz="2400" kern="1200">
                    <a:solidFill>
                      <a:schemeClr val="tx1"/>
                    </a:solidFill>
                    <a:latin typeface="Montserrat" pitchFamily="2" charset="77"/>
                    <a:ea typeface="+mn-ea"/>
                    <a:cs typeface="+mn-cs"/>
                  </a:defRPr>
                </a:lvl2pPr>
                <a:lvl3pPr marL="1143000" indent="-228600" algn="l" rtl="0" eaLnBrk="1" fontAlgn="base" hangingPunct="1">
                  <a:lnSpc>
                    <a:spcPct val="90000"/>
                  </a:lnSpc>
                  <a:spcBef>
                    <a:spcPts val="500"/>
                  </a:spcBef>
                  <a:spcAft>
                    <a:spcPct val="0"/>
                  </a:spcAft>
                  <a:buFont typeface="Arial" panose="020B0604020202020204" pitchFamily="34" charset="0"/>
                  <a:buChar char="•"/>
                  <a:defRPr sz="2000" kern="1200">
                    <a:solidFill>
                      <a:schemeClr val="tx1"/>
                    </a:solidFill>
                    <a:latin typeface="Montserrat" pitchFamily="2" charset="77"/>
                    <a:ea typeface="+mn-ea"/>
                    <a:cs typeface="+mn-cs"/>
                  </a:defRPr>
                </a:lvl3pPr>
                <a:lvl4pPr marL="1600200" indent="-228600" algn="l" rtl="0" eaLnBrk="1" fontAlgn="base" hangingPunct="1">
                  <a:lnSpc>
                    <a:spcPct val="90000"/>
                  </a:lnSpc>
                  <a:spcBef>
                    <a:spcPts val="500"/>
                  </a:spcBef>
                  <a:spcAft>
                    <a:spcPct val="0"/>
                  </a:spcAft>
                  <a:buFont typeface="Arial" panose="020B0604020202020204" pitchFamily="34" charset="0"/>
                  <a:buChar char="•"/>
                  <a:defRPr kern="1200">
                    <a:solidFill>
                      <a:schemeClr val="tx1"/>
                    </a:solidFill>
                    <a:latin typeface="Montserrat" pitchFamily="2" charset="77"/>
                    <a:ea typeface="+mn-ea"/>
                    <a:cs typeface="+mn-cs"/>
                  </a:defRPr>
                </a:lvl4pPr>
                <a:lvl5pPr marL="2057400" indent="-228600" algn="l" rtl="0" eaLnBrk="1" fontAlgn="base" hangingPunct="1">
                  <a:lnSpc>
                    <a:spcPct val="90000"/>
                  </a:lnSpc>
                  <a:spcBef>
                    <a:spcPts val="500"/>
                  </a:spcBef>
                  <a:spcAft>
                    <a:spcPct val="0"/>
                  </a:spcAft>
                  <a:buFont typeface="Arial" panose="020B0604020202020204" pitchFamily="34" charset="0"/>
                  <a:buChar char="•"/>
                  <a:defRPr kern="1200">
                    <a:solidFill>
                      <a:schemeClr val="tx1"/>
                    </a:solidFill>
                    <a:latin typeface="Montserra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AU" sz="1100" b="1" dirty="0" err="1">
                    <a:solidFill>
                      <a:schemeClr val="bg1"/>
                    </a:solidFill>
                  </a:rPr>
                  <a:t>ePA</a:t>
                </a:r>
                <a:endParaRPr lang="en-AU" sz="1100" b="1" dirty="0">
                  <a:solidFill>
                    <a:schemeClr val="bg1"/>
                  </a:solidFill>
                </a:endParaRPr>
              </a:p>
            </p:txBody>
          </p:sp>
          <p:sp>
            <p:nvSpPr>
              <p:cNvPr id="70" name="TextBox 31">
                <a:extLst>
                  <a:ext uri="{FF2B5EF4-FFF2-40B4-BE49-F238E27FC236}">
                    <a16:creationId xmlns:a16="http://schemas.microsoft.com/office/drawing/2014/main" id="{6FE6EBCB-145D-4F35-9513-BAC3D0334DA0}"/>
                  </a:ext>
                </a:extLst>
              </p:cNvPr>
              <p:cNvSpPr txBox="1"/>
              <p:nvPr/>
            </p:nvSpPr>
            <p:spPr>
              <a:xfrm>
                <a:off x="3738900" y="1470163"/>
                <a:ext cx="1410611" cy="276999"/>
              </a:xfrm>
              <a:prstGeom prst="rect">
                <a:avLst/>
              </a:prstGeom>
              <a:noFill/>
            </p:spPr>
            <p:txBody>
              <a:bodyPr wrap="square">
                <a:spAutoFit/>
              </a:bodyPr>
              <a:lstStyle/>
              <a:p>
                <a:pPr algn="ctr"/>
                <a:endParaRPr lang="en-AU" sz="1200" b="0">
                  <a:solidFill>
                    <a:schemeClr val="bg1"/>
                  </a:solidFill>
                </a:endParaRPr>
              </a:p>
            </p:txBody>
          </p:sp>
        </p:grpSp>
        <p:sp>
          <p:nvSpPr>
            <p:cNvPr id="55" name="Segnaposto contenuto 1">
              <a:extLst>
                <a:ext uri="{FF2B5EF4-FFF2-40B4-BE49-F238E27FC236}">
                  <a16:creationId xmlns:a16="http://schemas.microsoft.com/office/drawing/2014/main" id="{10A1A760-B5EB-44EB-B17E-26139CDAA321}"/>
                </a:ext>
              </a:extLst>
            </p:cNvPr>
            <p:cNvSpPr txBox="1">
              <a:spLocks/>
            </p:cNvSpPr>
            <p:nvPr/>
          </p:nvSpPr>
          <p:spPr>
            <a:xfrm>
              <a:off x="5657849" y="5396643"/>
              <a:ext cx="1418832" cy="248801"/>
            </a:xfrm>
            <a:prstGeom prst="rect">
              <a:avLst/>
            </a:prstGeom>
          </p:spPr>
          <p:txBody>
            <a:bodyPr/>
            <a:lstStyle>
              <a:lvl1pPr marL="228600" indent="-228600" algn="l" rtl="0" eaLnBrk="1" fontAlgn="base" hangingPunct="1">
                <a:lnSpc>
                  <a:spcPct val="90000"/>
                </a:lnSpc>
                <a:spcBef>
                  <a:spcPts val="1000"/>
                </a:spcBef>
                <a:spcAft>
                  <a:spcPct val="0"/>
                </a:spcAft>
                <a:buFont typeface="Arial" panose="020B0604020202020204" pitchFamily="34" charset="0"/>
                <a:buChar char="•"/>
                <a:defRPr sz="2800" kern="1200">
                  <a:solidFill>
                    <a:schemeClr val="tx1"/>
                  </a:solidFill>
                  <a:latin typeface="Montserrat" pitchFamily="2" charset="77"/>
                  <a:ea typeface="+mn-ea"/>
                  <a:cs typeface="+mn-cs"/>
                </a:defRPr>
              </a:lvl1pPr>
              <a:lvl2pPr marL="685800" indent="-228600" algn="l" rtl="0" eaLnBrk="1" fontAlgn="base" hangingPunct="1">
                <a:lnSpc>
                  <a:spcPct val="90000"/>
                </a:lnSpc>
                <a:spcBef>
                  <a:spcPts val="500"/>
                </a:spcBef>
                <a:spcAft>
                  <a:spcPct val="0"/>
                </a:spcAft>
                <a:buFont typeface="Arial" panose="020B0604020202020204" pitchFamily="34" charset="0"/>
                <a:buChar char="•"/>
                <a:defRPr sz="2400" kern="1200">
                  <a:solidFill>
                    <a:schemeClr val="tx1"/>
                  </a:solidFill>
                  <a:latin typeface="Montserrat" pitchFamily="2" charset="77"/>
                  <a:ea typeface="+mn-ea"/>
                  <a:cs typeface="+mn-cs"/>
                </a:defRPr>
              </a:lvl2pPr>
              <a:lvl3pPr marL="1143000" indent="-228600" algn="l" rtl="0" eaLnBrk="1" fontAlgn="base" hangingPunct="1">
                <a:lnSpc>
                  <a:spcPct val="90000"/>
                </a:lnSpc>
                <a:spcBef>
                  <a:spcPts val="500"/>
                </a:spcBef>
                <a:spcAft>
                  <a:spcPct val="0"/>
                </a:spcAft>
                <a:buFont typeface="Arial" panose="020B0604020202020204" pitchFamily="34" charset="0"/>
                <a:buChar char="•"/>
                <a:defRPr sz="2000" kern="1200">
                  <a:solidFill>
                    <a:schemeClr val="tx1"/>
                  </a:solidFill>
                  <a:latin typeface="Montserrat" pitchFamily="2" charset="77"/>
                  <a:ea typeface="+mn-ea"/>
                  <a:cs typeface="+mn-cs"/>
                </a:defRPr>
              </a:lvl3pPr>
              <a:lvl4pPr marL="1600200" indent="-228600" algn="l" rtl="0" eaLnBrk="1" fontAlgn="base" hangingPunct="1">
                <a:lnSpc>
                  <a:spcPct val="90000"/>
                </a:lnSpc>
                <a:spcBef>
                  <a:spcPts val="500"/>
                </a:spcBef>
                <a:spcAft>
                  <a:spcPct val="0"/>
                </a:spcAft>
                <a:buFont typeface="Arial" panose="020B0604020202020204" pitchFamily="34" charset="0"/>
                <a:buChar char="•"/>
                <a:defRPr kern="1200">
                  <a:solidFill>
                    <a:schemeClr val="tx1"/>
                  </a:solidFill>
                  <a:latin typeface="Montserrat" pitchFamily="2" charset="77"/>
                  <a:ea typeface="+mn-ea"/>
                  <a:cs typeface="+mn-cs"/>
                </a:defRPr>
              </a:lvl4pPr>
              <a:lvl5pPr marL="2057400" indent="-228600" algn="l" rtl="0" eaLnBrk="1" fontAlgn="base" hangingPunct="1">
                <a:lnSpc>
                  <a:spcPct val="90000"/>
                </a:lnSpc>
                <a:spcBef>
                  <a:spcPts val="500"/>
                </a:spcBef>
                <a:spcAft>
                  <a:spcPct val="0"/>
                </a:spcAft>
                <a:buFont typeface="Arial" panose="020B0604020202020204" pitchFamily="34" charset="0"/>
                <a:buChar char="•"/>
                <a:defRPr kern="1200">
                  <a:solidFill>
                    <a:schemeClr val="tx1"/>
                  </a:solidFill>
                  <a:latin typeface="Montserra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AU" sz="1100" b="1" dirty="0">
                  <a:solidFill>
                    <a:schemeClr val="bg1"/>
                  </a:solidFill>
                </a:rPr>
                <a:t>IHE </a:t>
              </a:r>
              <a:r>
                <a:rPr lang="en-AU" sz="1100" b="1" dirty="0" err="1">
                  <a:solidFill>
                    <a:schemeClr val="bg1"/>
                  </a:solidFill>
                </a:rPr>
                <a:t>konform</a:t>
              </a:r>
              <a:endParaRPr lang="en-AU" sz="1100" b="1" dirty="0">
                <a:solidFill>
                  <a:schemeClr val="bg1"/>
                </a:solidFill>
              </a:endParaRPr>
            </a:p>
            <a:p>
              <a:pPr marL="0" indent="0" algn="ctr">
                <a:buFont typeface="Arial" panose="020B0604020202020204" pitchFamily="34" charset="0"/>
                <a:buNone/>
              </a:pPr>
              <a:r>
                <a:rPr lang="en-AU" sz="1100" b="1" dirty="0" err="1">
                  <a:solidFill>
                    <a:schemeClr val="bg1"/>
                  </a:solidFill>
                </a:rPr>
                <a:t>Daten</a:t>
              </a:r>
              <a:r>
                <a:rPr lang="en-AU" sz="1100" b="1" dirty="0">
                  <a:solidFill>
                    <a:schemeClr val="bg1"/>
                  </a:solidFill>
                </a:rPr>
                <a:t> &amp; Audit Trails</a:t>
              </a:r>
            </a:p>
          </p:txBody>
        </p:sp>
        <p:sp>
          <p:nvSpPr>
            <p:cNvPr id="56" name="Segnaposto contenuto 1">
              <a:extLst>
                <a:ext uri="{FF2B5EF4-FFF2-40B4-BE49-F238E27FC236}">
                  <a16:creationId xmlns:a16="http://schemas.microsoft.com/office/drawing/2014/main" id="{09F76844-E8EA-490A-87A2-5797CBBAA4B8}"/>
                </a:ext>
              </a:extLst>
            </p:cNvPr>
            <p:cNvSpPr txBox="1">
              <a:spLocks/>
            </p:cNvSpPr>
            <p:nvPr/>
          </p:nvSpPr>
          <p:spPr>
            <a:xfrm>
              <a:off x="4079412" y="5272848"/>
              <a:ext cx="1418832" cy="248801"/>
            </a:xfrm>
            <a:prstGeom prst="rect">
              <a:avLst/>
            </a:prstGeom>
          </p:spPr>
          <p:txBody>
            <a:bodyPr/>
            <a:lstStyle>
              <a:lvl1pPr marL="228600" indent="-228600" algn="l" rtl="0" eaLnBrk="1" fontAlgn="base" hangingPunct="1">
                <a:lnSpc>
                  <a:spcPct val="90000"/>
                </a:lnSpc>
                <a:spcBef>
                  <a:spcPts val="1000"/>
                </a:spcBef>
                <a:spcAft>
                  <a:spcPct val="0"/>
                </a:spcAft>
                <a:buFont typeface="Arial" panose="020B0604020202020204" pitchFamily="34" charset="0"/>
                <a:buChar char="•"/>
                <a:defRPr sz="2800" kern="1200">
                  <a:solidFill>
                    <a:schemeClr val="tx1"/>
                  </a:solidFill>
                  <a:latin typeface="Montserrat" pitchFamily="2" charset="77"/>
                  <a:ea typeface="+mn-ea"/>
                  <a:cs typeface="+mn-cs"/>
                </a:defRPr>
              </a:lvl1pPr>
              <a:lvl2pPr marL="685800" indent="-228600" algn="l" rtl="0" eaLnBrk="1" fontAlgn="base" hangingPunct="1">
                <a:lnSpc>
                  <a:spcPct val="90000"/>
                </a:lnSpc>
                <a:spcBef>
                  <a:spcPts val="500"/>
                </a:spcBef>
                <a:spcAft>
                  <a:spcPct val="0"/>
                </a:spcAft>
                <a:buFont typeface="Arial" panose="020B0604020202020204" pitchFamily="34" charset="0"/>
                <a:buChar char="•"/>
                <a:defRPr sz="2400" kern="1200">
                  <a:solidFill>
                    <a:schemeClr val="tx1"/>
                  </a:solidFill>
                  <a:latin typeface="Montserrat" pitchFamily="2" charset="77"/>
                  <a:ea typeface="+mn-ea"/>
                  <a:cs typeface="+mn-cs"/>
                </a:defRPr>
              </a:lvl2pPr>
              <a:lvl3pPr marL="1143000" indent="-228600" algn="l" rtl="0" eaLnBrk="1" fontAlgn="base" hangingPunct="1">
                <a:lnSpc>
                  <a:spcPct val="90000"/>
                </a:lnSpc>
                <a:spcBef>
                  <a:spcPts val="500"/>
                </a:spcBef>
                <a:spcAft>
                  <a:spcPct val="0"/>
                </a:spcAft>
                <a:buFont typeface="Arial" panose="020B0604020202020204" pitchFamily="34" charset="0"/>
                <a:buChar char="•"/>
                <a:defRPr sz="2000" kern="1200">
                  <a:solidFill>
                    <a:schemeClr val="tx1"/>
                  </a:solidFill>
                  <a:latin typeface="Montserrat" pitchFamily="2" charset="77"/>
                  <a:ea typeface="+mn-ea"/>
                  <a:cs typeface="+mn-cs"/>
                </a:defRPr>
              </a:lvl3pPr>
              <a:lvl4pPr marL="1600200" indent="-228600" algn="l" rtl="0" eaLnBrk="1" fontAlgn="base" hangingPunct="1">
                <a:lnSpc>
                  <a:spcPct val="90000"/>
                </a:lnSpc>
                <a:spcBef>
                  <a:spcPts val="500"/>
                </a:spcBef>
                <a:spcAft>
                  <a:spcPct val="0"/>
                </a:spcAft>
                <a:buFont typeface="Arial" panose="020B0604020202020204" pitchFamily="34" charset="0"/>
                <a:buChar char="•"/>
                <a:defRPr kern="1200">
                  <a:solidFill>
                    <a:schemeClr val="tx1"/>
                  </a:solidFill>
                  <a:latin typeface="Montserrat" pitchFamily="2" charset="77"/>
                  <a:ea typeface="+mn-ea"/>
                  <a:cs typeface="+mn-cs"/>
                </a:defRPr>
              </a:lvl4pPr>
              <a:lvl5pPr marL="2057400" indent="-228600" algn="l" rtl="0" eaLnBrk="1" fontAlgn="base" hangingPunct="1">
                <a:lnSpc>
                  <a:spcPct val="90000"/>
                </a:lnSpc>
                <a:spcBef>
                  <a:spcPts val="500"/>
                </a:spcBef>
                <a:spcAft>
                  <a:spcPct val="0"/>
                </a:spcAft>
                <a:buFont typeface="Arial" panose="020B0604020202020204" pitchFamily="34" charset="0"/>
                <a:buChar char="•"/>
                <a:defRPr kern="1200">
                  <a:solidFill>
                    <a:schemeClr val="tx1"/>
                  </a:solidFill>
                  <a:latin typeface="Montserra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AU" sz="1100" b="1" dirty="0">
                  <a:solidFill>
                    <a:schemeClr val="bg1"/>
                  </a:solidFill>
                </a:rPr>
                <a:t>Workflows, </a:t>
              </a:r>
              <a:r>
                <a:rPr lang="en-AU" sz="1100" b="1" dirty="0" err="1">
                  <a:solidFill>
                    <a:schemeClr val="bg1"/>
                  </a:solidFill>
                </a:rPr>
                <a:t>Verträge</a:t>
              </a:r>
              <a:r>
                <a:rPr lang="en-AU" sz="1100" b="1" dirty="0">
                  <a:solidFill>
                    <a:schemeClr val="bg1"/>
                  </a:solidFill>
                </a:rPr>
                <a:t>, </a:t>
              </a:r>
              <a:r>
                <a:rPr lang="en-AU" sz="1100" b="1" dirty="0" err="1">
                  <a:solidFill>
                    <a:schemeClr val="bg1"/>
                  </a:solidFill>
                </a:rPr>
                <a:t>Rechnungen</a:t>
              </a:r>
              <a:r>
                <a:rPr lang="en-AU" sz="1100" b="1" dirty="0">
                  <a:solidFill>
                    <a:schemeClr val="bg1"/>
                  </a:solidFill>
                </a:rPr>
                <a:t>, </a:t>
              </a:r>
              <a:r>
                <a:rPr lang="en-AU" sz="1100" b="1" dirty="0" err="1">
                  <a:solidFill>
                    <a:schemeClr val="bg1"/>
                  </a:solidFill>
                </a:rPr>
                <a:t>Posteingang</a:t>
              </a:r>
              <a:r>
                <a:rPr lang="en-AU" sz="1100" b="1" dirty="0">
                  <a:solidFill>
                    <a:schemeClr val="bg1"/>
                  </a:solidFill>
                </a:rPr>
                <a:t>, ...</a:t>
              </a:r>
            </a:p>
          </p:txBody>
        </p:sp>
        <p:sp>
          <p:nvSpPr>
            <p:cNvPr id="57" name="Segnaposto contenuto 1">
              <a:extLst>
                <a:ext uri="{FF2B5EF4-FFF2-40B4-BE49-F238E27FC236}">
                  <a16:creationId xmlns:a16="http://schemas.microsoft.com/office/drawing/2014/main" id="{AD31F231-0FC4-4316-BF1D-65D4991EA41C}"/>
                </a:ext>
              </a:extLst>
            </p:cNvPr>
            <p:cNvSpPr txBox="1">
              <a:spLocks/>
            </p:cNvSpPr>
            <p:nvPr/>
          </p:nvSpPr>
          <p:spPr>
            <a:xfrm>
              <a:off x="2827985" y="4123581"/>
              <a:ext cx="1418832" cy="248801"/>
            </a:xfrm>
            <a:prstGeom prst="rect">
              <a:avLst/>
            </a:prstGeom>
          </p:spPr>
          <p:txBody>
            <a:bodyPr/>
            <a:lstStyle>
              <a:lvl1pPr marL="228600" indent="-228600" algn="l" rtl="0" eaLnBrk="1" fontAlgn="base" hangingPunct="1">
                <a:lnSpc>
                  <a:spcPct val="90000"/>
                </a:lnSpc>
                <a:spcBef>
                  <a:spcPts val="1000"/>
                </a:spcBef>
                <a:spcAft>
                  <a:spcPct val="0"/>
                </a:spcAft>
                <a:buFont typeface="Arial" panose="020B0604020202020204" pitchFamily="34" charset="0"/>
                <a:buChar char="•"/>
                <a:defRPr sz="2800" kern="1200">
                  <a:solidFill>
                    <a:schemeClr val="tx1"/>
                  </a:solidFill>
                  <a:latin typeface="Montserrat" pitchFamily="2" charset="77"/>
                  <a:ea typeface="+mn-ea"/>
                  <a:cs typeface="+mn-cs"/>
                </a:defRPr>
              </a:lvl1pPr>
              <a:lvl2pPr marL="685800" indent="-228600" algn="l" rtl="0" eaLnBrk="1" fontAlgn="base" hangingPunct="1">
                <a:lnSpc>
                  <a:spcPct val="90000"/>
                </a:lnSpc>
                <a:spcBef>
                  <a:spcPts val="500"/>
                </a:spcBef>
                <a:spcAft>
                  <a:spcPct val="0"/>
                </a:spcAft>
                <a:buFont typeface="Arial" panose="020B0604020202020204" pitchFamily="34" charset="0"/>
                <a:buChar char="•"/>
                <a:defRPr sz="2400" kern="1200">
                  <a:solidFill>
                    <a:schemeClr val="tx1"/>
                  </a:solidFill>
                  <a:latin typeface="Montserrat" pitchFamily="2" charset="77"/>
                  <a:ea typeface="+mn-ea"/>
                  <a:cs typeface="+mn-cs"/>
                </a:defRPr>
              </a:lvl2pPr>
              <a:lvl3pPr marL="1143000" indent="-228600" algn="l" rtl="0" eaLnBrk="1" fontAlgn="base" hangingPunct="1">
                <a:lnSpc>
                  <a:spcPct val="90000"/>
                </a:lnSpc>
                <a:spcBef>
                  <a:spcPts val="500"/>
                </a:spcBef>
                <a:spcAft>
                  <a:spcPct val="0"/>
                </a:spcAft>
                <a:buFont typeface="Arial" panose="020B0604020202020204" pitchFamily="34" charset="0"/>
                <a:buChar char="•"/>
                <a:defRPr sz="2000" kern="1200">
                  <a:solidFill>
                    <a:schemeClr val="tx1"/>
                  </a:solidFill>
                  <a:latin typeface="Montserrat" pitchFamily="2" charset="77"/>
                  <a:ea typeface="+mn-ea"/>
                  <a:cs typeface="+mn-cs"/>
                </a:defRPr>
              </a:lvl3pPr>
              <a:lvl4pPr marL="1600200" indent="-228600" algn="l" rtl="0" eaLnBrk="1" fontAlgn="base" hangingPunct="1">
                <a:lnSpc>
                  <a:spcPct val="90000"/>
                </a:lnSpc>
                <a:spcBef>
                  <a:spcPts val="500"/>
                </a:spcBef>
                <a:spcAft>
                  <a:spcPct val="0"/>
                </a:spcAft>
                <a:buFont typeface="Arial" panose="020B0604020202020204" pitchFamily="34" charset="0"/>
                <a:buChar char="•"/>
                <a:defRPr kern="1200">
                  <a:solidFill>
                    <a:schemeClr val="tx1"/>
                  </a:solidFill>
                  <a:latin typeface="Montserrat" pitchFamily="2" charset="77"/>
                  <a:ea typeface="+mn-ea"/>
                  <a:cs typeface="+mn-cs"/>
                </a:defRPr>
              </a:lvl4pPr>
              <a:lvl5pPr marL="2057400" indent="-228600" algn="l" rtl="0" eaLnBrk="1" fontAlgn="base" hangingPunct="1">
                <a:lnSpc>
                  <a:spcPct val="90000"/>
                </a:lnSpc>
                <a:spcBef>
                  <a:spcPts val="500"/>
                </a:spcBef>
                <a:spcAft>
                  <a:spcPct val="0"/>
                </a:spcAft>
                <a:buFont typeface="Arial" panose="020B0604020202020204" pitchFamily="34" charset="0"/>
                <a:buChar char="•"/>
                <a:defRPr kern="1200">
                  <a:solidFill>
                    <a:schemeClr val="tx1"/>
                  </a:solidFill>
                  <a:latin typeface="Montserra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AU" sz="1100" b="1" dirty="0">
                  <a:solidFill>
                    <a:schemeClr val="bg1"/>
                  </a:solidFill>
                </a:rPr>
                <a:t>Personal-</a:t>
              </a:r>
              <a:r>
                <a:rPr lang="en-AU" sz="1100" b="1" dirty="0" err="1">
                  <a:solidFill>
                    <a:schemeClr val="bg1"/>
                  </a:solidFill>
                </a:rPr>
                <a:t>wesen</a:t>
              </a:r>
              <a:endParaRPr lang="en-AU" sz="1100" b="1" dirty="0">
                <a:solidFill>
                  <a:schemeClr val="bg1"/>
                </a:solidFill>
              </a:endParaRPr>
            </a:p>
          </p:txBody>
        </p:sp>
        <p:sp>
          <p:nvSpPr>
            <p:cNvPr id="67" name="Segnaposto contenuto 1">
              <a:extLst>
                <a:ext uri="{FF2B5EF4-FFF2-40B4-BE49-F238E27FC236}">
                  <a16:creationId xmlns:a16="http://schemas.microsoft.com/office/drawing/2014/main" id="{12CB4E69-9BFB-43DF-B4EE-2F1BA75150E7}"/>
                </a:ext>
              </a:extLst>
            </p:cNvPr>
            <p:cNvSpPr txBox="1">
              <a:spLocks/>
            </p:cNvSpPr>
            <p:nvPr/>
          </p:nvSpPr>
          <p:spPr>
            <a:xfrm>
              <a:off x="3035223" y="2546741"/>
              <a:ext cx="1418832" cy="248801"/>
            </a:xfrm>
            <a:prstGeom prst="rect">
              <a:avLst/>
            </a:prstGeom>
          </p:spPr>
          <p:txBody>
            <a:bodyPr/>
            <a:lstStyle>
              <a:lvl1pPr marL="228600" indent="-228600" algn="l" rtl="0" eaLnBrk="1" fontAlgn="base" hangingPunct="1">
                <a:lnSpc>
                  <a:spcPct val="90000"/>
                </a:lnSpc>
                <a:spcBef>
                  <a:spcPts val="1000"/>
                </a:spcBef>
                <a:spcAft>
                  <a:spcPct val="0"/>
                </a:spcAft>
                <a:buFont typeface="Arial" panose="020B0604020202020204" pitchFamily="34" charset="0"/>
                <a:buChar char="•"/>
                <a:defRPr sz="2800" kern="1200">
                  <a:solidFill>
                    <a:schemeClr val="tx1"/>
                  </a:solidFill>
                  <a:latin typeface="Montserrat" pitchFamily="2" charset="77"/>
                  <a:ea typeface="+mn-ea"/>
                  <a:cs typeface="+mn-cs"/>
                </a:defRPr>
              </a:lvl1pPr>
              <a:lvl2pPr marL="685800" indent="-228600" algn="l" rtl="0" eaLnBrk="1" fontAlgn="base" hangingPunct="1">
                <a:lnSpc>
                  <a:spcPct val="90000"/>
                </a:lnSpc>
                <a:spcBef>
                  <a:spcPts val="500"/>
                </a:spcBef>
                <a:spcAft>
                  <a:spcPct val="0"/>
                </a:spcAft>
                <a:buFont typeface="Arial" panose="020B0604020202020204" pitchFamily="34" charset="0"/>
                <a:buChar char="•"/>
                <a:defRPr sz="2400" kern="1200">
                  <a:solidFill>
                    <a:schemeClr val="tx1"/>
                  </a:solidFill>
                  <a:latin typeface="Montserrat" pitchFamily="2" charset="77"/>
                  <a:ea typeface="+mn-ea"/>
                  <a:cs typeface="+mn-cs"/>
                </a:defRPr>
              </a:lvl2pPr>
              <a:lvl3pPr marL="1143000" indent="-228600" algn="l" rtl="0" eaLnBrk="1" fontAlgn="base" hangingPunct="1">
                <a:lnSpc>
                  <a:spcPct val="90000"/>
                </a:lnSpc>
                <a:spcBef>
                  <a:spcPts val="500"/>
                </a:spcBef>
                <a:spcAft>
                  <a:spcPct val="0"/>
                </a:spcAft>
                <a:buFont typeface="Arial" panose="020B0604020202020204" pitchFamily="34" charset="0"/>
                <a:buChar char="•"/>
                <a:defRPr sz="2000" kern="1200">
                  <a:solidFill>
                    <a:schemeClr val="tx1"/>
                  </a:solidFill>
                  <a:latin typeface="Montserrat" pitchFamily="2" charset="77"/>
                  <a:ea typeface="+mn-ea"/>
                  <a:cs typeface="+mn-cs"/>
                </a:defRPr>
              </a:lvl3pPr>
              <a:lvl4pPr marL="1600200" indent="-228600" algn="l" rtl="0" eaLnBrk="1" fontAlgn="base" hangingPunct="1">
                <a:lnSpc>
                  <a:spcPct val="90000"/>
                </a:lnSpc>
                <a:spcBef>
                  <a:spcPts val="500"/>
                </a:spcBef>
                <a:spcAft>
                  <a:spcPct val="0"/>
                </a:spcAft>
                <a:buFont typeface="Arial" panose="020B0604020202020204" pitchFamily="34" charset="0"/>
                <a:buChar char="•"/>
                <a:defRPr kern="1200">
                  <a:solidFill>
                    <a:schemeClr val="tx1"/>
                  </a:solidFill>
                  <a:latin typeface="Montserrat" pitchFamily="2" charset="77"/>
                  <a:ea typeface="+mn-ea"/>
                  <a:cs typeface="+mn-cs"/>
                </a:defRPr>
              </a:lvl4pPr>
              <a:lvl5pPr marL="2057400" indent="-228600" algn="l" rtl="0" eaLnBrk="1" fontAlgn="base" hangingPunct="1">
                <a:lnSpc>
                  <a:spcPct val="90000"/>
                </a:lnSpc>
                <a:spcBef>
                  <a:spcPts val="500"/>
                </a:spcBef>
                <a:spcAft>
                  <a:spcPct val="0"/>
                </a:spcAft>
                <a:buFont typeface="Arial" panose="020B0604020202020204" pitchFamily="34" charset="0"/>
                <a:buChar char="•"/>
                <a:defRPr kern="1200">
                  <a:solidFill>
                    <a:schemeClr val="tx1"/>
                  </a:solidFill>
                  <a:latin typeface="Montserra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AU" sz="1100" b="1" dirty="0" err="1">
                  <a:solidFill>
                    <a:schemeClr val="bg1"/>
                  </a:solidFill>
                </a:rPr>
                <a:t>Strukturierte</a:t>
              </a:r>
              <a:r>
                <a:rPr lang="en-AU" sz="1100" b="1" dirty="0">
                  <a:solidFill>
                    <a:schemeClr val="bg1"/>
                  </a:solidFill>
                </a:rPr>
                <a:t> Information</a:t>
              </a:r>
            </a:p>
          </p:txBody>
        </p:sp>
        <p:pic>
          <p:nvPicPr>
            <p:cNvPr id="59" name="Picture 234">
              <a:extLst>
                <a:ext uri="{FF2B5EF4-FFF2-40B4-BE49-F238E27FC236}">
                  <a16:creationId xmlns:a16="http://schemas.microsoft.com/office/drawing/2014/main" id="{C769632C-A92C-441E-AB2E-C64285271B52}"/>
                </a:ext>
              </a:extLst>
            </p:cNvPr>
            <p:cNvPicPr>
              <a:picLocks noChangeAspect="1"/>
            </p:cNvPicPr>
            <p:nvPr/>
          </p:nvPicPr>
          <p:blipFill>
            <a:blip r:embed="rId4"/>
            <a:srcRect/>
            <a:stretch/>
          </p:blipFill>
          <p:spPr>
            <a:xfrm>
              <a:off x="5955046" y="2125967"/>
              <a:ext cx="449153" cy="449153"/>
            </a:xfrm>
            <a:prstGeom prst="rect">
              <a:avLst/>
            </a:prstGeom>
          </p:spPr>
        </p:pic>
        <p:pic>
          <p:nvPicPr>
            <p:cNvPr id="60" name="Picture 234">
              <a:extLst>
                <a:ext uri="{FF2B5EF4-FFF2-40B4-BE49-F238E27FC236}">
                  <a16:creationId xmlns:a16="http://schemas.microsoft.com/office/drawing/2014/main" id="{D46CA156-768D-44D3-AC91-CD2692508364}"/>
                </a:ext>
              </a:extLst>
            </p:cNvPr>
            <p:cNvPicPr>
              <a:picLocks noChangeAspect="1"/>
            </p:cNvPicPr>
            <p:nvPr/>
          </p:nvPicPr>
          <p:blipFill>
            <a:blip r:embed="rId5"/>
            <a:srcRect/>
            <a:stretch/>
          </p:blipFill>
          <p:spPr>
            <a:xfrm>
              <a:off x="6685515" y="2870676"/>
              <a:ext cx="449153" cy="444162"/>
            </a:xfrm>
            <a:prstGeom prst="rect">
              <a:avLst/>
            </a:prstGeom>
          </p:spPr>
        </p:pic>
        <p:pic>
          <p:nvPicPr>
            <p:cNvPr id="61" name="Picture 234">
              <a:extLst>
                <a:ext uri="{FF2B5EF4-FFF2-40B4-BE49-F238E27FC236}">
                  <a16:creationId xmlns:a16="http://schemas.microsoft.com/office/drawing/2014/main" id="{69F2DE1C-3172-46D1-A1E7-4832F27763D3}"/>
                </a:ext>
              </a:extLst>
            </p:cNvPr>
            <p:cNvPicPr>
              <a:picLocks noChangeAspect="1"/>
            </p:cNvPicPr>
            <p:nvPr/>
          </p:nvPicPr>
          <p:blipFill>
            <a:blip r:embed="rId6"/>
            <a:srcRect/>
            <a:stretch/>
          </p:blipFill>
          <p:spPr>
            <a:xfrm>
              <a:off x="6698277" y="3935844"/>
              <a:ext cx="449153" cy="449153"/>
            </a:xfrm>
            <a:prstGeom prst="rect">
              <a:avLst/>
            </a:prstGeom>
          </p:spPr>
        </p:pic>
        <p:pic>
          <p:nvPicPr>
            <p:cNvPr id="62" name="Picture 234">
              <a:extLst>
                <a:ext uri="{FF2B5EF4-FFF2-40B4-BE49-F238E27FC236}">
                  <a16:creationId xmlns:a16="http://schemas.microsoft.com/office/drawing/2014/main" id="{5E1C9B25-A70B-4953-9D98-D71418ED6B1B}"/>
                </a:ext>
              </a:extLst>
            </p:cNvPr>
            <p:cNvPicPr>
              <a:picLocks noChangeAspect="1"/>
            </p:cNvPicPr>
            <p:nvPr/>
          </p:nvPicPr>
          <p:blipFill>
            <a:blip r:embed="rId7"/>
            <a:srcRect/>
            <a:stretch/>
          </p:blipFill>
          <p:spPr>
            <a:xfrm>
              <a:off x="5924805" y="4726214"/>
              <a:ext cx="449153" cy="449153"/>
            </a:xfrm>
            <a:prstGeom prst="rect">
              <a:avLst/>
            </a:prstGeom>
          </p:spPr>
        </p:pic>
        <p:pic>
          <p:nvPicPr>
            <p:cNvPr id="63" name="Picture 234">
              <a:extLst>
                <a:ext uri="{FF2B5EF4-FFF2-40B4-BE49-F238E27FC236}">
                  <a16:creationId xmlns:a16="http://schemas.microsoft.com/office/drawing/2014/main" id="{FDC0FA26-9F81-4810-AC32-DAD383ADBF49}"/>
                </a:ext>
              </a:extLst>
            </p:cNvPr>
            <p:cNvPicPr>
              <a:picLocks noChangeAspect="1"/>
            </p:cNvPicPr>
            <p:nvPr/>
          </p:nvPicPr>
          <p:blipFill>
            <a:blip r:embed="rId8"/>
            <a:srcRect/>
            <a:stretch/>
          </p:blipFill>
          <p:spPr>
            <a:xfrm>
              <a:off x="4859868" y="4694253"/>
              <a:ext cx="449153" cy="449153"/>
            </a:xfrm>
            <a:prstGeom prst="rect">
              <a:avLst/>
            </a:prstGeom>
          </p:spPr>
        </p:pic>
        <p:pic>
          <p:nvPicPr>
            <p:cNvPr id="64" name="Picture 234">
              <a:extLst>
                <a:ext uri="{FF2B5EF4-FFF2-40B4-BE49-F238E27FC236}">
                  <a16:creationId xmlns:a16="http://schemas.microsoft.com/office/drawing/2014/main" id="{4E566227-FC18-42DC-8409-8766AE38034E}"/>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4157601" y="3930660"/>
              <a:ext cx="449153" cy="449153"/>
            </a:xfrm>
            <a:prstGeom prst="rect">
              <a:avLst/>
            </a:prstGeom>
          </p:spPr>
        </p:pic>
        <p:pic>
          <p:nvPicPr>
            <p:cNvPr id="65" name="Picture 234">
              <a:extLst>
                <a:ext uri="{FF2B5EF4-FFF2-40B4-BE49-F238E27FC236}">
                  <a16:creationId xmlns:a16="http://schemas.microsoft.com/office/drawing/2014/main" id="{895D627E-EFEE-4892-BF18-4EF8957EE589}"/>
                </a:ext>
              </a:extLst>
            </p:cNvPr>
            <p:cNvPicPr>
              <a:picLocks noChangeAspect="1"/>
            </p:cNvPicPr>
            <p:nvPr/>
          </p:nvPicPr>
          <p:blipFill>
            <a:blip r:embed="rId10"/>
            <a:srcRect/>
            <a:stretch/>
          </p:blipFill>
          <p:spPr>
            <a:xfrm>
              <a:off x="4131881" y="2866004"/>
              <a:ext cx="449153" cy="449153"/>
            </a:xfrm>
            <a:prstGeom prst="rect">
              <a:avLst/>
            </a:prstGeom>
          </p:spPr>
        </p:pic>
        <p:pic>
          <p:nvPicPr>
            <p:cNvPr id="66" name="Picture 234">
              <a:extLst>
                <a:ext uri="{FF2B5EF4-FFF2-40B4-BE49-F238E27FC236}">
                  <a16:creationId xmlns:a16="http://schemas.microsoft.com/office/drawing/2014/main" id="{148555F1-0AD3-44C7-AE33-21214EF5CEA4}"/>
                </a:ext>
              </a:extLst>
            </p:cNvPr>
            <p:cNvPicPr>
              <a:picLocks noChangeAspect="1"/>
            </p:cNvPicPr>
            <p:nvPr/>
          </p:nvPicPr>
          <p:blipFill>
            <a:blip r:embed="rId11"/>
            <a:srcRect/>
            <a:stretch/>
          </p:blipFill>
          <p:spPr>
            <a:xfrm>
              <a:off x="4884862" y="2125966"/>
              <a:ext cx="449153" cy="449153"/>
            </a:xfrm>
            <a:prstGeom prst="rect">
              <a:avLst/>
            </a:prstGeom>
          </p:spPr>
        </p:pic>
      </p:grpSp>
      <p:sp>
        <p:nvSpPr>
          <p:cNvPr id="87" name="Textfeld 86">
            <a:extLst>
              <a:ext uri="{FF2B5EF4-FFF2-40B4-BE49-F238E27FC236}">
                <a16:creationId xmlns:a16="http://schemas.microsoft.com/office/drawing/2014/main" id="{D42A7CF5-280E-412D-A5ED-C0E71CCA3825}"/>
              </a:ext>
            </a:extLst>
          </p:cNvPr>
          <p:cNvSpPr txBox="1"/>
          <p:nvPr/>
        </p:nvSpPr>
        <p:spPr>
          <a:xfrm>
            <a:off x="89564" y="1860532"/>
            <a:ext cx="3536138" cy="369332"/>
          </a:xfrm>
          <a:prstGeom prst="rect">
            <a:avLst/>
          </a:prstGeom>
          <a:noFill/>
        </p:spPr>
        <p:txBody>
          <a:bodyPr wrap="square">
            <a:spAutoFit/>
          </a:bodyPr>
          <a:lstStyle/>
          <a:p>
            <a:pPr algn="ctr"/>
            <a:r>
              <a:rPr lang="de-DE" sz="1800" b="1" dirty="0">
                <a:solidFill>
                  <a:schemeClr val="accent1">
                    <a:lumMod val="50000"/>
                  </a:schemeClr>
                </a:solidFill>
              </a:rPr>
              <a:t>INFORMATION HUB</a:t>
            </a:r>
          </a:p>
        </p:txBody>
      </p:sp>
    </p:spTree>
    <p:extLst>
      <p:ext uri="{BB962C8B-B14F-4D97-AF65-F5344CB8AC3E}">
        <p14:creationId xmlns:p14="http://schemas.microsoft.com/office/powerpoint/2010/main" val="217763606"/>
      </p:ext>
    </p:extLst>
  </p:cSld>
  <p:clrMapOvr>
    <a:masterClrMapping/>
  </p:clrMapOvr>
  <p:extLst>
    <p:ext uri="{6950BFC3-D8DA-4A85-94F7-54DA5524770B}">
      <p188:commentRel xmlns:p188="http://schemas.microsoft.com/office/powerpoint/2018/8/main" r:id="rId3"/>
    </p:ext>
  </p:extLs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45">
            <a:extLst>
              <a:ext uri="{FF2B5EF4-FFF2-40B4-BE49-F238E27FC236}">
                <a16:creationId xmlns:a16="http://schemas.microsoft.com/office/drawing/2014/main" id="{D03FE9D6-0A59-424D-919C-999738461130}"/>
              </a:ext>
            </a:extLst>
          </p:cNvPr>
          <p:cNvSpPr txBox="1"/>
          <p:nvPr/>
        </p:nvSpPr>
        <p:spPr>
          <a:xfrm>
            <a:off x="3814016" y="2930787"/>
            <a:ext cx="5721171" cy="2031325"/>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1" algn="ctr"/>
            <a:r>
              <a:rPr lang="de-DE" sz="1400" dirty="0">
                <a:solidFill>
                  <a:schemeClr val="bg1"/>
                </a:solidFill>
                <a:effectLst/>
                <a:latin typeface="Montserrat SemiBold" panose="00000700000000000000" pitchFamily="2" charset="0"/>
                <a:ea typeface="Times New Roman" panose="02020603050405020304" pitchFamily="18" charset="0"/>
              </a:rPr>
              <a:t>Alle Funktionen werden unter strikter Berücksichtigung gesetzlicher Vorgaben wie Revisionssicherheit (VOI), Dokumentenechtheit (Recht des Augenscheins), Informationssicherheit und Datenschutz (ISO IEC 27001 und DSGVO), MDR (Medizinprodukteverordnung), Qualitätsmanagement DIN ISO 9001 und Langzeit- und Beweissicherung/LTANS (ISO 14641-1) und IDW-880/ISAE-3000 entwickelt.</a:t>
            </a:r>
            <a:endParaRPr lang="en-US" sz="1400" dirty="0">
              <a:solidFill>
                <a:schemeClr val="bg1"/>
              </a:solidFill>
              <a:effectLst/>
              <a:latin typeface="Montserrat SemiBold" panose="00000700000000000000" pitchFamily="2" charset="0"/>
              <a:ea typeface="Times New Roman" panose="02020603050405020304" pitchFamily="18" charset="0"/>
            </a:endParaRPr>
          </a:p>
        </p:txBody>
      </p:sp>
      <p:sp>
        <p:nvSpPr>
          <p:cNvPr id="8" name="TextBox 73">
            <a:extLst>
              <a:ext uri="{FF2B5EF4-FFF2-40B4-BE49-F238E27FC236}">
                <a16:creationId xmlns:a16="http://schemas.microsoft.com/office/drawing/2014/main" id="{B91959B9-760D-409A-A88A-D0D3F2A6438B}"/>
              </a:ext>
            </a:extLst>
          </p:cNvPr>
          <p:cNvSpPr txBox="1"/>
          <p:nvPr/>
        </p:nvSpPr>
        <p:spPr>
          <a:xfrm>
            <a:off x="3653079" y="2123555"/>
            <a:ext cx="6146956" cy="3693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800" b="1" i="0" dirty="0" err="1">
                <a:solidFill>
                  <a:schemeClr val="bg1"/>
                </a:solidFill>
                <a:effectLst/>
                <a:latin typeface="Montserrat" panose="00000500000000000000" pitchFamily="2" charset="0"/>
              </a:rPr>
              <a:t>Revisionssichere</a:t>
            </a:r>
            <a:r>
              <a:rPr lang="en-US" sz="1800" b="1" i="0" dirty="0">
                <a:solidFill>
                  <a:schemeClr val="bg1"/>
                </a:solidFill>
                <a:effectLst/>
                <a:latin typeface="Montserrat" panose="00000500000000000000" pitchFamily="2" charset="0"/>
              </a:rPr>
              <a:t> </a:t>
            </a:r>
            <a:r>
              <a:rPr lang="en-US" sz="1800" b="1" i="0" dirty="0" err="1">
                <a:solidFill>
                  <a:schemeClr val="bg1"/>
                </a:solidFill>
                <a:effectLst/>
                <a:latin typeface="Montserrat" panose="00000500000000000000" pitchFamily="2" charset="0"/>
              </a:rPr>
              <a:t>Archivierung</a:t>
            </a:r>
            <a:r>
              <a:rPr lang="en-US" sz="1800" b="1" i="0" dirty="0">
                <a:solidFill>
                  <a:schemeClr val="bg1"/>
                </a:solidFill>
                <a:effectLst/>
                <a:latin typeface="Montserrat" panose="00000500000000000000" pitchFamily="2" charset="0"/>
              </a:rPr>
              <a:t> </a:t>
            </a:r>
            <a:r>
              <a:rPr lang="en-US" sz="1800" b="1" i="0" dirty="0" err="1">
                <a:solidFill>
                  <a:schemeClr val="bg1"/>
                </a:solidFill>
                <a:effectLst/>
                <a:latin typeface="Montserrat" panose="00000500000000000000" pitchFamily="2" charset="0"/>
              </a:rPr>
              <a:t>aller</a:t>
            </a:r>
            <a:r>
              <a:rPr lang="en-US" sz="1800" b="1" i="0" dirty="0">
                <a:solidFill>
                  <a:schemeClr val="bg1"/>
                </a:solidFill>
                <a:effectLst/>
                <a:latin typeface="Montserrat" panose="00000500000000000000" pitchFamily="2" charset="0"/>
              </a:rPr>
              <a:t> </a:t>
            </a:r>
            <a:r>
              <a:rPr lang="en-US" sz="1800" b="1" i="0" dirty="0" err="1">
                <a:solidFill>
                  <a:schemeClr val="bg1"/>
                </a:solidFill>
                <a:effectLst/>
                <a:latin typeface="Montserrat" panose="00000500000000000000" pitchFamily="2" charset="0"/>
              </a:rPr>
              <a:t>Datenobjekte</a:t>
            </a:r>
            <a:endParaRPr lang="en-US" sz="1800" b="1" i="0" dirty="0">
              <a:solidFill>
                <a:schemeClr val="bg1"/>
              </a:solidFill>
              <a:effectLst/>
              <a:latin typeface="Montserrat" panose="00000500000000000000" pitchFamily="2" charset="0"/>
            </a:endParaRPr>
          </a:p>
        </p:txBody>
      </p:sp>
      <p:sp>
        <p:nvSpPr>
          <p:cNvPr id="14" name="Titre 7">
            <a:extLst>
              <a:ext uri="{FF2B5EF4-FFF2-40B4-BE49-F238E27FC236}">
                <a16:creationId xmlns:a16="http://schemas.microsoft.com/office/drawing/2014/main" id="{D590A7C8-6B4F-44D0-AF10-96892F463AB2}"/>
              </a:ext>
            </a:extLst>
          </p:cNvPr>
          <p:cNvSpPr txBox="1">
            <a:spLocks/>
          </p:cNvSpPr>
          <p:nvPr/>
        </p:nvSpPr>
        <p:spPr>
          <a:xfrm>
            <a:off x="300789" y="1107828"/>
            <a:ext cx="8701238" cy="456632"/>
          </a:xfrm>
          <a:prstGeom prst="rect">
            <a:avLst/>
          </a:prstGeom>
          <a:effectLst>
            <a:outerShdw blurRad="50800" dist="38100" dir="5400000" algn="t" rotWithShape="0">
              <a:prstClr val="black">
                <a:alpha val="40000"/>
              </a:prstClr>
            </a:outerShdw>
          </a:effectLst>
        </p:spPr>
        <p:txBody>
          <a:bodyPr anchor="t" anchorCtr="0">
            <a:noAutofit/>
          </a:bodyPr>
          <a:lstStyle>
            <a:lvl1pPr algn="l" rtl="0" eaLnBrk="0" fontAlgn="base" hangingPunct="0">
              <a:lnSpc>
                <a:spcPct val="90000"/>
              </a:lnSpc>
              <a:spcBef>
                <a:spcPct val="0"/>
              </a:spcBef>
              <a:spcAft>
                <a:spcPct val="0"/>
              </a:spcAft>
              <a:defRPr sz="2400" b="1" i="0" kern="1200">
                <a:solidFill>
                  <a:schemeClr val="bg1"/>
                </a:solidFill>
                <a:latin typeface="Montserrat" pitchFamily="2" charset="77"/>
                <a:ea typeface="+mj-ea"/>
                <a:cs typeface="+mj-cs"/>
              </a:defRPr>
            </a:lvl1pPr>
            <a:lvl2pPr algn="l" rtl="0" eaLnBrk="0" fontAlgn="base" hangingPunct="0">
              <a:lnSpc>
                <a:spcPct val="90000"/>
              </a:lnSpc>
              <a:spcBef>
                <a:spcPct val="0"/>
              </a:spcBef>
              <a:spcAft>
                <a:spcPct val="0"/>
              </a:spcAft>
              <a:defRPr sz="4400">
                <a:solidFill>
                  <a:schemeClr val="tx1"/>
                </a:solidFill>
                <a:latin typeface="Montserrat" panose="00000500000000000000" pitchFamily="2" charset="0"/>
              </a:defRPr>
            </a:lvl2pPr>
            <a:lvl3pPr algn="l" rtl="0" eaLnBrk="0" fontAlgn="base" hangingPunct="0">
              <a:lnSpc>
                <a:spcPct val="90000"/>
              </a:lnSpc>
              <a:spcBef>
                <a:spcPct val="0"/>
              </a:spcBef>
              <a:spcAft>
                <a:spcPct val="0"/>
              </a:spcAft>
              <a:defRPr sz="4400">
                <a:solidFill>
                  <a:schemeClr val="tx1"/>
                </a:solidFill>
                <a:latin typeface="Montserrat" panose="00000500000000000000" pitchFamily="2" charset="0"/>
              </a:defRPr>
            </a:lvl3pPr>
            <a:lvl4pPr algn="l" rtl="0" eaLnBrk="0" fontAlgn="base" hangingPunct="0">
              <a:lnSpc>
                <a:spcPct val="90000"/>
              </a:lnSpc>
              <a:spcBef>
                <a:spcPct val="0"/>
              </a:spcBef>
              <a:spcAft>
                <a:spcPct val="0"/>
              </a:spcAft>
              <a:defRPr sz="4400">
                <a:solidFill>
                  <a:schemeClr val="tx1"/>
                </a:solidFill>
                <a:latin typeface="Montserrat" panose="00000500000000000000" pitchFamily="2" charset="0"/>
              </a:defRPr>
            </a:lvl4pPr>
            <a:lvl5pPr algn="l" rtl="0" eaLnBrk="0" fontAlgn="base" hangingPunct="0">
              <a:lnSpc>
                <a:spcPct val="90000"/>
              </a:lnSpc>
              <a:spcBef>
                <a:spcPct val="0"/>
              </a:spcBef>
              <a:spcAft>
                <a:spcPct val="0"/>
              </a:spcAft>
              <a:defRPr sz="4400">
                <a:solidFill>
                  <a:schemeClr val="tx1"/>
                </a:solidFill>
                <a:latin typeface="Montserrat" panose="00000500000000000000" pitchFamily="2" charset="0"/>
              </a:defRPr>
            </a:lvl5pPr>
            <a:lvl6pPr marL="457200" algn="l" rtl="0" fontAlgn="base">
              <a:lnSpc>
                <a:spcPct val="90000"/>
              </a:lnSpc>
              <a:spcBef>
                <a:spcPct val="0"/>
              </a:spcBef>
              <a:spcAft>
                <a:spcPct val="0"/>
              </a:spcAft>
              <a:defRPr sz="4400">
                <a:solidFill>
                  <a:schemeClr val="tx1"/>
                </a:solidFill>
                <a:latin typeface="Montserrat" panose="00000500000000000000" pitchFamily="2" charset="0"/>
              </a:defRPr>
            </a:lvl6pPr>
            <a:lvl7pPr marL="914400" algn="l" rtl="0" fontAlgn="base">
              <a:lnSpc>
                <a:spcPct val="90000"/>
              </a:lnSpc>
              <a:spcBef>
                <a:spcPct val="0"/>
              </a:spcBef>
              <a:spcAft>
                <a:spcPct val="0"/>
              </a:spcAft>
              <a:defRPr sz="4400">
                <a:solidFill>
                  <a:schemeClr val="tx1"/>
                </a:solidFill>
                <a:latin typeface="Montserrat" panose="00000500000000000000" pitchFamily="2" charset="0"/>
              </a:defRPr>
            </a:lvl7pPr>
            <a:lvl8pPr marL="1371600" algn="l" rtl="0" fontAlgn="base">
              <a:lnSpc>
                <a:spcPct val="90000"/>
              </a:lnSpc>
              <a:spcBef>
                <a:spcPct val="0"/>
              </a:spcBef>
              <a:spcAft>
                <a:spcPct val="0"/>
              </a:spcAft>
              <a:defRPr sz="4400">
                <a:solidFill>
                  <a:schemeClr val="tx1"/>
                </a:solidFill>
                <a:latin typeface="Montserrat" panose="00000500000000000000" pitchFamily="2" charset="0"/>
              </a:defRPr>
            </a:lvl8pPr>
            <a:lvl9pPr marL="1828800" algn="l" rtl="0" fontAlgn="base">
              <a:lnSpc>
                <a:spcPct val="90000"/>
              </a:lnSpc>
              <a:spcBef>
                <a:spcPct val="0"/>
              </a:spcBef>
              <a:spcAft>
                <a:spcPct val="0"/>
              </a:spcAft>
              <a:defRPr sz="4400">
                <a:solidFill>
                  <a:schemeClr val="tx1"/>
                </a:solidFill>
                <a:latin typeface="Montserrat" panose="00000500000000000000" pitchFamily="2" charset="0"/>
              </a:defRPr>
            </a:lvl9pPr>
          </a:lstStyle>
          <a:p>
            <a:r>
              <a:rPr lang="fr-FR" dirty="0"/>
              <a:t>RECHTSSICHERE ARCHIVIERUNG</a:t>
            </a:r>
          </a:p>
        </p:txBody>
      </p:sp>
      <p:pic>
        <p:nvPicPr>
          <p:cNvPr id="15" name="Immagine 2">
            <a:extLst>
              <a:ext uri="{FF2B5EF4-FFF2-40B4-BE49-F238E27FC236}">
                <a16:creationId xmlns:a16="http://schemas.microsoft.com/office/drawing/2014/main" id="{29C112E6-6B94-4CCE-80B7-878BBD1E5011}"/>
              </a:ext>
            </a:extLst>
          </p:cNvPr>
          <p:cNvPicPr>
            <a:picLocks noChangeAspect="1"/>
          </p:cNvPicPr>
          <p:nvPr/>
        </p:nvPicPr>
        <p:blipFill>
          <a:blip r:embed="rId4"/>
          <a:stretch>
            <a:fillRect/>
          </a:stretch>
        </p:blipFill>
        <p:spPr>
          <a:xfrm>
            <a:off x="587143" y="1690051"/>
            <a:ext cx="3092250" cy="3445476"/>
          </a:xfrm>
          <a:prstGeom prst="rect">
            <a:avLst/>
          </a:prstGeom>
        </p:spPr>
      </p:pic>
    </p:spTree>
    <p:extLst>
      <p:ext uri="{BB962C8B-B14F-4D97-AF65-F5344CB8AC3E}">
        <p14:creationId xmlns:p14="http://schemas.microsoft.com/office/powerpoint/2010/main" val="4022116843"/>
      </p:ext>
    </p:extLst>
  </p:cSld>
  <p:clrMapOvr>
    <a:masterClrMapping/>
  </p:clrMapOvr>
  <mc:AlternateContent xmlns:mc="http://schemas.openxmlformats.org/markup-compatibility/2006" xmlns:p14="http://schemas.microsoft.com/office/powerpoint/2010/main">
    <mc:Choice Requires="p14">
      <p:transition spd="slow" p14:dur="1250">
        <p14:reveal/>
      </p:transition>
    </mc:Choice>
    <mc:Fallback xmlns="">
      <p:transition spd="slow">
        <p:fade/>
      </p:transition>
    </mc:Fallback>
  </mc:AlternateContent>
  <p:extLst>
    <p:ext uri="{6950BFC3-D8DA-4A85-94F7-54DA5524770B}">
      <p188:commentRel xmlns:p188="http://schemas.microsoft.com/office/powerpoint/2018/8/main" r:id="rId3"/>
    </p:ext>
  </p:extLs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EB3B0279-2302-40A4-AA57-FFB971E5DA87}"/>
              </a:ext>
            </a:extLst>
          </p:cNvPr>
          <p:cNvSpPr>
            <a:spLocks noGrp="1"/>
          </p:cNvSpPr>
          <p:nvPr>
            <p:ph type="ctrTitle"/>
          </p:nvPr>
        </p:nvSpPr>
        <p:spPr>
          <a:xfrm>
            <a:off x="520377" y="1117526"/>
            <a:ext cx="6739988" cy="456632"/>
          </a:xfrm>
        </p:spPr>
        <p:txBody>
          <a:bodyPr/>
          <a:lstStyle/>
          <a:p>
            <a:r>
              <a:rPr lang="fr-FR" dirty="0" err="1"/>
              <a:t>Langzeitarchivierung</a:t>
            </a:r>
            <a:endParaRPr lang="fr-FR" dirty="0"/>
          </a:p>
        </p:txBody>
      </p:sp>
      <p:sp>
        <p:nvSpPr>
          <p:cNvPr id="60" name="Rectangle 87">
            <a:extLst>
              <a:ext uri="{FF2B5EF4-FFF2-40B4-BE49-F238E27FC236}">
                <a16:creationId xmlns:a16="http://schemas.microsoft.com/office/drawing/2014/main" id="{302EB24C-0FEC-434B-981B-87E64EB67C7F}"/>
              </a:ext>
            </a:extLst>
          </p:cNvPr>
          <p:cNvSpPr/>
          <p:nvPr/>
        </p:nvSpPr>
        <p:spPr>
          <a:xfrm>
            <a:off x="8387555" y="2376463"/>
            <a:ext cx="1599401" cy="1416678"/>
          </a:xfrm>
          <a:prstGeom prst="rect">
            <a:avLst/>
          </a:prstGeom>
        </p:spPr>
        <p:txBody>
          <a:bodyPr wrap="square" lIns="137168" tIns="68584" rIns="137168" bIns="68584">
            <a:spAutoFit/>
          </a:bodyPr>
          <a:lstStyle/>
          <a:p>
            <a:pPr algn="r">
              <a:lnSpc>
                <a:spcPct val="120000"/>
              </a:lnSpc>
            </a:pPr>
            <a:r>
              <a:rPr lang="en-US" sz="1000" dirty="0" err="1">
                <a:ea typeface="Open Sans" panose="020B0606030504020204" pitchFamily="34" charset="0"/>
                <a:cs typeface="Arial Regular" charset="0"/>
              </a:rPr>
              <a:t>Flexibler</a:t>
            </a:r>
            <a:r>
              <a:rPr lang="en-US" sz="1000" dirty="0">
                <a:ea typeface="Open Sans" panose="020B0606030504020204" pitchFamily="34" charset="0"/>
                <a:cs typeface="Arial Regular" charset="0"/>
              </a:rPr>
              <a:t> </a:t>
            </a:r>
            <a:r>
              <a:rPr lang="en-US" sz="1000" dirty="0" err="1">
                <a:ea typeface="Open Sans" panose="020B0606030504020204" pitchFamily="34" charset="0"/>
                <a:cs typeface="Arial Regular" charset="0"/>
              </a:rPr>
              <a:t>Einsatz</a:t>
            </a:r>
            <a:r>
              <a:rPr lang="en-US" sz="1000" dirty="0">
                <a:ea typeface="Open Sans" panose="020B0606030504020204" pitchFamily="34" charset="0"/>
                <a:cs typeface="Arial Regular" charset="0"/>
              </a:rPr>
              <a:t> von </a:t>
            </a:r>
            <a:r>
              <a:rPr lang="en-US" sz="1000" dirty="0" err="1">
                <a:ea typeface="Open Sans" panose="020B0606030504020204" pitchFamily="34" charset="0"/>
                <a:cs typeface="Arial Regular" charset="0"/>
              </a:rPr>
              <a:t>verschiedensten</a:t>
            </a:r>
            <a:r>
              <a:rPr lang="en-US" sz="1000" dirty="0">
                <a:ea typeface="Open Sans" panose="020B0606030504020204" pitchFamily="34" charset="0"/>
                <a:cs typeface="Arial Regular" charset="0"/>
              </a:rPr>
              <a:t> Storage </a:t>
            </a:r>
            <a:r>
              <a:rPr lang="en-US" sz="1000" dirty="0" err="1">
                <a:ea typeface="Open Sans" panose="020B0606030504020204" pitchFamily="34" charset="0"/>
                <a:cs typeface="Arial Regular" charset="0"/>
              </a:rPr>
              <a:t>Systemen</a:t>
            </a:r>
            <a:r>
              <a:rPr lang="en-US" sz="1000" dirty="0">
                <a:ea typeface="Open Sans" panose="020B0606030504020204" pitchFamily="34" charset="0"/>
                <a:cs typeface="Arial Regular" charset="0"/>
              </a:rPr>
              <a:t> </a:t>
            </a:r>
            <a:r>
              <a:rPr lang="en-US" sz="1000" dirty="0" err="1">
                <a:ea typeface="Open Sans" panose="020B0606030504020204" pitchFamily="34" charset="0"/>
                <a:cs typeface="Arial Regular" charset="0"/>
              </a:rPr>
              <a:t>mit</a:t>
            </a:r>
            <a:r>
              <a:rPr lang="en-US" sz="1000" dirty="0">
                <a:ea typeface="Open Sans" panose="020B0606030504020204" pitchFamily="34" charset="0"/>
                <a:cs typeface="Arial Regular" charset="0"/>
              </a:rPr>
              <a:t> und </a:t>
            </a:r>
            <a:r>
              <a:rPr lang="en-US" sz="1000" dirty="0" err="1">
                <a:ea typeface="Open Sans" panose="020B0606030504020204" pitchFamily="34" charset="0"/>
                <a:cs typeface="Arial Regular" charset="0"/>
              </a:rPr>
              <a:t>ohne</a:t>
            </a:r>
            <a:r>
              <a:rPr lang="en-US" sz="1000" dirty="0">
                <a:ea typeface="Open Sans" panose="020B0606030504020204" pitchFamily="34" charset="0"/>
                <a:cs typeface="Arial Regular" charset="0"/>
              </a:rPr>
              <a:t> WORM </a:t>
            </a:r>
            <a:r>
              <a:rPr lang="en-US" sz="1000" dirty="0" err="1">
                <a:ea typeface="Open Sans" panose="020B0606030504020204" pitchFamily="34" charset="0"/>
                <a:cs typeface="Arial Regular" charset="0"/>
              </a:rPr>
              <a:t>Funktionalität</a:t>
            </a:r>
            <a:r>
              <a:rPr lang="en-US" sz="1000" dirty="0">
                <a:ea typeface="Open Sans" panose="020B0606030504020204" pitchFamily="34" charset="0"/>
                <a:cs typeface="Arial Regular" charset="0"/>
              </a:rPr>
              <a:t>,</a:t>
            </a:r>
          </a:p>
          <a:p>
            <a:pPr algn="r">
              <a:lnSpc>
                <a:spcPct val="120000"/>
              </a:lnSpc>
            </a:pPr>
            <a:r>
              <a:rPr lang="en-US" sz="1000" dirty="0">
                <a:ea typeface="Open Sans" panose="020B0606030504020204" pitchFamily="34" charset="0"/>
                <a:cs typeface="Arial Regular" charset="0"/>
              </a:rPr>
              <a:t>Cloud </a:t>
            </a:r>
            <a:r>
              <a:rPr lang="en-US" sz="1000" dirty="0" err="1">
                <a:ea typeface="Open Sans" panose="020B0606030504020204" pitchFamily="34" charset="0"/>
                <a:cs typeface="Arial Regular" charset="0"/>
              </a:rPr>
              <a:t>Lösungen</a:t>
            </a:r>
            <a:endParaRPr lang="de-DE" sz="1000" dirty="0">
              <a:ea typeface="Open Sans" panose="020B0606030504020204" pitchFamily="34" charset="0"/>
              <a:cs typeface="Arial Regular" charset="0"/>
            </a:endParaRPr>
          </a:p>
        </p:txBody>
      </p:sp>
      <p:sp>
        <p:nvSpPr>
          <p:cNvPr id="61" name="Rectangle 88">
            <a:extLst>
              <a:ext uri="{FF2B5EF4-FFF2-40B4-BE49-F238E27FC236}">
                <a16:creationId xmlns:a16="http://schemas.microsoft.com/office/drawing/2014/main" id="{4A658A53-0536-4053-B502-12284021A9EE}"/>
              </a:ext>
            </a:extLst>
          </p:cNvPr>
          <p:cNvSpPr/>
          <p:nvPr/>
        </p:nvSpPr>
        <p:spPr>
          <a:xfrm>
            <a:off x="8071178" y="2127905"/>
            <a:ext cx="1889571" cy="338370"/>
          </a:xfrm>
          <a:prstGeom prst="rect">
            <a:avLst/>
          </a:prstGeom>
        </p:spPr>
        <p:txBody>
          <a:bodyPr wrap="square" lIns="137168" tIns="68584" rIns="137168" bIns="68584">
            <a:spAutoFit/>
          </a:bodyPr>
          <a:lstStyle/>
          <a:p>
            <a:pPr lvl="0" algn="r" defTabSz="457200" eaLnBrk="1" fontAlgn="auto" hangingPunct="1">
              <a:lnSpc>
                <a:spcPct val="130000"/>
              </a:lnSpc>
              <a:spcBef>
                <a:spcPts val="0"/>
              </a:spcBef>
              <a:spcAft>
                <a:spcPts val="0"/>
              </a:spcAft>
              <a:defRPr/>
            </a:pPr>
            <a:r>
              <a:rPr kumimoji="0" lang="de-DE" sz="1100" b="1" i="0" u="none" strike="noStrike" kern="1200" cap="none" spc="0" normalizeH="0" baseline="0" noProof="0" dirty="0">
                <a:ln>
                  <a:noFill/>
                </a:ln>
                <a:effectLst/>
                <a:uLnTx/>
                <a:uFillTx/>
                <a:latin typeface="Montserrat" panose="00000500000000000000" pitchFamily="2" charset="0"/>
                <a:ea typeface="Open Sans" panose="020B0606030504020204" pitchFamily="34" charset="0"/>
                <a:cs typeface="Arial Regular" charset="0"/>
              </a:rPr>
              <a:t>Storage</a:t>
            </a:r>
            <a:endParaRPr kumimoji="0" lang="de-DE" sz="1050" b="0" i="0" u="none" strike="noStrike" kern="1200" cap="none" spc="0" normalizeH="0" baseline="0" noProof="0" dirty="0">
              <a:ln>
                <a:noFill/>
              </a:ln>
              <a:effectLst/>
              <a:uLnTx/>
              <a:uFillTx/>
              <a:latin typeface="Montserrat" panose="00000500000000000000" pitchFamily="2" charset="0"/>
              <a:ea typeface="Open Sans" panose="020B0606030504020204" pitchFamily="34" charset="0"/>
              <a:cs typeface="Arial Regular" charset="0"/>
            </a:endParaRPr>
          </a:p>
        </p:txBody>
      </p:sp>
      <p:sp>
        <p:nvSpPr>
          <p:cNvPr id="63" name="Rectangle 90">
            <a:extLst>
              <a:ext uri="{FF2B5EF4-FFF2-40B4-BE49-F238E27FC236}">
                <a16:creationId xmlns:a16="http://schemas.microsoft.com/office/drawing/2014/main" id="{E85AC2F1-3C90-41DD-BB0F-9BC80922D483}"/>
              </a:ext>
            </a:extLst>
          </p:cNvPr>
          <p:cNvSpPr/>
          <p:nvPr/>
        </p:nvSpPr>
        <p:spPr>
          <a:xfrm>
            <a:off x="8437545" y="3829381"/>
            <a:ext cx="1613920" cy="338370"/>
          </a:xfrm>
          <a:prstGeom prst="rect">
            <a:avLst/>
          </a:prstGeom>
        </p:spPr>
        <p:txBody>
          <a:bodyPr wrap="none" lIns="137168" tIns="68584" rIns="137168" bIns="68584">
            <a:spAutoFit/>
          </a:bodyPr>
          <a:lstStyle/>
          <a:p>
            <a:pPr lvl="0" defTabSz="457200" eaLnBrk="1" fontAlgn="auto" hangingPunct="1">
              <a:lnSpc>
                <a:spcPct val="130000"/>
              </a:lnSpc>
              <a:spcBef>
                <a:spcPts val="0"/>
              </a:spcBef>
              <a:spcAft>
                <a:spcPts val="0"/>
              </a:spcAft>
              <a:defRPr/>
            </a:pPr>
            <a:r>
              <a:rPr lang="de-DE" sz="1100" b="1" dirty="0">
                <a:latin typeface="Montserrat" panose="00000500000000000000" pitchFamily="2" charset="0"/>
                <a:ea typeface="Open Sans" panose="020B0606030504020204" pitchFamily="34" charset="0"/>
                <a:cs typeface="Arial Regular" charset="0"/>
              </a:rPr>
              <a:t>Daten Redundanz</a:t>
            </a:r>
            <a:endParaRPr kumimoji="0" lang="de-DE" sz="1100" b="1" i="0" u="none" strike="noStrike" kern="1200" cap="none" spc="0" normalizeH="0" baseline="0" noProof="0" dirty="0">
              <a:ln>
                <a:noFill/>
              </a:ln>
              <a:solidFill>
                <a:srgbClr val="26508D"/>
              </a:solidFill>
              <a:effectLst/>
              <a:uLnTx/>
              <a:uFillTx/>
              <a:latin typeface="Montserrat" panose="00000500000000000000" pitchFamily="2" charset="0"/>
              <a:ea typeface="Open Sans" panose="020B0606030504020204" pitchFamily="34" charset="0"/>
              <a:cs typeface="Arial Regular" charset="0"/>
            </a:endParaRPr>
          </a:p>
        </p:txBody>
      </p:sp>
      <p:sp>
        <p:nvSpPr>
          <p:cNvPr id="64" name="Rectangle 91">
            <a:extLst>
              <a:ext uri="{FF2B5EF4-FFF2-40B4-BE49-F238E27FC236}">
                <a16:creationId xmlns:a16="http://schemas.microsoft.com/office/drawing/2014/main" id="{5684B5C3-5A32-470A-BE0F-7952D30A21FC}"/>
              </a:ext>
            </a:extLst>
          </p:cNvPr>
          <p:cNvSpPr/>
          <p:nvPr/>
        </p:nvSpPr>
        <p:spPr>
          <a:xfrm>
            <a:off x="2167657" y="2554229"/>
            <a:ext cx="1806845" cy="862680"/>
          </a:xfrm>
          <a:prstGeom prst="rect">
            <a:avLst/>
          </a:prstGeom>
        </p:spPr>
        <p:txBody>
          <a:bodyPr wrap="square" lIns="137168" tIns="68584" rIns="137168" bIns="68584">
            <a:spAutoFit/>
          </a:bodyPr>
          <a:lstStyle/>
          <a:p>
            <a:pPr algn="r">
              <a:lnSpc>
                <a:spcPct val="120000"/>
              </a:lnSpc>
            </a:pPr>
            <a:r>
              <a:rPr lang="en-US" sz="1000" dirty="0" err="1">
                <a:ea typeface="Open Sans" panose="020B0606030504020204" pitchFamily="34" charset="0"/>
                <a:cs typeface="Arial Regular" charset="0"/>
              </a:rPr>
              <a:t>Flexibler</a:t>
            </a:r>
            <a:r>
              <a:rPr lang="en-US" sz="1000" dirty="0">
                <a:ea typeface="Open Sans" panose="020B0606030504020204" pitchFamily="34" charset="0"/>
                <a:cs typeface="Arial Regular" charset="0"/>
              </a:rPr>
              <a:t> </a:t>
            </a:r>
            <a:r>
              <a:rPr lang="en-US" sz="1000" dirty="0" err="1">
                <a:ea typeface="Open Sans" panose="020B0606030504020204" pitchFamily="34" charset="0"/>
                <a:cs typeface="Arial Regular" charset="0"/>
              </a:rPr>
              <a:t>Einsatz</a:t>
            </a:r>
            <a:r>
              <a:rPr lang="en-US" sz="1000" dirty="0">
                <a:ea typeface="Open Sans" panose="020B0606030504020204" pitchFamily="34" charset="0"/>
                <a:cs typeface="Arial Regular" charset="0"/>
              </a:rPr>
              <a:t> von Retention </a:t>
            </a:r>
            <a:r>
              <a:rPr lang="en-US" sz="1000" dirty="0" err="1">
                <a:ea typeface="Open Sans" panose="020B0606030504020204" pitchFamily="34" charset="0"/>
                <a:cs typeface="Arial Regular" charset="0"/>
              </a:rPr>
              <a:t>Zeiten</a:t>
            </a:r>
            <a:r>
              <a:rPr lang="en-US" sz="1000" dirty="0">
                <a:ea typeface="Open Sans" panose="020B0606030504020204" pitchFamily="34" charset="0"/>
                <a:cs typeface="Arial Regular" charset="0"/>
              </a:rPr>
              <a:t> abhängig vom </a:t>
            </a:r>
            <a:r>
              <a:rPr lang="en-US" sz="1000" dirty="0" err="1">
                <a:ea typeface="Open Sans" panose="020B0606030504020204" pitchFamily="34" charset="0"/>
                <a:cs typeface="Arial Regular" charset="0"/>
              </a:rPr>
              <a:t>Dokumenttyp</a:t>
            </a:r>
            <a:r>
              <a:rPr lang="en-US" sz="1000" dirty="0">
                <a:ea typeface="Open Sans" panose="020B0606030504020204" pitchFamily="34" charset="0"/>
                <a:cs typeface="Arial Regular" charset="0"/>
              </a:rPr>
              <a:t> (DSGVO)</a:t>
            </a:r>
            <a:endParaRPr lang="de-DE" sz="1000" dirty="0">
              <a:ea typeface="Open Sans" panose="020B0606030504020204" pitchFamily="34" charset="0"/>
              <a:cs typeface="Arial Regular" charset="0"/>
            </a:endParaRPr>
          </a:p>
        </p:txBody>
      </p:sp>
      <p:sp>
        <p:nvSpPr>
          <p:cNvPr id="65" name="Rectangle 92">
            <a:extLst>
              <a:ext uri="{FF2B5EF4-FFF2-40B4-BE49-F238E27FC236}">
                <a16:creationId xmlns:a16="http://schemas.microsoft.com/office/drawing/2014/main" id="{E8B56A1C-C575-4727-9FD4-40E7E26BA1B8}"/>
              </a:ext>
            </a:extLst>
          </p:cNvPr>
          <p:cNvSpPr/>
          <p:nvPr/>
        </p:nvSpPr>
        <p:spPr>
          <a:xfrm>
            <a:off x="1259353" y="2142643"/>
            <a:ext cx="2942809" cy="307785"/>
          </a:xfrm>
          <a:prstGeom prst="rect">
            <a:avLst/>
          </a:prstGeom>
        </p:spPr>
        <p:txBody>
          <a:bodyPr wrap="none" lIns="137168" tIns="68584" rIns="137168" bIns="68584">
            <a:spAutoFit/>
          </a:bodyPr>
          <a:lstStyle/>
          <a:p>
            <a:pPr algn="r" defTabSz="457200" eaLnBrk="1" fontAlgn="auto" hangingPunct="1">
              <a:spcBef>
                <a:spcPts val="0"/>
              </a:spcBef>
              <a:spcAft>
                <a:spcPts val="0"/>
              </a:spcAft>
              <a:defRPr/>
            </a:pPr>
            <a:r>
              <a:rPr lang="de-DE" sz="1100" b="1" dirty="0">
                <a:ea typeface="Open Sans" panose="020B0606030504020204" pitchFamily="34" charset="0"/>
                <a:cs typeface="Arial Regular" charset="0"/>
              </a:rPr>
              <a:t>Information Life Cycle Management</a:t>
            </a:r>
          </a:p>
        </p:txBody>
      </p:sp>
      <p:sp>
        <p:nvSpPr>
          <p:cNvPr id="66" name="Rectangle 94">
            <a:extLst>
              <a:ext uri="{FF2B5EF4-FFF2-40B4-BE49-F238E27FC236}">
                <a16:creationId xmlns:a16="http://schemas.microsoft.com/office/drawing/2014/main" id="{56E6E5C6-3E83-49CD-818D-3C07A8724415}"/>
              </a:ext>
            </a:extLst>
          </p:cNvPr>
          <p:cNvSpPr/>
          <p:nvPr/>
        </p:nvSpPr>
        <p:spPr>
          <a:xfrm>
            <a:off x="1244181" y="3924531"/>
            <a:ext cx="2112917" cy="477062"/>
          </a:xfrm>
          <a:prstGeom prst="rect">
            <a:avLst/>
          </a:prstGeom>
        </p:spPr>
        <p:txBody>
          <a:bodyPr wrap="square" lIns="137168" tIns="68584" rIns="137168" bIns="68584">
            <a:spAutoFit/>
          </a:bodyPr>
          <a:lstStyle/>
          <a:p>
            <a:pPr algn="r"/>
            <a:r>
              <a:rPr lang="en-US" sz="1100" b="1" dirty="0" err="1">
                <a:ea typeface="Open Sans" panose="020B0606030504020204" pitchFamily="34" charset="0"/>
                <a:cs typeface="Arial Regular" charset="0"/>
              </a:rPr>
              <a:t>Beschreibung</a:t>
            </a:r>
            <a:r>
              <a:rPr lang="en-US" sz="1100" b="1" dirty="0">
                <a:ea typeface="Open Sans" panose="020B0606030504020204" pitchFamily="34" charset="0"/>
                <a:cs typeface="Arial Regular" charset="0"/>
              </a:rPr>
              <a:t> der </a:t>
            </a:r>
            <a:r>
              <a:rPr lang="en-US" sz="1100" b="1" dirty="0" err="1">
                <a:ea typeface="Open Sans" panose="020B0606030504020204" pitchFamily="34" charset="0"/>
                <a:cs typeface="Arial Regular" charset="0"/>
              </a:rPr>
              <a:t>Prozesse</a:t>
            </a:r>
            <a:endParaRPr lang="de-DE" sz="1100" b="1" dirty="0">
              <a:ea typeface="Open Sans" panose="020B0606030504020204" pitchFamily="34" charset="0"/>
              <a:cs typeface="Arial Regular" charset="0"/>
            </a:endParaRPr>
          </a:p>
        </p:txBody>
      </p:sp>
      <p:sp>
        <p:nvSpPr>
          <p:cNvPr id="81" name="Rectangle 93">
            <a:extLst>
              <a:ext uri="{FF2B5EF4-FFF2-40B4-BE49-F238E27FC236}">
                <a16:creationId xmlns:a16="http://schemas.microsoft.com/office/drawing/2014/main" id="{B324ACE3-11E6-44F9-BD6B-1A44349E77AB}"/>
              </a:ext>
            </a:extLst>
          </p:cNvPr>
          <p:cNvSpPr/>
          <p:nvPr/>
        </p:nvSpPr>
        <p:spPr>
          <a:xfrm>
            <a:off x="1229366" y="4335819"/>
            <a:ext cx="2112917" cy="1047346"/>
          </a:xfrm>
          <a:prstGeom prst="rect">
            <a:avLst/>
          </a:prstGeom>
        </p:spPr>
        <p:txBody>
          <a:bodyPr wrap="square" lIns="137168" tIns="68584" rIns="137168" bIns="68584">
            <a:spAutoFit/>
          </a:bodyPr>
          <a:lstStyle/>
          <a:p>
            <a:pPr marL="0" marR="0" lvl="0" indent="0" algn="r" defTabSz="457200" rtl="0" eaLnBrk="1" fontAlgn="auto" latinLnBrk="0" hangingPunct="1">
              <a:lnSpc>
                <a:spcPct val="120000"/>
              </a:lnSpc>
              <a:spcBef>
                <a:spcPts val="0"/>
              </a:spcBef>
              <a:spcAft>
                <a:spcPts val="0"/>
              </a:spcAft>
              <a:buClrTx/>
              <a:buSzTx/>
              <a:buFontTx/>
              <a:buNone/>
              <a:tabLst/>
              <a:defRPr/>
            </a:pPr>
            <a:r>
              <a:rPr kumimoji="0" lang="en-US" sz="1000" b="0" i="0" u="none" strike="noStrike" kern="1200" cap="none" spc="0" normalizeH="0" baseline="0" noProof="0" dirty="0" err="1">
                <a:ln>
                  <a:noFill/>
                </a:ln>
                <a:solidFill>
                  <a:srgbClr val="000000"/>
                </a:solidFill>
                <a:effectLst/>
                <a:uLnTx/>
                <a:uFillTx/>
                <a:latin typeface="Montserrat" panose="00000500000000000000" pitchFamily="2" charset="0"/>
                <a:ea typeface="Open Sans" panose="020B0606030504020204" pitchFamily="34" charset="0"/>
                <a:cs typeface="Arial Regular" charset="0"/>
              </a:rPr>
              <a:t>Prozessbeschreibungen</a:t>
            </a:r>
            <a:endParaRPr kumimoji="0" lang="en-US" sz="1000" b="0" i="0" u="none" strike="noStrike" kern="1200" cap="none" spc="0" normalizeH="0" baseline="0" noProof="0" dirty="0">
              <a:ln>
                <a:noFill/>
              </a:ln>
              <a:solidFill>
                <a:srgbClr val="000000"/>
              </a:solidFill>
              <a:effectLst/>
              <a:uLnTx/>
              <a:uFillTx/>
              <a:latin typeface="Montserrat" panose="00000500000000000000" pitchFamily="2" charset="0"/>
              <a:ea typeface="Open Sans" panose="020B0606030504020204" pitchFamily="34" charset="0"/>
              <a:cs typeface="Arial Regular" charset="0"/>
            </a:endParaRPr>
          </a:p>
          <a:p>
            <a:pPr marL="0" marR="0" lvl="0" indent="0" algn="r" defTabSz="457200" rtl="0" eaLnBrk="1" fontAlgn="auto" latinLnBrk="0" hangingPunct="1">
              <a:lnSpc>
                <a:spcPct val="120000"/>
              </a:lnSpc>
              <a:spcBef>
                <a:spcPts val="0"/>
              </a:spcBef>
              <a:spcAft>
                <a:spcPts val="0"/>
              </a:spcAft>
              <a:buClrTx/>
              <a:buSzTx/>
              <a:buFontTx/>
              <a:buNone/>
              <a:tabLst/>
              <a:defRPr/>
            </a:pPr>
            <a:r>
              <a:rPr lang="en-US" sz="1000" dirty="0" err="1">
                <a:solidFill>
                  <a:srgbClr val="000000"/>
                </a:solidFill>
                <a:latin typeface="Montserrat" panose="00000500000000000000" pitchFamily="2" charset="0"/>
                <a:ea typeface="Open Sans" panose="020B0606030504020204" pitchFamily="34" charset="0"/>
                <a:cs typeface="Arial Regular" charset="0"/>
              </a:rPr>
              <a:t>Handbücher</a:t>
            </a:r>
            <a:endParaRPr lang="en-US" sz="1000" dirty="0">
              <a:solidFill>
                <a:srgbClr val="000000"/>
              </a:solidFill>
              <a:latin typeface="Montserrat" panose="00000500000000000000" pitchFamily="2" charset="0"/>
              <a:ea typeface="Open Sans" panose="020B0606030504020204" pitchFamily="34" charset="0"/>
              <a:cs typeface="Arial Regular" charset="0"/>
            </a:endParaRPr>
          </a:p>
          <a:p>
            <a:pPr marL="0" marR="0" lvl="0" indent="0" algn="r" defTabSz="457200" rtl="0" eaLnBrk="1" fontAlgn="auto" latinLnBrk="0" hangingPunct="1">
              <a:lnSpc>
                <a:spcPct val="120000"/>
              </a:lnSpc>
              <a:spcBef>
                <a:spcPts val="0"/>
              </a:spcBef>
              <a:spcAft>
                <a:spcPts val="0"/>
              </a:spcAft>
              <a:buClrTx/>
              <a:buSzTx/>
              <a:buFontTx/>
              <a:buNone/>
              <a:tabLst/>
              <a:defRPr/>
            </a:pPr>
            <a:r>
              <a:rPr lang="en-US" sz="1000" dirty="0" err="1">
                <a:solidFill>
                  <a:srgbClr val="000000"/>
                </a:solidFill>
                <a:latin typeface="Montserrat" panose="00000500000000000000" pitchFamily="2" charset="0"/>
                <a:ea typeface="Open Sans" panose="020B0606030504020204" pitchFamily="34" charset="0"/>
                <a:cs typeface="Arial Regular" charset="0"/>
              </a:rPr>
              <a:t>Infrastruktur</a:t>
            </a:r>
            <a:endParaRPr lang="en-US" sz="1000" dirty="0">
              <a:solidFill>
                <a:srgbClr val="000000"/>
              </a:solidFill>
              <a:latin typeface="Montserrat" panose="00000500000000000000" pitchFamily="2" charset="0"/>
              <a:ea typeface="Open Sans" panose="020B0606030504020204" pitchFamily="34" charset="0"/>
              <a:cs typeface="Arial Regular" charset="0"/>
            </a:endParaRPr>
          </a:p>
          <a:p>
            <a:pPr marL="0" marR="0" lvl="0" indent="0" algn="r" defTabSz="457200" rtl="0" eaLnBrk="1" fontAlgn="auto" latinLnBrk="0" hangingPunct="1">
              <a:lnSpc>
                <a:spcPct val="120000"/>
              </a:lnSpc>
              <a:spcBef>
                <a:spcPts val="0"/>
              </a:spcBef>
              <a:spcAft>
                <a:spcPts val="0"/>
              </a:spcAft>
              <a:buClrTx/>
              <a:buSzTx/>
              <a:buFontTx/>
              <a:buNone/>
              <a:tabLst/>
              <a:defRPr/>
            </a:pPr>
            <a:r>
              <a:rPr lang="en-US" sz="1000" dirty="0" err="1">
                <a:solidFill>
                  <a:srgbClr val="000000"/>
                </a:solidFill>
                <a:latin typeface="Montserrat" panose="00000500000000000000" pitchFamily="2" charset="0"/>
                <a:ea typeface="Open Sans" panose="020B0606030504020204" pitchFamily="34" charset="0"/>
                <a:cs typeface="Arial Regular" charset="0"/>
              </a:rPr>
              <a:t>Netzwerkpläne</a:t>
            </a:r>
            <a:endParaRPr lang="en-US" sz="1000" dirty="0">
              <a:solidFill>
                <a:srgbClr val="000000"/>
              </a:solidFill>
              <a:latin typeface="Montserrat" panose="00000500000000000000" pitchFamily="2" charset="0"/>
              <a:ea typeface="Open Sans" panose="020B0606030504020204" pitchFamily="34" charset="0"/>
              <a:cs typeface="Arial Regular" charset="0"/>
            </a:endParaRPr>
          </a:p>
          <a:p>
            <a:pPr marL="0" marR="0" lvl="0" indent="0" algn="r" defTabSz="457200" rtl="0" eaLnBrk="1" fontAlgn="auto" latinLnBrk="0" hangingPunct="1">
              <a:lnSpc>
                <a:spcPct val="120000"/>
              </a:lnSpc>
              <a:spcBef>
                <a:spcPts val="0"/>
              </a:spcBef>
              <a:spcAft>
                <a:spcPts val="0"/>
              </a:spcAft>
              <a:buClrTx/>
              <a:buSzTx/>
              <a:buFontTx/>
              <a:buNone/>
              <a:tabLst/>
              <a:defRPr/>
            </a:pPr>
            <a:endParaRPr kumimoji="0" lang="de-DE" sz="1000" b="0" i="0" u="none" strike="noStrike" kern="1200" cap="none" spc="0" normalizeH="0" baseline="0" noProof="0" dirty="0">
              <a:ln>
                <a:noFill/>
              </a:ln>
              <a:solidFill>
                <a:srgbClr val="000000"/>
              </a:solidFill>
              <a:effectLst/>
              <a:uLnTx/>
              <a:uFillTx/>
              <a:latin typeface="Montserrat" panose="00000500000000000000" pitchFamily="2" charset="0"/>
              <a:ea typeface="Open Sans" panose="020B0606030504020204" pitchFamily="34" charset="0"/>
              <a:cs typeface="Arial Regular" charset="0"/>
            </a:endParaRPr>
          </a:p>
        </p:txBody>
      </p:sp>
      <p:grpSp>
        <p:nvGrpSpPr>
          <p:cNvPr id="5" name="Gruppieren 4">
            <a:extLst>
              <a:ext uri="{FF2B5EF4-FFF2-40B4-BE49-F238E27FC236}">
                <a16:creationId xmlns:a16="http://schemas.microsoft.com/office/drawing/2014/main" id="{63C0DA8B-FC0D-4E32-98D7-85D3CB862338}"/>
              </a:ext>
            </a:extLst>
          </p:cNvPr>
          <p:cNvGrpSpPr/>
          <p:nvPr/>
        </p:nvGrpSpPr>
        <p:grpSpPr>
          <a:xfrm>
            <a:off x="3352387" y="2358081"/>
            <a:ext cx="5261190" cy="3879110"/>
            <a:chOff x="3352387" y="2358081"/>
            <a:chExt cx="5261190" cy="3879110"/>
          </a:xfrm>
        </p:grpSpPr>
        <p:sp>
          <p:nvSpPr>
            <p:cNvPr id="68" name="Shape 2117">
              <a:extLst>
                <a:ext uri="{FF2B5EF4-FFF2-40B4-BE49-F238E27FC236}">
                  <a16:creationId xmlns:a16="http://schemas.microsoft.com/office/drawing/2014/main" id="{C971DEA1-BEB8-4574-A0C5-5FE3F4702FFF}"/>
                </a:ext>
              </a:extLst>
            </p:cNvPr>
            <p:cNvSpPr/>
            <p:nvPr/>
          </p:nvSpPr>
          <p:spPr>
            <a:xfrm>
              <a:off x="4310094" y="2704191"/>
              <a:ext cx="1794316" cy="3532456"/>
            </a:xfrm>
            <a:custGeom>
              <a:avLst/>
              <a:gdLst/>
              <a:ahLst/>
              <a:cxnLst>
                <a:cxn ang="0">
                  <a:pos x="wd2" y="hd2"/>
                </a:cxn>
                <a:cxn ang="5400000">
                  <a:pos x="wd2" y="hd2"/>
                </a:cxn>
                <a:cxn ang="10800000">
                  <a:pos x="wd2" y="hd2"/>
                </a:cxn>
                <a:cxn ang="16200000">
                  <a:pos x="wd2" y="hd2"/>
                </a:cxn>
              </a:cxnLst>
              <a:rect l="0" t="0" r="r" b="b"/>
              <a:pathLst>
                <a:path w="21600" h="21600" extrusionOk="0">
                  <a:moveTo>
                    <a:pt x="20308" y="0"/>
                  </a:moveTo>
                  <a:cubicBezTo>
                    <a:pt x="14701" y="0"/>
                    <a:pt x="9624" y="1210"/>
                    <a:pt x="5949" y="3164"/>
                  </a:cubicBezTo>
                  <a:cubicBezTo>
                    <a:pt x="2319" y="5095"/>
                    <a:pt x="61" y="7754"/>
                    <a:pt x="6" y="10694"/>
                  </a:cubicBezTo>
                  <a:lnTo>
                    <a:pt x="1750" y="11487"/>
                  </a:lnTo>
                  <a:lnTo>
                    <a:pt x="2605" y="11097"/>
                  </a:lnTo>
                  <a:lnTo>
                    <a:pt x="1750" y="11489"/>
                  </a:lnTo>
                  <a:lnTo>
                    <a:pt x="6" y="10694"/>
                  </a:lnTo>
                  <a:cubicBezTo>
                    <a:pt x="6" y="10730"/>
                    <a:pt x="0" y="10765"/>
                    <a:pt x="0" y="10802"/>
                  </a:cubicBezTo>
                  <a:cubicBezTo>
                    <a:pt x="0" y="13784"/>
                    <a:pt x="2278" y="16485"/>
                    <a:pt x="5952" y="18439"/>
                  </a:cubicBezTo>
                  <a:cubicBezTo>
                    <a:pt x="9582" y="20370"/>
                    <a:pt x="14579" y="21571"/>
                    <a:pt x="20106" y="21600"/>
                  </a:cubicBezTo>
                  <a:lnTo>
                    <a:pt x="21600" y="20672"/>
                  </a:lnTo>
                  <a:lnTo>
                    <a:pt x="20237" y="19826"/>
                  </a:lnTo>
                  <a:cubicBezTo>
                    <a:pt x="15579" y="19816"/>
                    <a:pt x="11363" y="18810"/>
                    <a:pt x="8307" y="17185"/>
                  </a:cubicBezTo>
                  <a:cubicBezTo>
                    <a:pt x="5236" y="15551"/>
                    <a:pt x="3338" y="13294"/>
                    <a:pt x="3338" y="10802"/>
                  </a:cubicBezTo>
                  <a:cubicBezTo>
                    <a:pt x="3338" y="10789"/>
                    <a:pt x="3338" y="10778"/>
                    <a:pt x="3338" y="10765"/>
                  </a:cubicBezTo>
                  <a:cubicBezTo>
                    <a:pt x="3338" y="10765"/>
                    <a:pt x="3338" y="10764"/>
                    <a:pt x="3338" y="10763"/>
                  </a:cubicBezTo>
                  <a:lnTo>
                    <a:pt x="3341" y="10763"/>
                  </a:lnTo>
                  <a:cubicBezTo>
                    <a:pt x="3360" y="8286"/>
                    <a:pt x="5252" y="6044"/>
                    <a:pt x="8307" y="4419"/>
                  </a:cubicBezTo>
                  <a:cubicBezTo>
                    <a:pt x="11379" y="2785"/>
                    <a:pt x="15622" y="1774"/>
                    <a:pt x="20308" y="1774"/>
                  </a:cubicBezTo>
                  <a:cubicBezTo>
                    <a:pt x="20333" y="1774"/>
                    <a:pt x="20356" y="1775"/>
                    <a:pt x="20380" y="1775"/>
                  </a:cubicBezTo>
                  <a:lnTo>
                    <a:pt x="19017" y="931"/>
                  </a:lnTo>
                  <a:lnTo>
                    <a:pt x="20511" y="3"/>
                  </a:lnTo>
                  <a:cubicBezTo>
                    <a:pt x="20443" y="3"/>
                    <a:pt x="20377" y="0"/>
                    <a:pt x="20308" y="0"/>
                  </a:cubicBezTo>
                  <a:close/>
                </a:path>
              </a:pathLst>
            </a:custGeom>
            <a:solidFill>
              <a:schemeClr val="bg2">
                <a:lumMod val="60000"/>
                <a:lumOff val="40000"/>
              </a:schemeClr>
            </a:solidFill>
            <a:ln w="12700" cap="flat">
              <a:noFill/>
              <a:miter lim="400000"/>
            </a:ln>
            <a:effectLst/>
          </p:spPr>
          <p:txBody>
            <a:bodyPr wrap="square" lIns="0" tIns="0" rIns="0" bIns="0" numCol="1" anchor="ctr">
              <a:noAutofit/>
            </a:bodyPr>
            <a:lstStyle/>
            <a:p>
              <a:pPr marL="0" marR="0" lvl="0" indent="0" algn="l" defTabSz="438267" rtl="0" eaLnBrk="1" fontAlgn="auto" latinLnBrk="0" hangingPunct="1">
                <a:lnSpc>
                  <a:spcPct val="110000"/>
                </a:lnSpc>
                <a:spcBef>
                  <a:spcPts val="2251"/>
                </a:spcBef>
                <a:spcAft>
                  <a:spcPts val="0"/>
                </a:spcAft>
                <a:buClrTx/>
                <a:buSzTx/>
                <a:buFontTx/>
                <a:buNone/>
                <a:tabLst/>
                <a:defRPr sz="2000">
                  <a:solidFill>
                    <a:srgbClr val="4C4C4C"/>
                  </a:solidFill>
                  <a:latin typeface="Helvetica Neue Light"/>
                  <a:ea typeface="Helvetica Neue Light"/>
                  <a:cs typeface="Helvetica Neue Light"/>
                  <a:sym typeface="Helvetica Neue Light"/>
                </a:defRPr>
              </a:pPr>
              <a:endParaRPr kumimoji="0" lang="de-DE" sz="900" b="0" i="0" u="none" strike="noStrike" kern="1200" cap="none" spc="0" normalizeH="0" baseline="0" noProof="0">
                <a:ln>
                  <a:noFill/>
                </a:ln>
                <a:solidFill>
                  <a:srgbClr val="4C4C4C"/>
                </a:solidFill>
                <a:effectLst/>
                <a:uLnTx/>
                <a:uFillTx/>
                <a:latin typeface="Montserrat" panose="00000500000000000000" pitchFamily="2" charset="0"/>
                <a:ea typeface="Arial Regular" charset="0"/>
                <a:cs typeface="Arial Regular" charset="0"/>
                <a:sym typeface="Helvetica Neue Light"/>
              </a:endParaRPr>
            </a:p>
          </p:txBody>
        </p:sp>
        <p:sp>
          <p:nvSpPr>
            <p:cNvPr id="69" name="Shape 2118">
              <a:extLst>
                <a:ext uri="{FF2B5EF4-FFF2-40B4-BE49-F238E27FC236}">
                  <a16:creationId xmlns:a16="http://schemas.microsoft.com/office/drawing/2014/main" id="{3ABF8EA4-4D6A-4CB6-8483-D2CD0BE838A5}"/>
                </a:ext>
              </a:extLst>
            </p:cNvPr>
            <p:cNvSpPr/>
            <p:nvPr/>
          </p:nvSpPr>
          <p:spPr>
            <a:xfrm>
              <a:off x="5889839" y="2704734"/>
              <a:ext cx="1794316" cy="3532457"/>
            </a:xfrm>
            <a:custGeom>
              <a:avLst/>
              <a:gdLst/>
              <a:ahLst/>
              <a:cxnLst>
                <a:cxn ang="0">
                  <a:pos x="wd2" y="hd2"/>
                </a:cxn>
                <a:cxn ang="5400000">
                  <a:pos x="wd2" y="hd2"/>
                </a:cxn>
                <a:cxn ang="10800000">
                  <a:pos x="wd2" y="hd2"/>
                </a:cxn>
                <a:cxn ang="16200000">
                  <a:pos x="wd2" y="hd2"/>
                </a:cxn>
              </a:cxnLst>
              <a:rect l="0" t="0" r="r" b="b"/>
              <a:pathLst>
                <a:path w="21600" h="21600" extrusionOk="0">
                  <a:moveTo>
                    <a:pt x="1494" y="0"/>
                  </a:moveTo>
                  <a:lnTo>
                    <a:pt x="0" y="928"/>
                  </a:lnTo>
                  <a:lnTo>
                    <a:pt x="1363" y="1774"/>
                  </a:lnTo>
                  <a:cubicBezTo>
                    <a:pt x="6021" y="1784"/>
                    <a:pt x="10237" y="2790"/>
                    <a:pt x="13293" y="4415"/>
                  </a:cubicBezTo>
                  <a:cubicBezTo>
                    <a:pt x="16364" y="6049"/>
                    <a:pt x="18265" y="8306"/>
                    <a:pt x="18265" y="10798"/>
                  </a:cubicBezTo>
                  <a:cubicBezTo>
                    <a:pt x="18265" y="10811"/>
                    <a:pt x="18262" y="10822"/>
                    <a:pt x="18262" y="10835"/>
                  </a:cubicBezTo>
                  <a:lnTo>
                    <a:pt x="18262" y="10837"/>
                  </a:lnTo>
                  <a:lnTo>
                    <a:pt x="18259" y="10837"/>
                  </a:lnTo>
                  <a:cubicBezTo>
                    <a:pt x="18240" y="13314"/>
                    <a:pt x="16348" y="15556"/>
                    <a:pt x="13293" y="17181"/>
                  </a:cubicBezTo>
                  <a:cubicBezTo>
                    <a:pt x="10221" y="18815"/>
                    <a:pt x="5978" y="19826"/>
                    <a:pt x="1292" y="19826"/>
                  </a:cubicBezTo>
                  <a:cubicBezTo>
                    <a:pt x="1267" y="19826"/>
                    <a:pt x="1244" y="19825"/>
                    <a:pt x="1220" y="19825"/>
                  </a:cubicBezTo>
                  <a:lnTo>
                    <a:pt x="2583" y="20669"/>
                  </a:lnTo>
                  <a:lnTo>
                    <a:pt x="1089" y="21597"/>
                  </a:lnTo>
                  <a:cubicBezTo>
                    <a:pt x="1157" y="21597"/>
                    <a:pt x="1223" y="21600"/>
                    <a:pt x="1292" y="21600"/>
                  </a:cubicBezTo>
                  <a:cubicBezTo>
                    <a:pt x="6899" y="21600"/>
                    <a:pt x="11976" y="20390"/>
                    <a:pt x="15651" y="18436"/>
                  </a:cubicBezTo>
                  <a:cubicBezTo>
                    <a:pt x="19281" y="16505"/>
                    <a:pt x="21539" y="13846"/>
                    <a:pt x="21594" y="10906"/>
                  </a:cubicBezTo>
                  <a:cubicBezTo>
                    <a:pt x="21594" y="10870"/>
                    <a:pt x="21600" y="10835"/>
                    <a:pt x="21600" y="10798"/>
                  </a:cubicBezTo>
                  <a:cubicBezTo>
                    <a:pt x="21600" y="7816"/>
                    <a:pt x="19326" y="5115"/>
                    <a:pt x="15651" y="3161"/>
                  </a:cubicBezTo>
                  <a:cubicBezTo>
                    <a:pt x="12021" y="1230"/>
                    <a:pt x="7021" y="29"/>
                    <a:pt x="1494" y="0"/>
                  </a:cubicBezTo>
                  <a:close/>
                </a:path>
              </a:pathLst>
            </a:custGeom>
            <a:solidFill>
              <a:schemeClr val="bg2">
                <a:lumMod val="75000"/>
              </a:schemeClr>
            </a:solidFill>
            <a:ln w="12700" cap="flat">
              <a:noFill/>
              <a:miter lim="400000"/>
            </a:ln>
            <a:effectLst/>
          </p:spPr>
          <p:txBody>
            <a:bodyPr wrap="square" lIns="0" tIns="0" rIns="0" bIns="0" numCol="1" anchor="ctr">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rgbClr val="000000"/>
                </a:solidFill>
                <a:effectLst/>
                <a:uLnTx/>
                <a:uFillTx/>
                <a:latin typeface="Montserrat" panose="00000500000000000000" pitchFamily="2" charset="0"/>
              </a:endParaRPr>
            </a:p>
          </p:txBody>
        </p:sp>
        <p:sp>
          <p:nvSpPr>
            <p:cNvPr id="70" name="Shape 2119">
              <a:extLst>
                <a:ext uri="{FF2B5EF4-FFF2-40B4-BE49-F238E27FC236}">
                  <a16:creationId xmlns:a16="http://schemas.microsoft.com/office/drawing/2014/main" id="{6EDD3402-2C36-4703-90D9-4FDB087A785F}"/>
                </a:ext>
              </a:extLst>
            </p:cNvPr>
            <p:cNvSpPr/>
            <p:nvPr/>
          </p:nvSpPr>
          <p:spPr>
            <a:xfrm>
              <a:off x="4733882" y="3131553"/>
              <a:ext cx="2526483" cy="2639743"/>
            </a:xfrm>
            <a:custGeom>
              <a:avLst/>
              <a:gdLst/>
              <a:ahLst/>
              <a:cxnLst>
                <a:cxn ang="0">
                  <a:pos x="wd2" y="hd2"/>
                </a:cxn>
                <a:cxn ang="5400000">
                  <a:pos x="wd2" y="hd2"/>
                </a:cxn>
                <a:cxn ang="10800000">
                  <a:pos x="wd2" y="hd2"/>
                </a:cxn>
                <a:cxn ang="16200000">
                  <a:pos x="wd2" y="hd2"/>
                </a:cxn>
              </a:cxnLst>
              <a:rect l="0" t="0" r="r" b="b"/>
              <a:pathLst>
                <a:path w="21600" h="21600" extrusionOk="0">
                  <a:moveTo>
                    <a:pt x="21600" y="10800"/>
                  </a:moveTo>
                  <a:cubicBezTo>
                    <a:pt x="21600" y="16765"/>
                    <a:pt x="16765" y="21600"/>
                    <a:pt x="10800" y="21600"/>
                  </a:cubicBezTo>
                  <a:cubicBezTo>
                    <a:pt x="4835" y="21600"/>
                    <a:pt x="0" y="16765"/>
                    <a:pt x="0" y="10800"/>
                  </a:cubicBezTo>
                  <a:cubicBezTo>
                    <a:pt x="0" y="4835"/>
                    <a:pt x="4835" y="0"/>
                    <a:pt x="10800" y="0"/>
                  </a:cubicBezTo>
                  <a:cubicBezTo>
                    <a:pt x="16765" y="0"/>
                    <a:pt x="21600" y="4835"/>
                    <a:pt x="21600" y="10800"/>
                  </a:cubicBezTo>
                  <a:close/>
                </a:path>
              </a:pathLst>
            </a:custGeom>
            <a:solidFill>
              <a:schemeClr val="accent1">
                <a:lumMod val="50000"/>
              </a:schemeClr>
            </a:solidFill>
            <a:ln w="12700" cap="flat">
              <a:noFill/>
              <a:miter lim="400000"/>
            </a:ln>
            <a:effectLst/>
          </p:spPr>
          <p:txBody>
            <a:bodyPr wrap="square" lIns="0" tIns="0" rIns="0" bIns="0" numCol="1" anchor="ctr">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rgbClr val="26508D"/>
                </a:solidFill>
                <a:effectLst/>
                <a:uLnTx/>
                <a:uFillTx/>
                <a:latin typeface="Montserrat" panose="00000500000000000000" pitchFamily="2" charset="0"/>
              </a:endParaRPr>
            </a:p>
          </p:txBody>
        </p:sp>
        <p:sp>
          <p:nvSpPr>
            <p:cNvPr id="71" name="Shape 25474">
              <a:extLst>
                <a:ext uri="{FF2B5EF4-FFF2-40B4-BE49-F238E27FC236}">
                  <a16:creationId xmlns:a16="http://schemas.microsoft.com/office/drawing/2014/main" id="{86A0F94D-1336-4774-8E91-4CBD37FCE22A}"/>
                </a:ext>
              </a:extLst>
            </p:cNvPr>
            <p:cNvSpPr/>
            <p:nvPr/>
          </p:nvSpPr>
          <p:spPr>
            <a:xfrm>
              <a:off x="3580890" y="2358081"/>
              <a:ext cx="4827024" cy="2527202"/>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cubicBezTo>
                    <a:pt x="0" y="9671"/>
                    <a:pt x="4835" y="0"/>
                    <a:pt x="10800" y="0"/>
                  </a:cubicBezTo>
                  <a:cubicBezTo>
                    <a:pt x="16765" y="0"/>
                    <a:pt x="21600" y="9671"/>
                    <a:pt x="21600" y="21600"/>
                  </a:cubicBezTo>
                </a:path>
              </a:pathLst>
            </a:custGeom>
            <a:noFill/>
            <a:ln w="57150" cap="flat" cmpd="sng">
              <a:solidFill>
                <a:schemeClr val="bg1">
                  <a:lumMod val="85000"/>
                </a:schemeClr>
              </a:solidFill>
              <a:prstDash val="solid"/>
              <a:miter lim="400000"/>
            </a:ln>
            <a:effectLst/>
          </p:spPr>
          <p:txBody>
            <a:bodyPr wrap="square" lIns="28582" tIns="28582" rIns="28582" bIns="28582" numCol="1" anchor="ctr">
              <a:noAutofit/>
            </a:bodyPr>
            <a:lstStyle/>
            <a:p>
              <a:pPr marL="0" marR="0" lvl="0" indent="0" algn="l" defTabSz="4572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lang="de-DE" b="0" i="0" u="none" strike="noStrike" kern="1200" cap="none" spc="0" normalizeH="0" baseline="0" noProof="0">
                <a:ln>
                  <a:noFill/>
                </a:ln>
                <a:solidFill>
                  <a:srgbClr val="FFFFFF"/>
                </a:solidFill>
                <a:effectLst>
                  <a:outerShdw blurRad="38100" dist="12700" dir="5400000" rotWithShape="0">
                    <a:srgbClr val="000000">
                      <a:alpha val="50000"/>
                    </a:srgbClr>
                  </a:outerShdw>
                </a:effectLst>
                <a:uLnTx/>
                <a:uFillTx/>
                <a:latin typeface="Montserrat" panose="00000500000000000000" pitchFamily="2" charset="0"/>
                <a:sym typeface="Gill Sans"/>
              </a:endParaRPr>
            </a:p>
          </p:txBody>
        </p:sp>
        <p:sp>
          <p:nvSpPr>
            <p:cNvPr id="72" name="Shape 1869">
              <a:extLst>
                <a:ext uri="{FF2B5EF4-FFF2-40B4-BE49-F238E27FC236}">
                  <a16:creationId xmlns:a16="http://schemas.microsoft.com/office/drawing/2014/main" id="{C15C44A1-0620-4228-ABEF-157CC04518E6}"/>
                </a:ext>
              </a:extLst>
            </p:cNvPr>
            <p:cNvSpPr/>
            <p:nvPr/>
          </p:nvSpPr>
          <p:spPr>
            <a:xfrm>
              <a:off x="3352387" y="4072244"/>
              <a:ext cx="578080" cy="607245"/>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path>
              </a:pathLst>
            </a:custGeom>
            <a:solidFill>
              <a:schemeClr val="accent6"/>
            </a:solidFill>
            <a:ln w="12700" cap="flat" cmpd="sng">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p>
              <a:pPr marL="0" marR="0" lvl="0" indent="0" algn="ctr" defTabSz="457200" rtl="0" eaLnBrk="1" fontAlgn="auto" latinLnBrk="0" hangingPunct="1">
                <a:lnSpc>
                  <a:spcPct val="90000"/>
                </a:lnSpc>
                <a:spcBef>
                  <a:spcPts val="0"/>
                </a:spcBef>
                <a:spcAft>
                  <a:spcPts val="0"/>
                </a:spcAft>
                <a:buClrTx/>
                <a:buSzTx/>
                <a:buFontTx/>
                <a:buNone/>
                <a:tabLst/>
                <a:defRPr sz="1800">
                  <a:solidFill>
                    <a:srgbClr val="000000"/>
                  </a:solidFill>
                </a:defRPr>
              </a:pPr>
              <a:endParaRPr kumimoji="0" lang="de-DE" sz="700" b="0" i="0" u="none" strike="noStrike" kern="1200" cap="none" spc="0" normalizeH="0" baseline="0" noProof="0">
                <a:ln>
                  <a:noFill/>
                </a:ln>
                <a:solidFill>
                  <a:srgbClr val="000000"/>
                </a:solidFill>
                <a:effectLst/>
                <a:uLnTx/>
                <a:uFillTx/>
                <a:latin typeface="Montserrat" panose="00000500000000000000" pitchFamily="2" charset="0"/>
                <a:cs typeface="Arial Regular" charset="0"/>
              </a:endParaRPr>
            </a:p>
          </p:txBody>
        </p:sp>
        <p:sp>
          <p:nvSpPr>
            <p:cNvPr id="73" name="Shape 1869">
              <a:extLst>
                <a:ext uri="{FF2B5EF4-FFF2-40B4-BE49-F238E27FC236}">
                  <a16:creationId xmlns:a16="http://schemas.microsoft.com/office/drawing/2014/main" id="{95DAAE9E-9ACA-4EAA-9FBA-E687C9C59DE8}"/>
                </a:ext>
              </a:extLst>
            </p:cNvPr>
            <p:cNvSpPr/>
            <p:nvPr/>
          </p:nvSpPr>
          <p:spPr>
            <a:xfrm>
              <a:off x="8035497" y="4048570"/>
              <a:ext cx="578080" cy="607245"/>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path>
              </a:pathLst>
            </a:custGeom>
            <a:solidFill>
              <a:schemeClr val="accent1">
                <a:lumMod val="60000"/>
                <a:lumOff val="40000"/>
              </a:schemeClr>
            </a:solidFill>
            <a:ln w="12700" cap="flat" cmpd="sng">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p>
              <a:pPr marL="0" marR="0" lvl="0" indent="0" algn="ctr" defTabSz="457200" rtl="0" eaLnBrk="1" fontAlgn="auto" latinLnBrk="0" hangingPunct="1">
                <a:lnSpc>
                  <a:spcPct val="90000"/>
                </a:lnSpc>
                <a:spcBef>
                  <a:spcPts val="0"/>
                </a:spcBef>
                <a:spcAft>
                  <a:spcPts val="0"/>
                </a:spcAft>
                <a:buClrTx/>
                <a:buSzTx/>
                <a:buFontTx/>
                <a:buNone/>
                <a:tabLst/>
                <a:defRPr sz="1800">
                  <a:solidFill>
                    <a:srgbClr val="000000"/>
                  </a:solidFill>
                </a:defRPr>
              </a:pPr>
              <a:endParaRPr kumimoji="0" lang="de-DE" sz="700" b="0" i="0" u="none" strike="noStrike" kern="1200" cap="none" spc="0" normalizeH="0" baseline="0" noProof="0">
                <a:ln>
                  <a:noFill/>
                </a:ln>
                <a:solidFill>
                  <a:srgbClr val="000000"/>
                </a:solidFill>
                <a:effectLst/>
                <a:uLnTx/>
                <a:uFillTx/>
                <a:latin typeface="Montserrat" panose="00000500000000000000" pitchFamily="2" charset="0"/>
                <a:cs typeface="Arial Regular" charset="0"/>
              </a:endParaRPr>
            </a:p>
          </p:txBody>
        </p:sp>
        <p:sp>
          <p:nvSpPr>
            <p:cNvPr id="74" name="Shape 1869">
              <a:extLst>
                <a:ext uri="{FF2B5EF4-FFF2-40B4-BE49-F238E27FC236}">
                  <a16:creationId xmlns:a16="http://schemas.microsoft.com/office/drawing/2014/main" id="{ADF56C78-4C65-44D3-B4B6-0BEEC3C05342}"/>
                </a:ext>
              </a:extLst>
            </p:cNvPr>
            <p:cNvSpPr/>
            <p:nvPr/>
          </p:nvSpPr>
          <p:spPr>
            <a:xfrm>
              <a:off x="4054920" y="2715572"/>
              <a:ext cx="578080" cy="607245"/>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path>
              </a:pathLst>
            </a:custGeom>
            <a:solidFill>
              <a:schemeClr val="accent3"/>
            </a:solidFill>
            <a:ln w="12700" cap="flat" cmpd="sng">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p>
              <a:pPr marL="0" marR="0" lvl="0" indent="0" algn="ctr" defTabSz="457200" rtl="0" eaLnBrk="1" fontAlgn="auto" latinLnBrk="0" hangingPunct="1">
                <a:lnSpc>
                  <a:spcPct val="90000"/>
                </a:lnSpc>
                <a:spcBef>
                  <a:spcPts val="0"/>
                </a:spcBef>
                <a:spcAft>
                  <a:spcPts val="0"/>
                </a:spcAft>
                <a:buClrTx/>
                <a:buSzTx/>
                <a:buFontTx/>
                <a:buNone/>
                <a:tabLst/>
                <a:defRPr sz="1800">
                  <a:solidFill>
                    <a:srgbClr val="000000"/>
                  </a:solidFill>
                </a:defRPr>
              </a:pPr>
              <a:endParaRPr kumimoji="0" lang="de-DE" sz="700" b="0" i="0" u="none" strike="noStrike" kern="1200" cap="none" spc="0" normalizeH="0" baseline="0" noProof="0">
                <a:ln>
                  <a:noFill/>
                </a:ln>
                <a:solidFill>
                  <a:srgbClr val="000000"/>
                </a:solidFill>
                <a:effectLst/>
                <a:uLnTx/>
                <a:uFillTx/>
                <a:latin typeface="Montserrat" panose="00000500000000000000" pitchFamily="2" charset="0"/>
                <a:cs typeface="Arial Regular" charset="0"/>
              </a:endParaRPr>
            </a:p>
          </p:txBody>
        </p:sp>
        <p:sp>
          <p:nvSpPr>
            <p:cNvPr id="75" name="Shape 1869">
              <a:extLst>
                <a:ext uri="{FF2B5EF4-FFF2-40B4-BE49-F238E27FC236}">
                  <a16:creationId xmlns:a16="http://schemas.microsoft.com/office/drawing/2014/main" id="{10ACFC8F-0D66-400C-8375-18B45433CD8B}"/>
                </a:ext>
              </a:extLst>
            </p:cNvPr>
            <p:cNvSpPr/>
            <p:nvPr/>
          </p:nvSpPr>
          <p:spPr>
            <a:xfrm>
              <a:off x="7371294" y="2739248"/>
              <a:ext cx="578080" cy="607245"/>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path>
              </a:pathLst>
            </a:custGeom>
            <a:solidFill>
              <a:schemeClr val="accent1"/>
            </a:solidFill>
            <a:ln w="12700" cap="flat" cmpd="sng">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p>
              <a:pPr marL="0" marR="0" lvl="0" indent="0" algn="ctr" defTabSz="457200" rtl="0" eaLnBrk="1" fontAlgn="auto" latinLnBrk="0" hangingPunct="1">
                <a:lnSpc>
                  <a:spcPct val="90000"/>
                </a:lnSpc>
                <a:spcBef>
                  <a:spcPts val="0"/>
                </a:spcBef>
                <a:spcAft>
                  <a:spcPts val="0"/>
                </a:spcAft>
                <a:buClrTx/>
                <a:buSzTx/>
                <a:buFontTx/>
                <a:buNone/>
                <a:tabLst/>
                <a:defRPr sz="1800">
                  <a:solidFill>
                    <a:srgbClr val="000000"/>
                  </a:solidFill>
                </a:defRPr>
              </a:pPr>
              <a:endParaRPr kumimoji="0" lang="de-DE" sz="700" b="0" i="0" u="none" strike="noStrike" kern="1200" cap="none" spc="0" normalizeH="0" baseline="0" noProof="0">
                <a:ln>
                  <a:noFill/>
                </a:ln>
                <a:solidFill>
                  <a:srgbClr val="000000"/>
                </a:solidFill>
                <a:effectLst/>
                <a:uLnTx/>
                <a:uFillTx/>
                <a:latin typeface="Montserrat" panose="00000500000000000000" pitchFamily="2" charset="0"/>
                <a:cs typeface="Arial Regular" charset="0"/>
              </a:endParaRPr>
            </a:p>
          </p:txBody>
        </p:sp>
        <p:sp>
          <p:nvSpPr>
            <p:cNvPr id="76" name="Freeform 68">
              <a:extLst>
                <a:ext uri="{FF2B5EF4-FFF2-40B4-BE49-F238E27FC236}">
                  <a16:creationId xmlns:a16="http://schemas.microsoft.com/office/drawing/2014/main" id="{007D2069-AD2D-4C0E-BD55-F18D6A6F1B3D}"/>
                </a:ext>
              </a:extLst>
            </p:cNvPr>
            <p:cNvSpPr>
              <a:spLocks noEditPoints="1"/>
            </p:cNvSpPr>
            <p:nvPr/>
          </p:nvSpPr>
          <p:spPr bwMode="auto">
            <a:xfrm>
              <a:off x="7472326" y="2841921"/>
              <a:ext cx="384410" cy="402518"/>
            </a:xfrm>
            <a:custGeom>
              <a:avLst/>
              <a:gdLst>
                <a:gd name="T0" fmla="*/ 2147483646 w 62"/>
                <a:gd name="T1" fmla="*/ 2147483646 h 62"/>
                <a:gd name="T2" fmla="*/ 2147483646 w 62"/>
                <a:gd name="T3" fmla="*/ 2147483646 h 62"/>
                <a:gd name="T4" fmla="*/ 2147483646 w 62"/>
                <a:gd name="T5" fmla="*/ 2147483646 h 62"/>
                <a:gd name="T6" fmla="*/ 2147483646 w 62"/>
                <a:gd name="T7" fmla="*/ 2147483646 h 62"/>
                <a:gd name="T8" fmla="*/ 2147483646 w 62"/>
                <a:gd name="T9" fmla="*/ 2147483646 h 62"/>
                <a:gd name="T10" fmla="*/ 2147483646 w 62"/>
                <a:gd name="T11" fmla="*/ 2147483646 h 62"/>
                <a:gd name="T12" fmla="*/ 2147483646 w 62"/>
                <a:gd name="T13" fmla="*/ 2147483646 h 62"/>
                <a:gd name="T14" fmla="*/ 2147483646 w 62"/>
                <a:gd name="T15" fmla="*/ 2147483646 h 62"/>
                <a:gd name="T16" fmla="*/ 2147483646 w 62"/>
                <a:gd name="T17" fmla="*/ 2147483646 h 62"/>
                <a:gd name="T18" fmla="*/ 2147483646 w 62"/>
                <a:gd name="T19" fmla="*/ 2147483646 h 62"/>
                <a:gd name="T20" fmla="*/ 2147483646 w 62"/>
                <a:gd name="T21" fmla="*/ 2147483646 h 62"/>
                <a:gd name="T22" fmla="*/ 0 w 62"/>
                <a:gd name="T23" fmla="*/ 2147483646 h 62"/>
                <a:gd name="T24" fmla="*/ 0 w 62"/>
                <a:gd name="T25" fmla="*/ 2147483646 h 62"/>
                <a:gd name="T26" fmla="*/ 2147483646 w 62"/>
                <a:gd name="T27" fmla="*/ 2147483646 h 62"/>
                <a:gd name="T28" fmla="*/ 2147483646 w 62"/>
                <a:gd name="T29" fmla="*/ 2147483646 h 62"/>
                <a:gd name="T30" fmla="*/ 2147483646 w 62"/>
                <a:gd name="T31" fmla="*/ 2147483646 h 62"/>
                <a:gd name="T32" fmla="*/ 2147483646 w 62"/>
                <a:gd name="T33" fmla="*/ 2147483646 h 62"/>
                <a:gd name="T34" fmla="*/ 2147483646 w 62"/>
                <a:gd name="T35" fmla="*/ 0 h 62"/>
                <a:gd name="T36" fmla="*/ 2147483646 w 62"/>
                <a:gd name="T37" fmla="*/ 0 h 62"/>
                <a:gd name="T38" fmla="*/ 2147483646 w 62"/>
                <a:gd name="T39" fmla="*/ 2147483646 h 62"/>
                <a:gd name="T40" fmla="*/ 2147483646 w 62"/>
                <a:gd name="T41" fmla="*/ 2147483646 h 62"/>
                <a:gd name="T42" fmla="*/ 2147483646 w 62"/>
                <a:gd name="T43" fmla="*/ 2147483646 h 62"/>
                <a:gd name="T44" fmla="*/ 2147483646 w 62"/>
                <a:gd name="T45" fmla="*/ 2147483646 h 62"/>
                <a:gd name="T46" fmla="*/ 2147483646 w 62"/>
                <a:gd name="T47" fmla="*/ 2147483646 h 62"/>
                <a:gd name="T48" fmla="*/ 2147483646 w 62"/>
                <a:gd name="T49" fmla="*/ 2147483646 h 62"/>
                <a:gd name="T50" fmla="*/ 2147483646 w 62"/>
                <a:gd name="T51" fmla="*/ 2147483646 h 62"/>
                <a:gd name="T52" fmla="*/ 2147483646 w 62"/>
                <a:gd name="T53" fmla="*/ 2147483646 h 62"/>
                <a:gd name="T54" fmla="*/ 2147483646 w 62"/>
                <a:gd name="T55" fmla="*/ 2147483646 h 62"/>
                <a:gd name="T56" fmla="*/ 2147483646 w 62"/>
                <a:gd name="T57" fmla="*/ 2147483646 h 62"/>
                <a:gd name="T58" fmla="*/ 2147483646 w 62"/>
                <a:gd name="T59" fmla="*/ 2147483646 h 62"/>
                <a:gd name="T60" fmla="*/ 2147483646 w 62"/>
                <a:gd name="T61" fmla="*/ 2147483646 h 62"/>
                <a:gd name="T62" fmla="*/ 2147483646 w 62"/>
                <a:gd name="T63" fmla="*/ 2147483646 h 62"/>
                <a:gd name="T64" fmla="*/ 2147483646 w 62"/>
                <a:gd name="T65" fmla="*/ 2147483646 h 62"/>
                <a:gd name="T66" fmla="*/ 2147483646 w 62"/>
                <a:gd name="T67" fmla="*/ 2147483646 h 62"/>
                <a:gd name="T68" fmla="*/ 2147483646 w 62"/>
                <a:gd name="T69" fmla="*/ 2147483646 h 62"/>
                <a:gd name="T70" fmla="*/ 2147483646 w 62"/>
                <a:gd name="T71" fmla="*/ 2147483646 h 62"/>
                <a:gd name="T72" fmla="*/ 2147483646 w 62"/>
                <a:gd name="T73" fmla="*/ 2147483646 h 62"/>
                <a:gd name="T74" fmla="*/ 2147483646 w 62"/>
                <a:gd name="T75" fmla="*/ 2147483646 h 62"/>
                <a:gd name="T76" fmla="*/ 2147483646 w 62"/>
                <a:gd name="T77" fmla="*/ 2147483646 h 62"/>
                <a:gd name="T78" fmla="*/ 2147483646 w 62"/>
                <a:gd name="T79" fmla="*/ 2147483646 h 62"/>
                <a:gd name="T80" fmla="*/ 2147483646 w 62"/>
                <a:gd name="T81" fmla="*/ 2147483646 h 62"/>
                <a:gd name="T82" fmla="*/ 2147483646 w 62"/>
                <a:gd name="T83" fmla="*/ 2147483646 h 62"/>
                <a:gd name="T84" fmla="*/ 2147483646 w 62"/>
                <a:gd name="T85" fmla="*/ 2147483646 h 62"/>
                <a:gd name="T86" fmla="*/ 2147483646 w 62"/>
                <a:gd name="T87" fmla="*/ 2147483646 h 62"/>
                <a:gd name="T88" fmla="*/ 2147483646 w 62"/>
                <a:gd name="T89" fmla="*/ 2147483646 h 62"/>
                <a:gd name="T90" fmla="*/ 2147483646 w 62"/>
                <a:gd name="T91" fmla="*/ 2147483646 h 62"/>
                <a:gd name="T92" fmla="*/ 2147483646 w 62"/>
                <a:gd name="T93" fmla="*/ 2147483646 h 62"/>
                <a:gd name="T94" fmla="*/ 2147483646 w 62"/>
                <a:gd name="T95" fmla="*/ 2147483646 h 62"/>
                <a:gd name="T96" fmla="*/ 2147483646 w 62"/>
                <a:gd name="T97" fmla="*/ 2147483646 h 62"/>
                <a:gd name="T98" fmla="*/ 2147483646 w 62"/>
                <a:gd name="T99" fmla="*/ 2147483646 h 62"/>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62" h="62">
                  <a:moveTo>
                    <a:pt x="62" y="34"/>
                  </a:moveTo>
                  <a:cubicBezTo>
                    <a:pt x="62" y="35"/>
                    <a:pt x="61" y="36"/>
                    <a:pt x="60" y="36"/>
                  </a:cubicBezTo>
                  <a:cubicBezTo>
                    <a:pt x="54" y="36"/>
                    <a:pt x="54" y="36"/>
                    <a:pt x="54" y="36"/>
                  </a:cubicBezTo>
                  <a:cubicBezTo>
                    <a:pt x="52" y="45"/>
                    <a:pt x="45" y="52"/>
                    <a:pt x="36" y="54"/>
                  </a:cubicBezTo>
                  <a:cubicBezTo>
                    <a:pt x="36" y="60"/>
                    <a:pt x="36" y="60"/>
                    <a:pt x="36" y="60"/>
                  </a:cubicBezTo>
                  <a:cubicBezTo>
                    <a:pt x="36" y="61"/>
                    <a:pt x="35" y="62"/>
                    <a:pt x="34" y="62"/>
                  </a:cubicBezTo>
                  <a:cubicBezTo>
                    <a:pt x="29" y="62"/>
                    <a:pt x="29" y="62"/>
                    <a:pt x="29" y="62"/>
                  </a:cubicBezTo>
                  <a:cubicBezTo>
                    <a:pt x="27" y="62"/>
                    <a:pt x="26" y="61"/>
                    <a:pt x="26" y="60"/>
                  </a:cubicBezTo>
                  <a:cubicBezTo>
                    <a:pt x="26" y="54"/>
                    <a:pt x="26" y="54"/>
                    <a:pt x="26" y="54"/>
                  </a:cubicBezTo>
                  <a:cubicBezTo>
                    <a:pt x="18" y="52"/>
                    <a:pt x="11" y="45"/>
                    <a:pt x="9" y="36"/>
                  </a:cubicBezTo>
                  <a:cubicBezTo>
                    <a:pt x="3" y="36"/>
                    <a:pt x="3" y="36"/>
                    <a:pt x="3" y="36"/>
                  </a:cubicBezTo>
                  <a:cubicBezTo>
                    <a:pt x="2" y="36"/>
                    <a:pt x="0" y="35"/>
                    <a:pt x="0" y="34"/>
                  </a:cubicBezTo>
                  <a:cubicBezTo>
                    <a:pt x="0" y="29"/>
                    <a:pt x="0" y="29"/>
                    <a:pt x="0" y="29"/>
                  </a:cubicBezTo>
                  <a:cubicBezTo>
                    <a:pt x="0" y="27"/>
                    <a:pt x="2" y="26"/>
                    <a:pt x="3" y="26"/>
                  </a:cubicBezTo>
                  <a:cubicBezTo>
                    <a:pt x="9" y="26"/>
                    <a:pt x="9" y="26"/>
                    <a:pt x="9" y="26"/>
                  </a:cubicBezTo>
                  <a:cubicBezTo>
                    <a:pt x="11" y="18"/>
                    <a:pt x="18" y="11"/>
                    <a:pt x="26" y="9"/>
                  </a:cubicBezTo>
                  <a:cubicBezTo>
                    <a:pt x="26" y="3"/>
                    <a:pt x="26" y="3"/>
                    <a:pt x="26" y="3"/>
                  </a:cubicBezTo>
                  <a:cubicBezTo>
                    <a:pt x="26" y="2"/>
                    <a:pt x="27" y="0"/>
                    <a:pt x="29" y="0"/>
                  </a:cubicBezTo>
                  <a:cubicBezTo>
                    <a:pt x="34" y="0"/>
                    <a:pt x="34" y="0"/>
                    <a:pt x="34" y="0"/>
                  </a:cubicBezTo>
                  <a:cubicBezTo>
                    <a:pt x="35" y="0"/>
                    <a:pt x="36" y="2"/>
                    <a:pt x="36" y="3"/>
                  </a:cubicBezTo>
                  <a:cubicBezTo>
                    <a:pt x="36" y="9"/>
                    <a:pt x="36" y="9"/>
                    <a:pt x="36" y="9"/>
                  </a:cubicBezTo>
                  <a:cubicBezTo>
                    <a:pt x="45" y="11"/>
                    <a:pt x="52" y="18"/>
                    <a:pt x="54" y="26"/>
                  </a:cubicBezTo>
                  <a:cubicBezTo>
                    <a:pt x="60" y="26"/>
                    <a:pt x="60" y="26"/>
                    <a:pt x="60" y="26"/>
                  </a:cubicBezTo>
                  <a:cubicBezTo>
                    <a:pt x="61" y="26"/>
                    <a:pt x="62" y="27"/>
                    <a:pt x="62" y="29"/>
                  </a:cubicBezTo>
                  <a:lnTo>
                    <a:pt x="62" y="34"/>
                  </a:lnTo>
                  <a:close/>
                  <a:moveTo>
                    <a:pt x="44" y="36"/>
                  </a:moveTo>
                  <a:cubicBezTo>
                    <a:pt x="43" y="36"/>
                    <a:pt x="42" y="35"/>
                    <a:pt x="42" y="34"/>
                  </a:cubicBezTo>
                  <a:cubicBezTo>
                    <a:pt x="42" y="29"/>
                    <a:pt x="42" y="29"/>
                    <a:pt x="42" y="29"/>
                  </a:cubicBezTo>
                  <a:cubicBezTo>
                    <a:pt x="42" y="27"/>
                    <a:pt x="43" y="26"/>
                    <a:pt x="44" y="26"/>
                  </a:cubicBezTo>
                  <a:cubicBezTo>
                    <a:pt x="49" y="26"/>
                    <a:pt x="49" y="26"/>
                    <a:pt x="49" y="26"/>
                  </a:cubicBezTo>
                  <a:cubicBezTo>
                    <a:pt x="47" y="20"/>
                    <a:pt x="42" y="16"/>
                    <a:pt x="36" y="14"/>
                  </a:cubicBezTo>
                  <a:cubicBezTo>
                    <a:pt x="36" y="18"/>
                    <a:pt x="36" y="18"/>
                    <a:pt x="36" y="18"/>
                  </a:cubicBezTo>
                  <a:cubicBezTo>
                    <a:pt x="36" y="20"/>
                    <a:pt x="35" y="21"/>
                    <a:pt x="34" y="21"/>
                  </a:cubicBezTo>
                  <a:cubicBezTo>
                    <a:pt x="29" y="21"/>
                    <a:pt x="29" y="21"/>
                    <a:pt x="29" y="21"/>
                  </a:cubicBezTo>
                  <a:cubicBezTo>
                    <a:pt x="27" y="21"/>
                    <a:pt x="26" y="20"/>
                    <a:pt x="26" y="18"/>
                  </a:cubicBezTo>
                  <a:cubicBezTo>
                    <a:pt x="26" y="14"/>
                    <a:pt x="26" y="14"/>
                    <a:pt x="26" y="14"/>
                  </a:cubicBezTo>
                  <a:cubicBezTo>
                    <a:pt x="20" y="16"/>
                    <a:pt x="16" y="20"/>
                    <a:pt x="14" y="26"/>
                  </a:cubicBezTo>
                  <a:cubicBezTo>
                    <a:pt x="18" y="26"/>
                    <a:pt x="18" y="26"/>
                    <a:pt x="18" y="26"/>
                  </a:cubicBezTo>
                  <a:cubicBezTo>
                    <a:pt x="20" y="26"/>
                    <a:pt x="21" y="27"/>
                    <a:pt x="21" y="29"/>
                  </a:cubicBezTo>
                  <a:cubicBezTo>
                    <a:pt x="21" y="34"/>
                    <a:pt x="21" y="34"/>
                    <a:pt x="21" y="34"/>
                  </a:cubicBezTo>
                  <a:cubicBezTo>
                    <a:pt x="21" y="35"/>
                    <a:pt x="20" y="36"/>
                    <a:pt x="18" y="36"/>
                  </a:cubicBezTo>
                  <a:cubicBezTo>
                    <a:pt x="14" y="36"/>
                    <a:pt x="14" y="36"/>
                    <a:pt x="14" y="36"/>
                  </a:cubicBezTo>
                  <a:cubicBezTo>
                    <a:pt x="16" y="42"/>
                    <a:pt x="20" y="47"/>
                    <a:pt x="26" y="49"/>
                  </a:cubicBezTo>
                  <a:cubicBezTo>
                    <a:pt x="26" y="44"/>
                    <a:pt x="26" y="44"/>
                    <a:pt x="26" y="44"/>
                  </a:cubicBezTo>
                  <a:cubicBezTo>
                    <a:pt x="26" y="43"/>
                    <a:pt x="27" y="42"/>
                    <a:pt x="29" y="42"/>
                  </a:cubicBezTo>
                  <a:cubicBezTo>
                    <a:pt x="34" y="42"/>
                    <a:pt x="34" y="42"/>
                    <a:pt x="34" y="42"/>
                  </a:cubicBezTo>
                  <a:cubicBezTo>
                    <a:pt x="35" y="42"/>
                    <a:pt x="36" y="43"/>
                    <a:pt x="36" y="44"/>
                  </a:cubicBezTo>
                  <a:cubicBezTo>
                    <a:pt x="36" y="49"/>
                    <a:pt x="36" y="49"/>
                    <a:pt x="36" y="49"/>
                  </a:cubicBezTo>
                  <a:cubicBezTo>
                    <a:pt x="42" y="47"/>
                    <a:pt x="47" y="42"/>
                    <a:pt x="49" y="36"/>
                  </a:cubicBezTo>
                  <a:lnTo>
                    <a:pt x="44" y="3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lIns="243797" tIns="121899" rIns="243797" bIns="121899"/>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a:ln>
                  <a:noFill/>
                </a:ln>
                <a:solidFill>
                  <a:srgbClr val="000000"/>
                </a:solidFill>
                <a:effectLst/>
                <a:uLnTx/>
                <a:uFillTx/>
                <a:latin typeface="Montserrat" panose="00000500000000000000" pitchFamily="2" charset="0"/>
              </a:endParaRPr>
            </a:p>
          </p:txBody>
        </p:sp>
        <p:sp>
          <p:nvSpPr>
            <p:cNvPr id="77" name="Freeform 77">
              <a:extLst>
                <a:ext uri="{FF2B5EF4-FFF2-40B4-BE49-F238E27FC236}">
                  <a16:creationId xmlns:a16="http://schemas.microsoft.com/office/drawing/2014/main" id="{4B6DC04C-0BB6-4EDE-BCD1-7EB117C008EF}"/>
                </a:ext>
              </a:extLst>
            </p:cNvPr>
            <p:cNvSpPr>
              <a:spLocks noEditPoints="1"/>
            </p:cNvSpPr>
            <p:nvPr/>
          </p:nvSpPr>
          <p:spPr bwMode="auto">
            <a:xfrm>
              <a:off x="8188412" y="4202650"/>
              <a:ext cx="282378" cy="300721"/>
            </a:xfrm>
            <a:custGeom>
              <a:avLst/>
              <a:gdLst>
                <a:gd name="T0" fmla="*/ 2147483646 w 61"/>
                <a:gd name="T1" fmla="*/ 2147483646 h 62"/>
                <a:gd name="T2" fmla="*/ 2147483646 w 61"/>
                <a:gd name="T3" fmla="*/ 2147483646 h 62"/>
                <a:gd name="T4" fmla="*/ 2147483646 w 61"/>
                <a:gd name="T5" fmla="*/ 2147483646 h 62"/>
                <a:gd name="T6" fmla="*/ 0 w 61"/>
                <a:gd name="T7" fmla="*/ 2147483646 h 62"/>
                <a:gd name="T8" fmla="*/ 0 w 61"/>
                <a:gd name="T9" fmla="*/ 2147483646 h 62"/>
                <a:gd name="T10" fmla="*/ 2147483646 w 61"/>
                <a:gd name="T11" fmla="*/ 0 h 62"/>
                <a:gd name="T12" fmla="*/ 2147483646 w 61"/>
                <a:gd name="T13" fmla="*/ 0 h 62"/>
                <a:gd name="T14" fmla="*/ 2147483646 w 61"/>
                <a:gd name="T15" fmla="*/ 2147483646 h 62"/>
                <a:gd name="T16" fmla="*/ 2147483646 w 61"/>
                <a:gd name="T17" fmla="*/ 2147483646 h 62"/>
                <a:gd name="T18" fmla="*/ 2147483646 w 61"/>
                <a:gd name="T19" fmla="*/ 2147483646 h 62"/>
                <a:gd name="T20" fmla="*/ 2147483646 w 61"/>
                <a:gd name="T21" fmla="*/ 2147483646 h 62"/>
                <a:gd name="T22" fmla="*/ 2147483646 w 61"/>
                <a:gd name="T23" fmla="*/ 2147483646 h 62"/>
                <a:gd name="T24" fmla="*/ 2147483646 w 61"/>
                <a:gd name="T25" fmla="*/ 2147483646 h 62"/>
                <a:gd name="T26" fmla="*/ 2147483646 w 61"/>
                <a:gd name="T27" fmla="*/ 2147483646 h 62"/>
                <a:gd name="T28" fmla="*/ 2147483646 w 61"/>
                <a:gd name="T29" fmla="*/ 2147483646 h 62"/>
                <a:gd name="T30" fmla="*/ 2147483646 w 61"/>
                <a:gd name="T31" fmla="*/ 2147483646 h 62"/>
                <a:gd name="T32" fmla="*/ 2147483646 w 61"/>
                <a:gd name="T33" fmla="*/ 2147483646 h 62"/>
                <a:gd name="T34" fmla="*/ 2147483646 w 61"/>
                <a:gd name="T35" fmla="*/ 2147483646 h 62"/>
                <a:gd name="T36" fmla="*/ 2147483646 w 61"/>
                <a:gd name="T37" fmla="*/ 2147483646 h 62"/>
                <a:gd name="T38" fmla="*/ 2147483646 w 61"/>
                <a:gd name="T39" fmla="*/ 2147483646 h 62"/>
                <a:gd name="T40" fmla="*/ 2147483646 w 61"/>
                <a:gd name="T41" fmla="*/ 2147483646 h 62"/>
                <a:gd name="T42" fmla="*/ 2147483646 w 61"/>
                <a:gd name="T43" fmla="*/ 2147483646 h 62"/>
                <a:gd name="T44" fmla="*/ 2147483646 w 61"/>
                <a:gd name="T45" fmla="*/ 2147483646 h 62"/>
                <a:gd name="T46" fmla="*/ 2147483646 w 61"/>
                <a:gd name="T47" fmla="*/ 2147483646 h 62"/>
                <a:gd name="T48" fmla="*/ 2147483646 w 61"/>
                <a:gd name="T49" fmla="*/ 2147483646 h 6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1" h="62">
                  <a:moveTo>
                    <a:pt x="61" y="51"/>
                  </a:moveTo>
                  <a:cubicBezTo>
                    <a:pt x="61" y="57"/>
                    <a:pt x="56" y="62"/>
                    <a:pt x="50" y="62"/>
                  </a:cubicBezTo>
                  <a:cubicBezTo>
                    <a:pt x="11" y="62"/>
                    <a:pt x="11" y="62"/>
                    <a:pt x="11" y="62"/>
                  </a:cubicBezTo>
                  <a:cubicBezTo>
                    <a:pt x="5" y="62"/>
                    <a:pt x="0" y="57"/>
                    <a:pt x="0" y="51"/>
                  </a:cubicBezTo>
                  <a:cubicBezTo>
                    <a:pt x="0" y="12"/>
                    <a:pt x="0" y="12"/>
                    <a:pt x="0" y="12"/>
                  </a:cubicBezTo>
                  <a:cubicBezTo>
                    <a:pt x="0" y="6"/>
                    <a:pt x="5" y="0"/>
                    <a:pt x="11" y="0"/>
                  </a:cubicBezTo>
                  <a:cubicBezTo>
                    <a:pt x="50" y="0"/>
                    <a:pt x="50" y="0"/>
                    <a:pt x="50" y="0"/>
                  </a:cubicBezTo>
                  <a:cubicBezTo>
                    <a:pt x="56" y="0"/>
                    <a:pt x="61" y="6"/>
                    <a:pt x="61" y="12"/>
                  </a:cubicBezTo>
                  <a:lnTo>
                    <a:pt x="61" y="51"/>
                  </a:lnTo>
                  <a:close/>
                  <a:moveTo>
                    <a:pt x="51" y="13"/>
                  </a:moveTo>
                  <a:cubicBezTo>
                    <a:pt x="51" y="12"/>
                    <a:pt x="50" y="11"/>
                    <a:pt x="49" y="11"/>
                  </a:cubicBezTo>
                  <a:cubicBezTo>
                    <a:pt x="29" y="11"/>
                    <a:pt x="29" y="11"/>
                    <a:pt x="29" y="11"/>
                  </a:cubicBezTo>
                  <a:cubicBezTo>
                    <a:pt x="28" y="11"/>
                    <a:pt x="27" y="11"/>
                    <a:pt x="27" y="12"/>
                  </a:cubicBezTo>
                  <a:cubicBezTo>
                    <a:pt x="27" y="13"/>
                    <a:pt x="27" y="14"/>
                    <a:pt x="28" y="15"/>
                  </a:cubicBezTo>
                  <a:cubicBezTo>
                    <a:pt x="33" y="21"/>
                    <a:pt x="33" y="21"/>
                    <a:pt x="33" y="21"/>
                  </a:cubicBezTo>
                  <a:cubicBezTo>
                    <a:pt x="12" y="42"/>
                    <a:pt x="12" y="42"/>
                    <a:pt x="12" y="42"/>
                  </a:cubicBezTo>
                  <a:cubicBezTo>
                    <a:pt x="11" y="43"/>
                    <a:pt x="11" y="45"/>
                    <a:pt x="12" y="46"/>
                  </a:cubicBezTo>
                  <a:cubicBezTo>
                    <a:pt x="16" y="50"/>
                    <a:pt x="16" y="50"/>
                    <a:pt x="16" y="50"/>
                  </a:cubicBezTo>
                  <a:cubicBezTo>
                    <a:pt x="17" y="51"/>
                    <a:pt x="19" y="51"/>
                    <a:pt x="20" y="50"/>
                  </a:cubicBezTo>
                  <a:cubicBezTo>
                    <a:pt x="41" y="29"/>
                    <a:pt x="41" y="29"/>
                    <a:pt x="41" y="29"/>
                  </a:cubicBezTo>
                  <a:cubicBezTo>
                    <a:pt x="47" y="34"/>
                    <a:pt x="47" y="34"/>
                    <a:pt x="47" y="34"/>
                  </a:cubicBezTo>
                  <a:cubicBezTo>
                    <a:pt x="47" y="35"/>
                    <a:pt x="48" y="35"/>
                    <a:pt x="49" y="35"/>
                  </a:cubicBezTo>
                  <a:cubicBezTo>
                    <a:pt x="49" y="35"/>
                    <a:pt x="49" y="35"/>
                    <a:pt x="50" y="35"/>
                  </a:cubicBezTo>
                  <a:cubicBezTo>
                    <a:pt x="51" y="35"/>
                    <a:pt x="51" y="34"/>
                    <a:pt x="51" y="33"/>
                  </a:cubicBezTo>
                  <a:lnTo>
                    <a:pt x="51" y="1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lIns="243797" tIns="121899" rIns="243797" bIns="121899"/>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a:ln>
                  <a:noFill/>
                </a:ln>
                <a:solidFill>
                  <a:srgbClr val="000000"/>
                </a:solidFill>
                <a:effectLst/>
                <a:uLnTx/>
                <a:uFillTx/>
                <a:latin typeface="Montserrat" panose="00000500000000000000" pitchFamily="2" charset="0"/>
              </a:endParaRPr>
            </a:p>
          </p:txBody>
        </p:sp>
        <p:sp>
          <p:nvSpPr>
            <p:cNvPr id="79" name="Freeform 13">
              <a:extLst>
                <a:ext uri="{FF2B5EF4-FFF2-40B4-BE49-F238E27FC236}">
                  <a16:creationId xmlns:a16="http://schemas.microsoft.com/office/drawing/2014/main" id="{B1161341-AEF2-4EC0-B6E0-9D12CD83A611}"/>
                </a:ext>
              </a:extLst>
            </p:cNvPr>
            <p:cNvSpPr>
              <a:spLocks noEditPoints="1"/>
            </p:cNvSpPr>
            <p:nvPr/>
          </p:nvSpPr>
          <p:spPr bwMode="auto">
            <a:xfrm>
              <a:off x="4151470" y="2863538"/>
              <a:ext cx="357564" cy="302630"/>
            </a:xfrm>
            <a:custGeom>
              <a:avLst/>
              <a:gdLst>
                <a:gd name="T0" fmla="*/ 2147483646 w 256"/>
                <a:gd name="T1" fmla="*/ 2147483646 h 224"/>
                <a:gd name="T2" fmla="*/ 2147483646 w 256"/>
                <a:gd name="T3" fmla="*/ 2147483646 h 224"/>
                <a:gd name="T4" fmla="*/ 2147483646 w 256"/>
                <a:gd name="T5" fmla="*/ 2147483646 h 224"/>
                <a:gd name="T6" fmla="*/ 2147483646 w 256"/>
                <a:gd name="T7" fmla="*/ 2147483646 h 224"/>
                <a:gd name="T8" fmla="*/ 2147483646 w 256"/>
                <a:gd name="T9" fmla="*/ 2147483646 h 224"/>
                <a:gd name="T10" fmla="*/ 2147483646 w 256"/>
                <a:gd name="T11" fmla="*/ 2147483646 h 224"/>
                <a:gd name="T12" fmla="*/ 0 w 256"/>
                <a:gd name="T13" fmla="*/ 2147483646 h 224"/>
                <a:gd name="T14" fmla="*/ 2147483646 w 256"/>
                <a:gd name="T15" fmla="*/ 2147483646 h 224"/>
                <a:gd name="T16" fmla="*/ 2147483646 w 256"/>
                <a:gd name="T17" fmla="*/ 2147483646 h 224"/>
                <a:gd name="T18" fmla="*/ 2147483646 w 256"/>
                <a:gd name="T19" fmla="*/ 2147483646 h 224"/>
                <a:gd name="T20" fmla="*/ 2147483646 w 256"/>
                <a:gd name="T21" fmla="*/ 2147483646 h 224"/>
                <a:gd name="T22" fmla="*/ 2147483646 w 256"/>
                <a:gd name="T23" fmla="*/ 2147483646 h 224"/>
                <a:gd name="T24" fmla="*/ 2147483646 w 256"/>
                <a:gd name="T25" fmla="*/ 2147483646 h 224"/>
                <a:gd name="T26" fmla="*/ 2147483646 w 256"/>
                <a:gd name="T27" fmla="*/ 2147483646 h 224"/>
                <a:gd name="T28" fmla="*/ 2147483646 w 256"/>
                <a:gd name="T29" fmla="*/ 2147483646 h 224"/>
                <a:gd name="T30" fmla="*/ 2147483646 w 256"/>
                <a:gd name="T31" fmla="*/ 2147483646 h 224"/>
                <a:gd name="T32" fmla="*/ 2147483646 w 256"/>
                <a:gd name="T33" fmla="*/ 2147483646 h 224"/>
                <a:gd name="T34" fmla="*/ 2147483646 w 256"/>
                <a:gd name="T35" fmla="*/ 2147483646 h 224"/>
                <a:gd name="T36" fmla="*/ 2147483646 w 256"/>
                <a:gd name="T37" fmla="*/ 2147483646 h 224"/>
                <a:gd name="T38" fmla="*/ 2147483646 w 256"/>
                <a:gd name="T39" fmla="*/ 2147483646 h 224"/>
                <a:gd name="T40" fmla="*/ 2147483646 w 256"/>
                <a:gd name="T41" fmla="*/ 2147483646 h 224"/>
                <a:gd name="T42" fmla="*/ 2147483646 w 256"/>
                <a:gd name="T43" fmla="*/ 2147483646 h 224"/>
                <a:gd name="T44" fmla="*/ 2147483646 w 256"/>
                <a:gd name="T45" fmla="*/ 2147483646 h 224"/>
                <a:gd name="T46" fmla="*/ 2147483646 w 256"/>
                <a:gd name="T47" fmla="*/ 0 h 224"/>
                <a:gd name="T48" fmla="*/ 2147483646 w 256"/>
                <a:gd name="T49" fmla="*/ 2147483646 h 224"/>
                <a:gd name="T50" fmla="*/ 2147483646 w 256"/>
                <a:gd name="T51" fmla="*/ 2147483646 h 224"/>
                <a:gd name="T52" fmla="*/ 2147483646 w 256"/>
                <a:gd name="T53" fmla="*/ 2147483646 h 224"/>
                <a:gd name="T54" fmla="*/ 2147483646 w 256"/>
                <a:gd name="T55" fmla="*/ 2147483646 h 224"/>
                <a:gd name="T56" fmla="*/ 2147483646 w 256"/>
                <a:gd name="T57" fmla="*/ 2147483646 h 224"/>
                <a:gd name="T58" fmla="*/ 2147483646 w 256"/>
                <a:gd name="T59" fmla="*/ 2147483646 h 224"/>
                <a:gd name="T60" fmla="*/ 2147483646 w 256"/>
                <a:gd name="T61" fmla="*/ 2147483646 h 224"/>
                <a:gd name="T62" fmla="*/ 2147483646 w 256"/>
                <a:gd name="T63" fmla="*/ 2147483646 h 224"/>
                <a:gd name="T64" fmla="*/ 2147483646 w 256"/>
                <a:gd name="T65" fmla="*/ 2147483646 h 224"/>
                <a:gd name="T66" fmla="*/ 2147483646 w 256"/>
                <a:gd name="T67" fmla="*/ 2147483646 h 224"/>
                <a:gd name="T68" fmla="*/ 2147483646 w 256"/>
                <a:gd name="T69" fmla="*/ 2147483646 h 224"/>
                <a:gd name="T70" fmla="*/ 2147483646 w 256"/>
                <a:gd name="T71" fmla="*/ 2147483646 h 224"/>
                <a:gd name="T72" fmla="*/ 2147483646 w 256"/>
                <a:gd name="T73" fmla="*/ 2147483646 h 224"/>
                <a:gd name="T74" fmla="*/ 2147483646 w 256"/>
                <a:gd name="T75" fmla="*/ 2147483646 h 224"/>
                <a:gd name="T76" fmla="*/ 2147483646 w 256"/>
                <a:gd name="T77" fmla="*/ 2147483646 h 224"/>
                <a:gd name="T78" fmla="*/ 2147483646 w 256"/>
                <a:gd name="T79" fmla="*/ 2147483646 h 224"/>
                <a:gd name="T80" fmla="*/ 0 w 256"/>
                <a:gd name="T81" fmla="*/ 2147483646 h 22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56" h="224">
                  <a:moveTo>
                    <a:pt x="249" y="123"/>
                  </a:moveTo>
                  <a:cubicBezTo>
                    <a:pt x="249" y="123"/>
                    <a:pt x="249" y="123"/>
                    <a:pt x="249" y="123"/>
                  </a:cubicBezTo>
                  <a:cubicBezTo>
                    <a:pt x="133" y="171"/>
                    <a:pt x="133" y="171"/>
                    <a:pt x="133" y="171"/>
                  </a:cubicBezTo>
                  <a:cubicBezTo>
                    <a:pt x="133" y="171"/>
                    <a:pt x="133" y="171"/>
                    <a:pt x="133" y="171"/>
                  </a:cubicBezTo>
                  <a:cubicBezTo>
                    <a:pt x="133" y="171"/>
                    <a:pt x="133" y="171"/>
                    <a:pt x="133" y="171"/>
                  </a:cubicBezTo>
                  <a:cubicBezTo>
                    <a:pt x="133" y="171"/>
                    <a:pt x="133" y="171"/>
                    <a:pt x="133" y="171"/>
                  </a:cubicBezTo>
                  <a:cubicBezTo>
                    <a:pt x="131" y="172"/>
                    <a:pt x="130" y="172"/>
                    <a:pt x="128" y="172"/>
                  </a:cubicBezTo>
                  <a:cubicBezTo>
                    <a:pt x="126" y="172"/>
                    <a:pt x="125" y="172"/>
                    <a:pt x="123" y="171"/>
                  </a:cubicBezTo>
                  <a:cubicBezTo>
                    <a:pt x="123" y="171"/>
                    <a:pt x="123" y="171"/>
                    <a:pt x="123" y="171"/>
                  </a:cubicBezTo>
                  <a:cubicBezTo>
                    <a:pt x="123" y="171"/>
                    <a:pt x="123" y="171"/>
                    <a:pt x="123" y="171"/>
                  </a:cubicBezTo>
                  <a:cubicBezTo>
                    <a:pt x="123" y="171"/>
                    <a:pt x="123" y="171"/>
                    <a:pt x="123" y="171"/>
                  </a:cubicBezTo>
                  <a:cubicBezTo>
                    <a:pt x="7" y="123"/>
                    <a:pt x="7" y="123"/>
                    <a:pt x="7" y="123"/>
                  </a:cubicBezTo>
                  <a:cubicBezTo>
                    <a:pt x="7" y="123"/>
                    <a:pt x="7" y="123"/>
                    <a:pt x="7" y="123"/>
                  </a:cubicBezTo>
                  <a:cubicBezTo>
                    <a:pt x="3" y="121"/>
                    <a:pt x="0" y="117"/>
                    <a:pt x="0" y="112"/>
                  </a:cubicBezTo>
                  <a:cubicBezTo>
                    <a:pt x="0" y="105"/>
                    <a:pt x="5" y="100"/>
                    <a:pt x="12" y="100"/>
                  </a:cubicBezTo>
                  <a:cubicBezTo>
                    <a:pt x="14" y="100"/>
                    <a:pt x="15" y="100"/>
                    <a:pt x="17" y="101"/>
                  </a:cubicBezTo>
                  <a:cubicBezTo>
                    <a:pt x="17" y="101"/>
                    <a:pt x="17" y="101"/>
                    <a:pt x="17" y="101"/>
                  </a:cubicBezTo>
                  <a:cubicBezTo>
                    <a:pt x="17" y="101"/>
                    <a:pt x="17" y="101"/>
                    <a:pt x="17" y="101"/>
                  </a:cubicBezTo>
                  <a:cubicBezTo>
                    <a:pt x="17" y="101"/>
                    <a:pt x="17" y="101"/>
                    <a:pt x="17" y="101"/>
                  </a:cubicBezTo>
                  <a:cubicBezTo>
                    <a:pt x="128" y="147"/>
                    <a:pt x="128" y="147"/>
                    <a:pt x="128" y="147"/>
                  </a:cubicBezTo>
                  <a:cubicBezTo>
                    <a:pt x="239" y="101"/>
                    <a:pt x="239" y="101"/>
                    <a:pt x="239" y="101"/>
                  </a:cubicBezTo>
                  <a:cubicBezTo>
                    <a:pt x="239" y="101"/>
                    <a:pt x="239" y="101"/>
                    <a:pt x="239" y="101"/>
                  </a:cubicBezTo>
                  <a:cubicBezTo>
                    <a:pt x="239" y="101"/>
                    <a:pt x="239" y="101"/>
                    <a:pt x="239" y="101"/>
                  </a:cubicBezTo>
                  <a:cubicBezTo>
                    <a:pt x="239" y="101"/>
                    <a:pt x="239" y="101"/>
                    <a:pt x="239" y="101"/>
                  </a:cubicBezTo>
                  <a:cubicBezTo>
                    <a:pt x="241" y="100"/>
                    <a:pt x="242" y="100"/>
                    <a:pt x="244" y="100"/>
                  </a:cubicBezTo>
                  <a:cubicBezTo>
                    <a:pt x="251" y="100"/>
                    <a:pt x="256" y="105"/>
                    <a:pt x="256" y="112"/>
                  </a:cubicBezTo>
                  <a:cubicBezTo>
                    <a:pt x="256" y="117"/>
                    <a:pt x="253" y="121"/>
                    <a:pt x="249" y="123"/>
                  </a:cubicBezTo>
                  <a:moveTo>
                    <a:pt x="249" y="71"/>
                  </a:moveTo>
                  <a:cubicBezTo>
                    <a:pt x="249" y="71"/>
                    <a:pt x="249" y="71"/>
                    <a:pt x="249" y="71"/>
                  </a:cubicBezTo>
                  <a:cubicBezTo>
                    <a:pt x="133" y="119"/>
                    <a:pt x="133" y="119"/>
                    <a:pt x="133" y="119"/>
                  </a:cubicBezTo>
                  <a:cubicBezTo>
                    <a:pt x="133" y="119"/>
                    <a:pt x="133" y="119"/>
                    <a:pt x="133" y="119"/>
                  </a:cubicBezTo>
                  <a:cubicBezTo>
                    <a:pt x="133" y="119"/>
                    <a:pt x="133" y="119"/>
                    <a:pt x="133" y="119"/>
                  </a:cubicBezTo>
                  <a:cubicBezTo>
                    <a:pt x="133" y="119"/>
                    <a:pt x="133" y="119"/>
                    <a:pt x="133" y="119"/>
                  </a:cubicBezTo>
                  <a:cubicBezTo>
                    <a:pt x="131" y="120"/>
                    <a:pt x="130" y="120"/>
                    <a:pt x="128" y="120"/>
                  </a:cubicBezTo>
                  <a:cubicBezTo>
                    <a:pt x="126" y="120"/>
                    <a:pt x="125" y="120"/>
                    <a:pt x="123" y="119"/>
                  </a:cubicBezTo>
                  <a:cubicBezTo>
                    <a:pt x="123" y="119"/>
                    <a:pt x="123" y="119"/>
                    <a:pt x="123" y="119"/>
                  </a:cubicBezTo>
                  <a:cubicBezTo>
                    <a:pt x="123" y="119"/>
                    <a:pt x="123" y="119"/>
                    <a:pt x="123" y="119"/>
                  </a:cubicBezTo>
                  <a:cubicBezTo>
                    <a:pt x="123" y="119"/>
                    <a:pt x="123" y="119"/>
                    <a:pt x="123" y="119"/>
                  </a:cubicBezTo>
                  <a:cubicBezTo>
                    <a:pt x="7" y="71"/>
                    <a:pt x="7" y="71"/>
                    <a:pt x="7" y="71"/>
                  </a:cubicBezTo>
                  <a:cubicBezTo>
                    <a:pt x="7" y="71"/>
                    <a:pt x="7" y="71"/>
                    <a:pt x="7" y="71"/>
                  </a:cubicBezTo>
                  <a:cubicBezTo>
                    <a:pt x="3" y="69"/>
                    <a:pt x="0" y="65"/>
                    <a:pt x="0" y="60"/>
                  </a:cubicBezTo>
                  <a:cubicBezTo>
                    <a:pt x="0" y="55"/>
                    <a:pt x="3" y="51"/>
                    <a:pt x="7" y="49"/>
                  </a:cubicBezTo>
                  <a:cubicBezTo>
                    <a:pt x="7" y="49"/>
                    <a:pt x="7" y="49"/>
                    <a:pt x="7" y="49"/>
                  </a:cubicBezTo>
                  <a:cubicBezTo>
                    <a:pt x="123" y="1"/>
                    <a:pt x="123" y="1"/>
                    <a:pt x="123" y="1"/>
                  </a:cubicBezTo>
                  <a:cubicBezTo>
                    <a:pt x="123" y="1"/>
                    <a:pt x="123" y="1"/>
                    <a:pt x="123" y="1"/>
                  </a:cubicBezTo>
                  <a:cubicBezTo>
                    <a:pt x="123" y="1"/>
                    <a:pt x="123" y="1"/>
                    <a:pt x="123" y="1"/>
                  </a:cubicBezTo>
                  <a:cubicBezTo>
                    <a:pt x="123" y="1"/>
                    <a:pt x="123" y="1"/>
                    <a:pt x="123" y="1"/>
                  </a:cubicBezTo>
                  <a:cubicBezTo>
                    <a:pt x="125" y="0"/>
                    <a:pt x="126" y="0"/>
                    <a:pt x="128" y="0"/>
                  </a:cubicBezTo>
                  <a:cubicBezTo>
                    <a:pt x="130" y="0"/>
                    <a:pt x="131" y="0"/>
                    <a:pt x="133" y="1"/>
                  </a:cubicBezTo>
                  <a:cubicBezTo>
                    <a:pt x="133" y="1"/>
                    <a:pt x="133" y="1"/>
                    <a:pt x="133" y="1"/>
                  </a:cubicBezTo>
                  <a:cubicBezTo>
                    <a:pt x="133" y="1"/>
                    <a:pt x="133" y="1"/>
                    <a:pt x="133" y="1"/>
                  </a:cubicBezTo>
                  <a:cubicBezTo>
                    <a:pt x="133" y="1"/>
                    <a:pt x="133" y="1"/>
                    <a:pt x="133" y="1"/>
                  </a:cubicBezTo>
                  <a:cubicBezTo>
                    <a:pt x="249" y="49"/>
                    <a:pt x="249" y="49"/>
                    <a:pt x="249" y="49"/>
                  </a:cubicBezTo>
                  <a:cubicBezTo>
                    <a:pt x="249" y="49"/>
                    <a:pt x="249" y="49"/>
                    <a:pt x="249" y="49"/>
                  </a:cubicBezTo>
                  <a:cubicBezTo>
                    <a:pt x="253" y="51"/>
                    <a:pt x="256" y="55"/>
                    <a:pt x="256" y="60"/>
                  </a:cubicBezTo>
                  <a:cubicBezTo>
                    <a:pt x="256" y="65"/>
                    <a:pt x="253" y="69"/>
                    <a:pt x="249" y="71"/>
                  </a:cubicBezTo>
                  <a:moveTo>
                    <a:pt x="12" y="152"/>
                  </a:moveTo>
                  <a:cubicBezTo>
                    <a:pt x="14" y="152"/>
                    <a:pt x="15" y="152"/>
                    <a:pt x="17" y="153"/>
                  </a:cubicBezTo>
                  <a:cubicBezTo>
                    <a:pt x="17" y="153"/>
                    <a:pt x="17" y="153"/>
                    <a:pt x="17" y="153"/>
                  </a:cubicBezTo>
                  <a:cubicBezTo>
                    <a:pt x="17" y="153"/>
                    <a:pt x="17" y="153"/>
                    <a:pt x="17" y="153"/>
                  </a:cubicBezTo>
                  <a:cubicBezTo>
                    <a:pt x="17" y="153"/>
                    <a:pt x="17" y="153"/>
                    <a:pt x="17" y="153"/>
                  </a:cubicBezTo>
                  <a:cubicBezTo>
                    <a:pt x="128" y="199"/>
                    <a:pt x="128" y="199"/>
                    <a:pt x="128" y="199"/>
                  </a:cubicBezTo>
                  <a:cubicBezTo>
                    <a:pt x="239" y="153"/>
                    <a:pt x="239" y="153"/>
                    <a:pt x="239" y="153"/>
                  </a:cubicBezTo>
                  <a:cubicBezTo>
                    <a:pt x="239" y="153"/>
                    <a:pt x="239" y="153"/>
                    <a:pt x="239" y="153"/>
                  </a:cubicBezTo>
                  <a:cubicBezTo>
                    <a:pt x="239" y="153"/>
                    <a:pt x="239" y="153"/>
                    <a:pt x="239" y="153"/>
                  </a:cubicBezTo>
                  <a:cubicBezTo>
                    <a:pt x="239" y="153"/>
                    <a:pt x="239" y="153"/>
                    <a:pt x="239" y="153"/>
                  </a:cubicBezTo>
                  <a:cubicBezTo>
                    <a:pt x="241" y="152"/>
                    <a:pt x="242" y="152"/>
                    <a:pt x="244" y="152"/>
                  </a:cubicBezTo>
                  <a:cubicBezTo>
                    <a:pt x="251" y="152"/>
                    <a:pt x="256" y="157"/>
                    <a:pt x="256" y="164"/>
                  </a:cubicBezTo>
                  <a:cubicBezTo>
                    <a:pt x="256" y="169"/>
                    <a:pt x="253" y="173"/>
                    <a:pt x="249" y="175"/>
                  </a:cubicBezTo>
                  <a:cubicBezTo>
                    <a:pt x="249" y="175"/>
                    <a:pt x="249" y="175"/>
                    <a:pt x="249" y="175"/>
                  </a:cubicBezTo>
                  <a:cubicBezTo>
                    <a:pt x="133" y="223"/>
                    <a:pt x="133" y="223"/>
                    <a:pt x="133" y="223"/>
                  </a:cubicBezTo>
                  <a:cubicBezTo>
                    <a:pt x="133" y="223"/>
                    <a:pt x="133" y="223"/>
                    <a:pt x="133" y="223"/>
                  </a:cubicBezTo>
                  <a:cubicBezTo>
                    <a:pt x="133" y="223"/>
                    <a:pt x="133" y="223"/>
                    <a:pt x="133" y="223"/>
                  </a:cubicBezTo>
                  <a:cubicBezTo>
                    <a:pt x="133" y="223"/>
                    <a:pt x="133" y="223"/>
                    <a:pt x="133" y="223"/>
                  </a:cubicBezTo>
                  <a:cubicBezTo>
                    <a:pt x="131" y="224"/>
                    <a:pt x="130" y="224"/>
                    <a:pt x="128" y="224"/>
                  </a:cubicBezTo>
                  <a:cubicBezTo>
                    <a:pt x="126" y="224"/>
                    <a:pt x="125" y="224"/>
                    <a:pt x="123" y="223"/>
                  </a:cubicBezTo>
                  <a:cubicBezTo>
                    <a:pt x="123" y="223"/>
                    <a:pt x="123" y="223"/>
                    <a:pt x="123" y="223"/>
                  </a:cubicBezTo>
                  <a:cubicBezTo>
                    <a:pt x="123" y="223"/>
                    <a:pt x="123" y="223"/>
                    <a:pt x="123" y="223"/>
                  </a:cubicBezTo>
                  <a:cubicBezTo>
                    <a:pt x="123" y="223"/>
                    <a:pt x="123" y="223"/>
                    <a:pt x="123" y="223"/>
                  </a:cubicBezTo>
                  <a:cubicBezTo>
                    <a:pt x="7" y="175"/>
                    <a:pt x="7" y="175"/>
                    <a:pt x="7" y="175"/>
                  </a:cubicBezTo>
                  <a:cubicBezTo>
                    <a:pt x="7" y="175"/>
                    <a:pt x="7" y="175"/>
                    <a:pt x="7" y="175"/>
                  </a:cubicBezTo>
                  <a:cubicBezTo>
                    <a:pt x="3" y="173"/>
                    <a:pt x="0" y="169"/>
                    <a:pt x="0" y="164"/>
                  </a:cubicBezTo>
                  <a:cubicBezTo>
                    <a:pt x="0" y="157"/>
                    <a:pt x="5" y="152"/>
                    <a:pt x="12" y="152"/>
                  </a:cubicBezTo>
                </a:path>
              </a:pathLst>
            </a:custGeom>
            <a:solidFill>
              <a:schemeClr val="bg1"/>
            </a:solidFill>
            <a:ln>
              <a:noFill/>
            </a:ln>
          </p:spPr>
          <p:txBody>
            <a:bodyPr lIns="243797" tIns="121899" rIns="243797" bIns="121899"/>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a:ln>
                  <a:noFill/>
                </a:ln>
                <a:solidFill>
                  <a:srgbClr val="000000"/>
                </a:solidFill>
                <a:effectLst/>
                <a:uLnTx/>
                <a:uFillTx/>
                <a:latin typeface="Montserrat" panose="00000500000000000000" pitchFamily="2" charset="0"/>
              </a:endParaRPr>
            </a:p>
          </p:txBody>
        </p:sp>
        <p:sp>
          <p:nvSpPr>
            <p:cNvPr id="80" name="Freeform 66">
              <a:extLst>
                <a:ext uri="{FF2B5EF4-FFF2-40B4-BE49-F238E27FC236}">
                  <a16:creationId xmlns:a16="http://schemas.microsoft.com/office/drawing/2014/main" id="{AF63D439-39C7-4722-BB45-00B7292EA84C}"/>
                </a:ext>
              </a:extLst>
            </p:cNvPr>
            <p:cNvSpPr>
              <a:spLocks noEditPoints="1"/>
            </p:cNvSpPr>
            <p:nvPr/>
          </p:nvSpPr>
          <p:spPr bwMode="auto">
            <a:xfrm>
              <a:off x="5235655" y="3612751"/>
              <a:ext cx="1551341" cy="1618643"/>
            </a:xfrm>
            <a:custGeom>
              <a:avLst/>
              <a:gdLst>
                <a:gd name="T0" fmla="*/ 2147483646 w 55"/>
                <a:gd name="T1" fmla="*/ 2147483646 h 64"/>
                <a:gd name="T2" fmla="*/ 2147483646 w 55"/>
                <a:gd name="T3" fmla="*/ 2147483646 h 64"/>
                <a:gd name="T4" fmla="*/ 2147483646 w 55"/>
                <a:gd name="T5" fmla="*/ 2147483646 h 64"/>
                <a:gd name="T6" fmla="*/ 0 w 55"/>
                <a:gd name="T7" fmla="*/ 2147483646 h 64"/>
                <a:gd name="T8" fmla="*/ 0 w 55"/>
                <a:gd name="T9" fmla="*/ 2147483646 h 64"/>
                <a:gd name="T10" fmla="*/ 2147483646 w 55"/>
                <a:gd name="T11" fmla="*/ 0 h 64"/>
                <a:gd name="T12" fmla="*/ 2147483646 w 55"/>
                <a:gd name="T13" fmla="*/ 2147483646 h 64"/>
                <a:gd name="T14" fmla="*/ 2147483646 w 55"/>
                <a:gd name="T15" fmla="*/ 2147483646 h 64"/>
                <a:gd name="T16" fmla="*/ 2147483646 w 55"/>
                <a:gd name="T17" fmla="*/ 2147483646 h 64"/>
                <a:gd name="T18" fmla="*/ 2147483646 w 55"/>
                <a:gd name="T19" fmla="*/ 2147483646 h 64"/>
                <a:gd name="T20" fmla="*/ 0 w 55"/>
                <a:gd name="T21" fmla="*/ 2147483646 h 64"/>
                <a:gd name="T22" fmla="*/ 0 w 55"/>
                <a:gd name="T23" fmla="*/ 2147483646 h 64"/>
                <a:gd name="T24" fmla="*/ 2147483646 w 55"/>
                <a:gd name="T25" fmla="*/ 2147483646 h 64"/>
                <a:gd name="T26" fmla="*/ 2147483646 w 55"/>
                <a:gd name="T27" fmla="*/ 2147483646 h 64"/>
                <a:gd name="T28" fmla="*/ 2147483646 w 55"/>
                <a:gd name="T29" fmla="*/ 2147483646 h 64"/>
                <a:gd name="T30" fmla="*/ 2147483646 w 55"/>
                <a:gd name="T31" fmla="*/ 2147483646 h 64"/>
                <a:gd name="T32" fmla="*/ 2147483646 w 55"/>
                <a:gd name="T33" fmla="*/ 2147483646 h 64"/>
                <a:gd name="T34" fmla="*/ 0 w 55"/>
                <a:gd name="T35" fmla="*/ 2147483646 h 64"/>
                <a:gd name="T36" fmla="*/ 0 w 55"/>
                <a:gd name="T37" fmla="*/ 2147483646 h 64"/>
                <a:gd name="T38" fmla="*/ 2147483646 w 55"/>
                <a:gd name="T39" fmla="*/ 2147483646 h 64"/>
                <a:gd name="T40" fmla="*/ 2147483646 w 55"/>
                <a:gd name="T41" fmla="*/ 2147483646 h 64"/>
                <a:gd name="T42" fmla="*/ 2147483646 w 55"/>
                <a:gd name="T43" fmla="*/ 2147483646 h 64"/>
                <a:gd name="T44" fmla="*/ 2147483646 w 55"/>
                <a:gd name="T45" fmla="*/ 2147483646 h 64"/>
                <a:gd name="T46" fmla="*/ 2147483646 w 55"/>
                <a:gd name="T47" fmla="*/ 2147483646 h 64"/>
                <a:gd name="T48" fmla="*/ 0 w 55"/>
                <a:gd name="T49" fmla="*/ 2147483646 h 64"/>
                <a:gd name="T50" fmla="*/ 0 w 55"/>
                <a:gd name="T51" fmla="*/ 2147483646 h 64"/>
                <a:gd name="T52" fmla="*/ 2147483646 w 55"/>
                <a:gd name="T53" fmla="*/ 2147483646 h 64"/>
                <a:gd name="T54" fmla="*/ 2147483646 w 55"/>
                <a:gd name="T55" fmla="*/ 2147483646 h 6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55" h="64">
                  <a:moveTo>
                    <a:pt x="55" y="9"/>
                  </a:moveTo>
                  <a:cubicBezTo>
                    <a:pt x="55" y="14"/>
                    <a:pt x="55" y="14"/>
                    <a:pt x="55" y="14"/>
                  </a:cubicBezTo>
                  <a:cubicBezTo>
                    <a:pt x="55" y="19"/>
                    <a:pt x="42" y="23"/>
                    <a:pt x="27" y="23"/>
                  </a:cubicBezTo>
                  <a:cubicBezTo>
                    <a:pt x="12" y="23"/>
                    <a:pt x="0" y="19"/>
                    <a:pt x="0" y="14"/>
                  </a:cubicBezTo>
                  <a:cubicBezTo>
                    <a:pt x="0" y="9"/>
                    <a:pt x="0" y="9"/>
                    <a:pt x="0" y="9"/>
                  </a:cubicBezTo>
                  <a:cubicBezTo>
                    <a:pt x="0" y="4"/>
                    <a:pt x="12" y="0"/>
                    <a:pt x="27" y="0"/>
                  </a:cubicBezTo>
                  <a:cubicBezTo>
                    <a:pt x="42" y="0"/>
                    <a:pt x="55" y="4"/>
                    <a:pt x="55" y="9"/>
                  </a:cubicBezTo>
                  <a:close/>
                  <a:moveTo>
                    <a:pt x="55" y="21"/>
                  </a:moveTo>
                  <a:cubicBezTo>
                    <a:pt x="55" y="27"/>
                    <a:pt x="55" y="27"/>
                    <a:pt x="55" y="27"/>
                  </a:cubicBezTo>
                  <a:cubicBezTo>
                    <a:pt x="55" y="32"/>
                    <a:pt x="42" y="37"/>
                    <a:pt x="27" y="37"/>
                  </a:cubicBezTo>
                  <a:cubicBezTo>
                    <a:pt x="12" y="37"/>
                    <a:pt x="0" y="32"/>
                    <a:pt x="0" y="27"/>
                  </a:cubicBezTo>
                  <a:cubicBezTo>
                    <a:pt x="0" y="21"/>
                    <a:pt x="0" y="21"/>
                    <a:pt x="0" y="21"/>
                  </a:cubicBezTo>
                  <a:cubicBezTo>
                    <a:pt x="6" y="25"/>
                    <a:pt x="16" y="27"/>
                    <a:pt x="27" y="27"/>
                  </a:cubicBezTo>
                  <a:cubicBezTo>
                    <a:pt x="38" y="27"/>
                    <a:pt x="49" y="25"/>
                    <a:pt x="55" y="21"/>
                  </a:cubicBezTo>
                  <a:close/>
                  <a:moveTo>
                    <a:pt x="55" y="35"/>
                  </a:moveTo>
                  <a:cubicBezTo>
                    <a:pt x="55" y="41"/>
                    <a:pt x="55" y="41"/>
                    <a:pt x="55" y="41"/>
                  </a:cubicBezTo>
                  <a:cubicBezTo>
                    <a:pt x="55" y="46"/>
                    <a:pt x="42" y="50"/>
                    <a:pt x="27" y="50"/>
                  </a:cubicBezTo>
                  <a:cubicBezTo>
                    <a:pt x="12" y="50"/>
                    <a:pt x="0" y="46"/>
                    <a:pt x="0" y="41"/>
                  </a:cubicBezTo>
                  <a:cubicBezTo>
                    <a:pt x="0" y="35"/>
                    <a:pt x="0" y="35"/>
                    <a:pt x="0" y="35"/>
                  </a:cubicBezTo>
                  <a:cubicBezTo>
                    <a:pt x="6" y="39"/>
                    <a:pt x="16" y="41"/>
                    <a:pt x="27" y="41"/>
                  </a:cubicBezTo>
                  <a:cubicBezTo>
                    <a:pt x="38" y="41"/>
                    <a:pt x="49" y="39"/>
                    <a:pt x="55" y="35"/>
                  </a:cubicBezTo>
                  <a:close/>
                  <a:moveTo>
                    <a:pt x="55" y="49"/>
                  </a:moveTo>
                  <a:cubicBezTo>
                    <a:pt x="55" y="55"/>
                    <a:pt x="55" y="55"/>
                    <a:pt x="55" y="55"/>
                  </a:cubicBezTo>
                  <a:cubicBezTo>
                    <a:pt x="55" y="60"/>
                    <a:pt x="42" y="64"/>
                    <a:pt x="27" y="64"/>
                  </a:cubicBezTo>
                  <a:cubicBezTo>
                    <a:pt x="12" y="64"/>
                    <a:pt x="0" y="60"/>
                    <a:pt x="0" y="55"/>
                  </a:cubicBezTo>
                  <a:cubicBezTo>
                    <a:pt x="0" y="49"/>
                    <a:pt x="0" y="49"/>
                    <a:pt x="0" y="49"/>
                  </a:cubicBezTo>
                  <a:cubicBezTo>
                    <a:pt x="6" y="53"/>
                    <a:pt x="16" y="55"/>
                    <a:pt x="27" y="55"/>
                  </a:cubicBezTo>
                  <a:cubicBezTo>
                    <a:pt x="38" y="55"/>
                    <a:pt x="49" y="53"/>
                    <a:pt x="55" y="49"/>
                  </a:cubicBezTo>
                  <a:close/>
                </a:path>
              </a:pathLst>
            </a:custGeom>
            <a:solidFill>
              <a:schemeClr val="bg1"/>
            </a:solidFill>
            <a:ln>
              <a:noFill/>
            </a:ln>
          </p:spPr>
          <p:txBody>
            <a:bodyPr lIns="243797" tIns="121899" rIns="243797" bIns="121899"/>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a:ln>
                  <a:noFill/>
                </a:ln>
                <a:solidFill>
                  <a:srgbClr val="000000"/>
                </a:solidFill>
                <a:effectLst/>
                <a:uLnTx/>
                <a:uFillTx/>
                <a:latin typeface="Montserrat" panose="00000500000000000000" pitchFamily="2" charset="0"/>
              </a:endParaRPr>
            </a:p>
          </p:txBody>
        </p:sp>
        <p:pic>
          <p:nvPicPr>
            <p:cNvPr id="4" name="Grafik 3" descr="Schild Häkchen mit einfarbiger Füllung">
              <a:extLst>
                <a:ext uri="{FF2B5EF4-FFF2-40B4-BE49-F238E27FC236}">
                  <a16:creationId xmlns:a16="http://schemas.microsoft.com/office/drawing/2014/main" id="{2E037BC1-7A19-491E-B7FE-E84114363AE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412827" y="4147266"/>
              <a:ext cx="457200" cy="457200"/>
            </a:xfrm>
            <a:prstGeom prst="rect">
              <a:avLst/>
            </a:prstGeom>
          </p:spPr>
        </p:pic>
      </p:grpSp>
      <p:sp>
        <p:nvSpPr>
          <p:cNvPr id="25" name="Rectangle 87">
            <a:extLst>
              <a:ext uri="{FF2B5EF4-FFF2-40B4-BE49-F238E27FC236}">
                <a16:creationId xmlns:a16="http://schemas.microsoft.com/office/drawing/2014/main" id="{06AF4028-BE0E-41D5-A683-4DCA26F594BA}"/>
              </a:ext>
            </a:extLst>
          </p:cNvPr>
          <p:cNvSpPr/>
          <p:nvPr/>
        </p:nvSpPr>
        <p:spPr>
          <a:xfrm>
            <a:off x="8560829" y="4152816"/>
            <a:ext cx="1599401" cy="862680"/>
          </a:xfrm>
          <a:prstGeom prst="rect">
            <a:avLst/>
          </a:prstGeom>
        </p:spPr>
        <p:txBody>
          <a:bodyPr wrap="square" lIns="137168" tIns="68584" rIns="137168" bIns="68584">
            <a:spAutoFit/>
          </a:bodyPr>
          <a:lstStyle/>
          <a:p>
            <a:pPr>
              <a:lnSpc>
                <a:spcPct val="120000"/>
              </a:lnSpc>
            </a:pPr>
            <a:r>
              <a:rPr lang="de-DE" sz="1000" dirty="0">
                <a:ea typeface="Open Sans" panose="020B0606030504020204" pitchFamily="34" charset="0"/>
              </a:rPr>
              <a:t>Sicherstellung der Datenverfügbarkeit, S3 </a:t>
            </a:r>
            <a:r>
              <a:rPr lang="de-DE" sz="1000" dirty="0" err="1">
                <a:ea typeface="Open Sans" panose="020B0606030504020204" pitchFamily="34" charset="0"/>
              </a:rPr>
              <a:t>Object</a:t>
            </a:r>
            <a:r>
              <a:rPr lang="de-DE" sz="1000" dirty="0">
                <a:ea typeface="Open Sans" panose="020B0606030504020204" pitchFamily="34" charset="0"/>
              </a:rPr>
              <a:t> Storage Schnittstelle</a:t>
            </a:r>
          </a:p>
        </p:txBody>
      </p:sp>
    </p:spTree>
    <p:extLst>
      <p:ext uri="{BB962C8B-B14F-4D97-AF65-F5344CB8AC3E}">
        <p14:creationId xmlns:p14="http://schemas.microsoft.com/office/powerpoint/2010/main" val="184588377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Shape 2117">
            <a:extLst>
              <a:ext uri="{FF2B5EF4-FFF2-40B4-BE49-F238E27FC236}">
                <a16:creationId xmlns:a16="http://schemas.microsoft.com/office/drawing/2014/main" id="{6A031FFE-86C4-4238-8239-90E0972092FC}"/>
              </a:ext>
            </a:extLst>
          </p:cNvPr>
          <p:cNvSpPr/>
          <p:nvPr/>
        </p:nvSpPr>
        <p:spPr>
          <a:xfrm>
            <a:off x="4565650" y="2346325"/>
            <a:ext cx="1638300" cy="3079750"/>
          </a:xfrm>
          <a:custGeom>
            <a:avLst/>
            <a:gdLst/>
            <a:ahLst/>
            <a:cxnLst>
              <a:cxn ang="0">
                <a:pos x="wd2" y="hd2"/>
              </a:cxn>
              <a:cxn ang="5400000">
                <a:pos x="wd2" y="hd2"/>
              </a:cxn>
              <a:cxn ang="10800000">
                <a:pos x="wd2" y="hd2"/>
              </a:cxn>
              <a:cxn ang="16200000">
                <a:pos x="wd2" y="hd2"/>
              </a:cxn>
            </a:cxnLst>
            <a:rect l="0" t="0" r="r" b="b"/>
            <a:pathLst>
              <a:path w="21600" h="21600" extrusionOk="0">
                <a:moveTo>
                  <a:pt x="20308" y="0"/>
                </a:moveTo>
                <a:cubicBezTo>
                  <a:pt x="14701" y="0"/>
                  <a:pt x="9624" y="1210"/>
                  <a:pt x="5949" y="3164"/>
                </a:cubicBezTo>
                <a:cubicBezTo>
                  <a:pt x="2319" y="5095"/>
                  <a:pt x="61" y="7754"/>
                  <a:pt x="6" y="10694"/>
                </a:cubicBezTo>
                <a:lnTo>
                  <a:pt x="1750" y="11487"/>
                </a:lnTo>
                <a:lnTo>
                  <a:pt x="2605" y="11097"/>
                </a:lnTo>
                <a:lnTo>
                  <a:pt x="1750" y="11489"/>
                </a:lnTo>
                <a:lnTo>
                  <a:pt x="6" y="10694"/>
                </a:lnTo>
                <a:cubicBezTo>
                  <a:pt x="6" y="10730"/>
                  <a:pt x="0" y="10765"/>
                  <a:pt x="0" y="10802"/>
                </a:cubicBezTo>
                <a:cubicBezTo>
                  <a:pt x="0" y="13784"/>
                  <a:pt x="2278" y="16485"/>
                  <a:pt x="5952" y="18439"/>
                </a:cubicBezTo>
                <a:cubicBezTo>
                  <a:pt x="9582" y="20370"/>
                  <a:pt x="14579" y="21571"/>
                  <a:pt x="20106" y="21600"/>
                </a:cubicBezTo>
                <a:lnTo>
                  <a:pt x="21600" y="20672"/>
                </a:lnTo>
                <a:lnTo>
                  <a:pt x="20237" y="19826"/>
                </a:lnTo>
                <a:cubicBezTo>
                  <a:pt x="15579" y="19816"/>
                  <a:pt x="11363" y="18810"/>
                  <a:pt x="8307" y="17185"/>
                </a:cubicBezTo>
                <a:cubicBezTo>
                  <a:pt x="5236" y="15551"/>
                  <a:pt x="3338" y="13294"/>
                  <a:pt x="3338" y="10802"/>
                </a:cubicBezTo>
                <a:cubicBezTo>
                  <a:pt x="3338" y="10789"/>
                  <a:pt x="3338" y="10778"/>
                  <a:pt x="3338" y="10765"/>
                </a:cubicBezTo>
                <a:cubicBezTo>
                  <a:pt x="3338" y="10765"/>
                  <a:pt x="3338" y="10764"/>
                  <a:pt x="3338" y="10763"/>
                </a:cubicBezTo>
                <a:lnTo>
                  <a:pt x="3341" y="10763"/>
                </a:lnTo>
                <a:cubicBezTo>
                  <a:pt x="3360" y="8286"/>
                  <a:pt x="5252" y="6044"/>
                  <a:pt x="8307" y="4419"/>
                </a:cubicBezTo>
                <a:cubicBezTo>
                  <a:pt x="11379" y="2785"/>
                  <a:pt x="15622" y="1774"/>
                  <a:pt x="20308" y="1774"/>
                </a:cubicBezTo>
                <a:cubicBezTo>
                  <a:pt x="20333" y="1774"/>
                  <a:pt x="20356" y="1775"/>
                  <a:pt x="20380" y="1775"/>
                </a:cubicBezTo>
                <a:lnTo>
                  <a:pt x="19017" y="931"/>
                </a:lnTo>
                <a:lnTo>
                  <a:pt x="20511" y="3"/>
                </a:lnTo>
                <a:cubicBezTo>
                  <a:pt x="20443" y="3"/>
                  <a:pt x="20377" y="0"/>
                  <a:pt x="20308" y="0"/>
                </a:cubicBezTo>
                <a:close/>
              </a:path>
            </a:pathLst>
          </a:custGeom>
          <a:solidFill>
            <a:srgbClr val="E5E5E5"/>
          </a:solidFill>
          <a:ln w="12700" cap="flat">
            <a:noFill/>
            <a:miter lim="400000"/>
          </a:ln>
          <a:effectLst/>
        </p:spPr>
        <p:txBody>
          <a:bodyPr lIns="0" tIns="0" rIns="0" bIns="0" anchor="ctr"/>
          <a:lstStyle/>
          <a:p>
            <a:pPr defTabSz="219128" eaLnBrk="1" fontAlgn="auto" hangingPunct="1">
              <a:lnSpc>
                <a:spcPct val="110000"/>
              </a:lnSpc>
              <a:spcBef>
                <a:spcPts val="1126"/>
              </a:spcBef>
              <a:spcAft>
                <a:spcPts val="0"/>
              </a:spcAft>
              <a:defRPr sz="2000">
                <a:solidFill>
                  <a:srgbClr val="4C4C4C"/>
                </a:solidFill>
                <a:latin typeface="Helvetica Neue Light"/>
                <a:ea typeface="Helvetica Neue Light"/>
                <a:cs typeface="Helvetica Neue Light"/>
                <a:sym typeface="Helvetica Neue Light"/>
              </a:defRPr>
            </a:pPr>
            <a:endParaRPr lang="en-GB" sz="750">
              <a:solidFill>
                <a:srgbClr val="4C4C4C"/>
              </a:solidFill>
              <a:latin typeface="Helvetica Neue Light"/>
              <a:ea typeface="Arial Regular" charset="0"/>
              <a:cs typeface="Arial Regular" charset="0"/>
              <a:sym typeface="Helvetica Neue Light"/>
            </a:endParaRPr>
          </a:p>
        </p:txBody>
      </p:sp>
      <p:sp>
        <p:nvSpPr>
          <p:cNvPr id="61" name="Shape 2118">
            <a:extLst>
              <a:ext uri="{FF2B5EF4-FFF2-40B4-BE49-F238E27FC236}">
                <a16:creationId xmlns:a16="http://schemas.microsoft.com/office/drawing/2014/main" id="{1059BB78-83DE-4EFC-9417-994FD9ABBD75}"/>
              </a:ext>
            </a:extLst>
          </p:cNvPr>
          <p:cNvSpPr/>
          <p:nvPr/>
        </p:nvSpPr>
        <p:spPr>
          <a:xfrm>
            <a:off x="6008688" y="2346325"/>
            <a:ext cx="1638300" cy="3079750"/>
          </a:xfrm>
          <a:custGeom>
            <a:avLst/>
            <a:gdLst/>
            <a:ahLst/>
            <a:cxnLst>
              <a:cxn ang="0">
                <a:pos x="wd2" y="hd2"/>
              </a:cxn>
              <a:cxn ang="5400000">
                <a:pos x="wd2" y="hd2"/>
              </a:cxn>
              <a:cxn ang="10800000">
                <a:pos x="wd2" y="hd2"/>
              </a:cxn>
              <a:cxn ang="16200000">
                <a:pos x="wd2" y="hd2"/>
              </a:cxn>
            </a:cxnLst>
            <a:rect l="0" t="0" r="r" b="b"/>
            <a:pathLst>
              <a:path w="21600" h="21600" extrusionOk="0">
                <a:moveTo>
                  <a:pt x="1494" y="0"/>
                </a:moveTo>
                <a:lnTo>
                  <a:pt x="0" y="928"/>
                </a:lnTo>
                <a:lnTo>
                  <a:pt x="1363" y="1774"/>
                </a:lnTo>
                <a:cubicBezTo>
                  <a:pt x="6021" y="1784"/>
                  <a:pt x="10237" y="2790"/>
                  <a:pt x="13293" y="4415"/>
                </a:cubicBezTo>
                <a:cubicBezTo>
                  <a:pt x="16364" y="6049"/>
                  <a:pt x="18265" y="8306"/>
                  <a:pt x="18265" y="10798"/>
                </a:cubicBezTo>
                <a:cubicBezTo>
                  <a:pt x="18265" y="10811"/>
                  <a:pt x="18262" y="10822"/>
                  <a:pt x="18262" y="10835"/>
                </a:cubicBezTo>
                <a:lnTo>
                  <a:pt x="18262" y="10837"/>
                </a:lnTo>
                <a:lnTo>
                  <a:pt x="18259" y="10837"/>
                </a:lnTo>
                <a:cubicBezTo>
                  <a:pt x="18240" y="13314"/>
                  <a:pt x="16348" y="15556"/>
                  <a:pt x="13293" y="17181"/>
                </a:cubicBezTo>
                <a:cubicBezTo>
                  <a:pt x="10221" y="18815"/>
                  <a:pt x="5978" y="19826"/>
                  <a:pt x="1292" y="19826"/>
                </a:cubicBezTo>
                <a:cubicBezTo>
                  <a:pt x="1267" y="19826"/>
                  <a:pt x="1244" y="19825"/>
                  <a:pt x="1220" y="19825"/>
                </a:cubicBezTo>
                <a:lnTo>
                  <a:pt x="2583" y="20669"/>
                </a:lnTo>
                <a:lnTo>
                  <a:pt x="1089" y="21597"/>
                </a:lnTo>
                <a:cubicBezTo>
                  <a:pt x="1157" y="21597"/>
                  <a:pt x="1223" y="21600"/>
                  <a:pt x="1292" y="21600"/>
                </a:cubicBezTo>
                <a:cubicBezTo>
                  <a:pt x="6899" y="21600"/>
                  <a:pt x="11976" y="20390"/>
                  <a:pt x="15651" y="18436"/>
                </a:cubicBezTo>
                <a:cubicBezTo>
                  <a:pt x="19281" y="16505"/>
                  <a:pt x="21539" y="13846"/>
                  <a:pt x="21594" y="10906"/>
                </a:cubicBezTo>
                <a:cubicBezTo>
                  <a:pt x="21594" y="10870"/>
                  <a:pt x="21600" y="10835"/>
                  <a:pt x="21600" y="10798"/>
                </a:cubicBezTo>
                <a:cubicBezTo>
                  <a:pt x="21600" y="7816"/>
                  <a:pt x="19326" y="5115"/>
                  <a:pt x="15651" y="3161"/>
                </a:cubicBezTo>
                <a:cubicBezTo>
                  <a:pt x="12021" y="1230"/>
                  <a:pt x="7021" y="29"/>
                  <a:pt x="1494" y="0"/>
                </a:cubicBezTo>
                <a:close/>
              </a:path>
            </a:pathLst>
          </a:custGeom>
          <a:solidFill>
            <a:schemeClr val="tx2"/>
          </a:solidFill>
          <a:ln w="12700" cap="flat">
            <a:noFill/>
            <a:miter lim="400000"/>
          </a:ln>
          <a:effectLst/>
        </p:spPr>
        <p:txBody>
          <a:bodyPr lIns="0" tIns="0" rIns="0" bIns="0" anchor="ctr"/>
          <a:lstStyle/>
          <a:p>
            <a:pPr eaLnBrk="1" fontAlgn="auto" hangingPunct="1">
              <a:spcBef>
                <a:spcPts val="0"/>
              </a:spcBef>
              <a:spcAft>
                <a:spcPts val="0"/>
              </a:spcAft>
              <a:defRPr/>
            </a:pPr>
            <a:endParaRPr lang="en-GB" sz="1351">
              <a:latin typeface="+mn-lt"/>
            </a:endParaRPr>
          </a:p>
        </p:txBody>
      </p:sp>
      <p:sp>
        <p:nvSpPr>
          <p:cNvPr id="63" name="Shape 2119">
            <a:extLst>
              <a:ext uri="{FF2B5EF4-FFF2-40B4-BE49-F238E27FC236}">
                <a16:creationId xmlns:a16="http://schemas.microsoft.com/office/drawing/2014/main" id="{B0FE7D75-8918-4FA2-8AEC-5F066734D2E6}"/>
              </a:ext>
            </a:extLst>
          </p:cNvPr>
          <p:cNvSpPr/>
          <p:nvPr/>
        </p:nvSpPr>
        <p:spPr>
          <a:xfrm>
            <a:off x="4953000" y="2719388"/>
            <a:ext cx="2306638" cy="2300287"/>
          </a:xfrm>
          <a:custGeom>
            <a:avLst/>
            <a:gdLst/>
            <a:ahLst/>
            <a:cxnLst>
              <a:cxn ang="0">
                <a:pos x="wd2" y="hd2"/>
              </a:cxn>
              <a:cxn ang="5400000">
                <a:pos x="wd2" y="hd2"/>
              </a:cxn>
              <a:cxn ang="10800000">
                <a:pos x="wd2" y="hd2"/>
              </a:cxn>
              <a:cxn ang="16200000">
                <a:pos x="wd2" y="hd2"/>
              </a:cxn>
            </a:cxnLst>
            <a:rect l="0" t="0" r="r" b="b"/>
            <a:pathLst>
              <a:path w="21600" h="21600" extrusionOk="0">
                <a:moveTo>
                  <a:pt x="21600" y="10800"/>
                </a:moveTo>
                <a:cubicBezTo>
                  <a:pt x="21600" y="16765"/>
                  <a:pt x="16765" y="21600"/>
                  <a:pt x="10800" y="21600"/>
                </a:cubicBezTo>
                <a:cubicBezTo>
                  <a:pt x="4835" y="21600"/>
                  <a:pt x="0" y="16765"/>
                  <a:pt x="0" y="10800"/>
                </a:cubicBezTo>
                <a:cubicBezTo>
                  <a:pt x="0" y="4835"/>
                  <a:pt x="4835" y="0"/>
                  <a:pt x="10800" y="0"/>
                </a:cubicBezTo>
                <a:cubicBezTo>
                  <a:pt x="16765" y="0"/>
                  <a:pt x="21600" y="4835"/>
                  <a:pt x="21600" y="10800"/>
                </a:cubicBezTo>
                <a:close/>
              </a:path>
            </a:pathLst>
          </a:custGeom>
          <a:solidFill>
            <a:schemeClr val="accent1"/>
          </a:solidFill>
          <a:ln w="12700" cap="flat">
            <a:noFill/>
            <a:miter lim="400000"/>
          </a:ln>
          <a:effectLst/>
        </p:spPr>
        <p:txBody>
          <a:bodyPr lIns="0" tIns="0" rIns="0" bIns="0" anchor="ctr"/>
          <a:lstStyle/>
          <a:p>
            <a:pPr eaLnBrk="1" fontAlgn="auto" hangingPunct="1">
              <a:spcBef>
                <a:spcPts val="0"/>
              </a:spcBef>
              <a:spcAft>
                <a:spcPts val="0"/>
              </a:spcAft>
              <a:defRPr/>
            </a:pPr>
            <a:endParaRPr lang="en-GB" sz="1351">
              <a:solidFill>
                <a:schemeClr val="accent1"/>
              </a:solidFill>
              <a:latin typeface="+mn-lt"/>
            </a:endParaRPr>
          </a:p>
        </p:txBody>
      </p:sp>
      <p:sp>
        <p:nvSpPr>
          <p:cNvPr id="65" name="Shape 25474">
            <a:extLst>
              <a:ext uri="{FF2B5EF4-FFF2-40B4-BE49-F238E27FC236}">
                <a16:creationId xmlns:a16="http://schemas.microsoft.com/office/drawing/2014/main" id="{B4F7048C-6364-40EF-BE97-F968B6529D7D}"/>
              </a:ext>
            </a:extLst>
          </p:cNvPr>
          <p:cNvSpPr/>
          <p:nvPr/>
        </p:nvSpPr>
        <p:spPr>
          <a:xfrm>
            <a:off x="3900488" y="2044700"/>
            <a:ext cx="4406900" cy="2203450"/>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cubicBezTo>
                  <a:pt x="0" y="9671"/>
                  <a:pt x="4835" y="0"/>
                  <a:pt x="10800" y="0"/>
                </a:cubicBezTo>
                <a:cubicBezTo>
                  <a:pt x="16765" y="0"/>
                  <a:pt x="21600" y="9671"/>
                  <a:pt x="21600" y="21600"/>
                </a:cubicBezTo>
              </a:path>
            </a:pathLst>
          </a:custGeom>
          <a:noFill/>
          <a:ln w="57150" cap="flat" cmpd="sng">
            <a:solidFill>
              <a:schemeClr val="bg1">
                <a:lumMod val="85000"/>
              </a:schemeClr>
            </a:solidFill>
            <a:prstDash val="solid"/>
            <a:miter lim="400000"/>
          </a:ln>
          <a:effectLst/>
        </p:spPr>
        <p:txBody>
          <a:bodyPr lIns="14291" tIns="14291" rIns="14291" bIns="14291" anchor="ctr"/>
          <a:lstStyle/>
          <a:p>
            <a:pPr eaLnBrk="1" fontAlgn="auto" hangingPunct="1">
              <a:spcBef>
                <a:spcPts val="0"/>
              </a:spcBef>
              <a:spcAft>
                <a:spcPts val="0"/>
              </a:spcAft>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lang="en-GB" sz="1126">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88" name="Rectangle 87">
            <a:extLst>
              <a:ext uri="{FF2B5EF4-FFF2-40B4-BE49-F238E27FC236}">
                <a16:creationId xmlns:a16="http://schemas.microsoft.com/office/drawing/2014/main" id="{6B91C0A4-851D-40B7-9C45-D08433B5E052}"/>
              </a:ext>
            </a:extLst>
          </p:cNvPr>
          <p:cNvSpPr/>
          <p:nvPr/>
        </p:nvSpPr>
        <p:spPr>
          <a:xfrm>
            <a:off x="8112125" y="2319338"/>
            <a:ext cx="3594100" cy="640436"/>
          </a:xfrm>
          <a:prstGeom prst="rect">
            <a:avLst/>
          </a:prstGeom>
        </p:spPr>
        <p:txBody>
          <a:bodyPr lIns="68584" tIns="34292" rIns="68584" bIns="34292">
            <a:spAutoFit/>
          </a:bodyPr>
          <a:lstStyle/>
          <a:p>
            <a:pPr eaLnBrk="1" fontAlgn="auto" hangingPunct="1">
              <a:lnSpc>
                <a:spcPct val="120000"/>
              </a:lnSpc>
              <a:spcBef>
                <a:spcPts val="0"/>
              </a:spcBef>
              <a:spcAft>
                <a:spcPts val="0"/>
              </a:spcAft>
              <a:defRPr/>
            </a:pPr>
            <a:r>
              <a:rPr lang="en-GB" altLang="en-US" sz="1600" dirty="0">
                <a:latin typeface="+mn-lt"/>
                <a:ea typeface="Open Sans" panose="020B0606030504020204" pitchFamily="34" charset="0"/>
              </a:rPr>
              <a:t>Users &amp; </a:t>
            </a:r>
            <a:r>
              <a:rPr lang="en-GB" altLang="en-US" sz="1600" dirty="0" err="1">
                <a:latin typeface="+mn-lt"/>
                <a:ea typeface="Open Sans" panose="020B0606030504020204" pitchFamily="34" charset="0"/>
              </a:rPr>
              <a:t>Rollenmanagement</a:t>
            </a:r>
            <a:r>
              <a:rPr lang="en-GB" altLang="en-US" sz="1600" dirty="0">
                <a:latin typeface="+mn-lt"/>
                <a:ea typeface="Open Sans" panose="020B0606030504020204" pitchFamily="34" charset="0"/>
              </a:rPr>
              <a:t>, User </a:t>
            </a:r>
            <a:r>
              <a:rPr lang="en-GB" altLang="en-US" sz="1600" dirty="0" err="1">
                <a:latin typeface="+mn-lt"/>
                <a:ea typeface="Open Sans" panose="020B0606030504020204" pitchFamily="34" charset="0"/>
              </a:rPr>
              <a:t>Rechte</a:t>
            </a:r>
            <a:r>
              <a:rPr lang="en-GB" altLang="en-US" sz="1600" dirty="0">
                <a:latin typeface="+mn-lt"/>
                <a:ea typeface="Open Sans" panose="020B0606030504020204" pitchFamily="34" charset="0"/>
              </a:rPr>
              <a:t> </a:t>
            </a:r>
            <a:r>
              <a:rPr lang="en-GB" altLang="en-US" sz="1600" dirty="0" err="1">
                <a:latin typeface="+mn-lt"/>
                <a:ea typeface="Open Sans" panose="020B0606030504020204" pitchFamily="34" charset="0"/>
              </a:rPr>
              <a:t>integriert</a:t>
            </a:r>
            <a:r>
              <a:rPr lang="en-GB" altLang="en-US" sz="1600" dirty="0">
                <a:latin typeface="+mn-lt"/>
                <a:ea typeface="Open Sans" panose="020B0606030504020204" pitchFamily="34" charset="0"/>
              </a:rPr>
              <a:t>; security policies</a:t>
            </a:r>
            <a:endParaRPr lang="en-GB" sz="1600" dirty="0">
              <a:latin typeface="+mn-lt"/>
              <a:ea typeface="Open Sans" panose="020B0606030504020204" pitchFamily="34" charset="0"/>
            </a:endParaRPr>
          </a:p>
        </p:txBody>
      </p:sp>
      <p:sp>
        <p:nvSpPr>
          <p:cNvPr id="51207" name="Rectangle 88">
            <a:extLst>
              <a:ext uri="{FF2B5EF4-FFF2-40B4-BE49-F238E27FC236}">
                <a16:creationId xmlns:a16="http://schemas.microsoft.com/office/drawing/2014/main" id="{865C7A21-8949-4AE5-8B11-2240B3BCF2A8}"/>
              </a:ext>
            </a:extLst>
          </p:cNvPr>
          <p:cNvSpPr>
            <a:spLocks noChangeArrowheads="1"/>
          </p:cNvSpPr>
          <p:nvPr/>
        </p:nvSpPr>
        <p:spPr bwMode="auto">
          <a:xfrm>
            <a:off x="8075613" y="1928813"/>
            <a:ext cx="1392056" cy="5105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8584" tIns="34292" rIns="68584" bIns="34292">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eaLnBrk="1" hangingPunct="1">
              <a:lnSpc>
                <a:spcPct val="130000"/>
              </a:lnSpc>
            </a:pPr>
            <a:r>
              <a:rPr lang="en-GB" altLang="en-US" sz="2400" dirty="0" err="1">
                <a:solidFill>
                  <a:schemeClr val="accent1"/>
                </a:solidFill>
                <a:cs typeface="Open Sans" panose="020B0606030504020204" pitchFamily="34" charset="0"/>
              </a:rPr>
              <a:t>Sicherheit</a:t>
            </a:r>
            <a:endParaRPr lang="en-GB" altLang="en-US" sz="2400" dirty="0">
              <a:solidFill>
                <a:schemeClr val="accent1"/>
              </a:solidFill>
              <a:cs typeface="Open Sans" panose="020B0606030504020204" pitchFamily="34" charset="0"/>
            </a:endParaRPr>
          </a:p>
        </p:txBody>
      </p:sp>
      <p:sp>
        <p:nvSpPr>
          <p:cNvPr id="90" name="Rectangle 89">
            <a:extLst>
              <a:ext uri="{FF2B5EF4-FFF2-40B4-BE49-F238E27FC236}">
                <a16:creationId xmlns:a16="http://schemas.microsoft.com/office/drawing/2014/main" id="{3D95C593-2101-4BE8-BB86-0F2B0F1ECB30}"/>
              </a:ext>
            </a:extLst>
          </p:cNvPr>
          <p:cNvSpPr/>
          <p:nvPr/>
        </p:nvSpPr>
        <p:spPr>
          <a:xfrm>
            <a:off x="8675688" y="3910013"/>
            <a:ext cx="2660650" cy="1231367"/>
          </a:xfrm>
          <a:prstGeom prst="rect">
            <a:avLst/>
          </a:prstGeom>
        </p:spPr>
        <p:txBody>
          <a:bodyPr lIns="68584" tIns="34292" rIns="68584" bIns="34292" anchor="t">
            <a:spAutoFit/>
          </a:bodyPr>
          <a:lstStyle/>
          <a:p>
            <a:pPr eaLnBrk="1" fontAlgn="auto" hangingPunct="1">
              <a:lnSpc>
                <a:spcPct val="120000"/>
              </a:lnSpc>
              <a:spcBef>
                <a:spcPts val="0"/>
              </a:spcBef>
              <a:spcAft>
                <a:spcPts val="0"/>
              </a:spcAft>
              <a:defRPr/>
            </a:pPr>
            <a:r>
              <a:rPr lang="en-GB" sz="1600" dirty="0" err="1">
                <a:latin typeface="+mn-lt"/>
                <a:ea typeface="Open Sans"/>
              </a:rPr>
              <a:t>Integrierte</a:t>
            </a:r>
            <a:r>
              <a:rPr lang="en-GB" sz="1600" dirty="0">
                <a:latin typeface="+mn-lt"/>
                <a:ea typeface="Open Sans"/>
              </a:rPr>
              <a:t> Module für Audits (</a:t>
            </a:r>
            <a:r>
              <a:rPr lang="en-GB" sz="1600" dirty="0" err="1">
                <a:latin typeface="+mn-lt"/>
                <a:ea typeface="Open Sans"/>
              </a:rPr>
              <a:t>Zugriffe</a:t>
            </a:r>
            <a:r>
              <a:rPr lang="en-GB" sz="1600" dirty="0">
                <a:latin typeface="+mn-lt"/>
                <a:ea typeface="Open Sans"/>
              </a:rPr>
              <a:t>, </a:t>
            </a:r>
            <a:r>
              <a:rPr lang="en-GB" sz="1600" dirty="0" err="1">
                <a:latin typeface="+mn-lt"/>
                <a:ea typeface="Open Sans"/>
              </a:rPr>
              <a:t>Aktionen</a:t>
            </a:r>
            <a:r>
              <a:rPr lang="en-GB" sz="1600" dirty="0">
                <a:latin typeface="+mn-lt"/>
                <a:ea typeface="Open Sans"/>
              </a:rPr>
              <a:t>, </a:t>
            </a:r>
            <a:r>
              <a:rPr lang="en-GB" sz="1600" dirty="0" err="1">
                <a:latin typeface="+mn-lt"/>
                <a:ea typeface="Open Sans"/>
              </a:rPr>
              <a:t>Versand</a:t>
            </a:r>
            <a:r>
              <a:rPr lang="en-GB" sz="1600" dirty="0">
                <a:latin typeface="+mn-lt"/>
                <a:ea typeface="Open Sans"/>
              </a:rPr>
              <a:t>, </a:t>
            </a:r>
            <a:r>
              <a:rPr lang="en-GB" sz="1600" dirty="0" err="1">
                <a:latin typeface="+mn-lt"/>
                <a:ea typeface="Open Sans"/>
              </a:rPr>
              <a:t>Empfänger</a:t>
            </a:r>
            <a:r>
              <a:rPr lang="en-GB" sz="1600" dirty="0">
                <a:latin typeface="+mn-lt"/>
                <a:ea typeface="Open Sans"/>
              </a:rPr>
              <a:t> etc....) </a:t>
            </a:r>
          </a:p>
          <a:p>
            <a:pPr eaLnBrk="1" fontAlgn="auto" hangingPunct="1">
              <a:lnSpc>
                <a:spcPct val="120000"/>
              </a:lnSpc>
              <a:spcBef>
                <a:spcPts val="0"/>
              </a:spcBef>
              <a:spcAft>
                <a:spcPts val="0"/>
              </a:spcAft>
              <a:defRPr/>
            </a:pPr>
            <a:endParaRPr lang="en-GB" sz="1600" dirty="0">
              <a:latin typeface="+mn-lt"/>
              <a:ea typeface="Open Sans" panose="020B0606030504020204" pitchFamily="34" charset="0"/>
            </a:endParaRPr>
          </a:p>
        </p:txBody>
      </p:sp>
      <p:sp>
        <p:nvSpPr>
          <p:cNvPr id="51209" name="Rectangle 90">
            <a:extLst>
              <a:ext uri="{FF2B5EF4-FFF2-40B4-BE49-F238E27FC236}">
                <a16:creationId xmlns:a16="http://schemas.microsoft.com/office/drawing/2014/main" id="{2205C3BD-673A-41B1-A540-1A48936F968D}"/>
              </a:ext>
            </a:extLst>
          </p:cNvPr>
          <p:cNvSpPr>
            <a:spLocks noChangeArrowheads="1"/>
          </p:cNvSpPr>
          <p:nvPr/>
        </p:nvSpPr>
        <p:spPr bwMode="auto">
          <a:xfrm>
            <a:off x="8637588" y="3519488"/>
            <a:ext cx="2472288" cy="5105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8584" tIns="34292" rIns="68584" bIns="34292" anchor="t">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eaLnBrk="1" hangingPunct="1">
              <a:lnSpc>
                <a:spcPct val="130000"/>
              </a:lnSpc>
            </a:pPr>
            <a:r>
              <a:rPr lang="en-GB" altLang="en-US" sz="2400" dirty="0" err="1">
                <a:solidFill>
                  <a:schemeClr val="accent1"/>
                </a:solidFill>
                <a:latin typeface="Calibri"/>
                <a:cs typeface="Open Sans"/>
              </a:rPr>
              <a:t>Rückverfolgbarkeit</a:t>
            </a:r>
            <a:endParaRPr lang="en-GB" altLang="en-US" sz="2400" dirty="0">
              <a:solidFill>
                <a:schemeClr val="accent1"/>
              </a:solidFill>
              <a:cs typeface="Open Sans" panose="020B0606030504020204" pitchFamily="34" charset="0"/>
            </a:endParaRPr>
          </a:p>
        </p:txBody>
      </p:sp>
      <p:sp>
        <p:nvSpPr>
          <p:cNvPr id="92" name="Rectangle 91">
            <a:extLst>
              <a:ext uri="{FF2B5EF4-FFF2-40B4-BE49-F238E27FC236}">
                <a16:creationId xmlns:a16="http://schemas.microsoft.com/office/drawing/2014/main" id="{C591E928-FBF2-4D99-A060-63FC2E314ED6}"/>
              </a:ext>
            </a:extLst>
          </p:cNvPr>
          <p:cNvSpPr/>
          <p:nvPr/>
        </p:nvSpPr>
        <p:spPr>
          <a:xfrm>
            <a:off x="1608138" y="2212975"/>
            <a:ext cx="2508250" cy="1231367"/>
          </a:xfrm>
          <a:prstGeom prst="rect">
            <a:avLst/>
          </a:prstGeom>
        </p:spPr>
        <p:txBody>
          <a:bodyPr lIns="68584" tIns="34292" rIns="68584" bIns="34292">
            <a:spAutoFit/>
          </a:bodyPr>
          <a:lstStyle/>
          <a:p>
            <a:pPr algn="r" eaLnBrk="1" fontAlgn="auto" hangingPunct="1">
              <a:lnSpc>
                <a:spcPct val="120000"/>
              </a:lnSpc>
              <a:spcBef>
                <a:spcPts val="0"/>
              </a:spcBef>
              <a:spcAft>
                <a:spcPts val="0"/>
              </a:spcAft>
              <a:defRPr/>
            </a:pPr>
            <a:r>
              <a:rPr lang="en-GB" sz="1600" dirty="0">
                <a:latin typeface="+mn-lt"/>
                <a:ea typeface="Open Sans" panose="020B0606030504020204" pitchFamily="34" charset="0"/>
              </a:rPr>
              <a:t>PDF, PDF/A, JPEG, TIFF, XML, HTML </a:t>
            </a:r>
            <a:r>
              <a:rPr lang="en-GB" sz="1600" dirty="0" err="1">
                <a:latin typeface="+mn-lt"/>
                <a:ea typeface="Open Sans" panose="020B0606030504020204" pitchFamily="34" charset="0"/>
              </a:rPr>
              <a:t>Formate</a:t>
            </a:r>
            <a:r>
              <a:rPr lang="en-GB" sz="1600" dirty="0">
                <a:latin typeface="+mn-lt"/>
                <a:ea typeface="Open Sans" panose="020B0606030504020204" pitchFamily="34" charset="0"/>
              </a:rPr>
              <a:t>, </a:t>
            </a:r>
            <a:r>
              <a:rPr lang="en-GB" sz="1600" dirty="0" err="1">
                <a:latin typeface="+mn-lt"/>
                <a:ea typeface="Open Sans" panose="020B0606030504020204" pitchFamily="34" charset="0"/>
              </a:rPr>
              <a:t>qualifizierte</a:t>
            </a:r>
            <a:r>
              <a:rPr lang="en-GB" sz="1600" dirty="0">
                <a:latin typeface="+mn-lt"/>
                <a:ea typeface="Open Sans" panose="020B0606030504020204" pitchFamily="34" charset="0"/>
              </a:rPr>
              <a:t> </a:t>
            </a:r>
            <a:r>
              <a:rPr lang="en-GB" sz="1600" dirty="0" err="1">
                <a:latin typeface="+mn-lt"/>
                <a:ea typeface="Open Sans" panose="020B0606030504020204" pitchFamily="34" charset="0"/>
              </a:rPr>
              <a:t>Zeitstempel</a:t>
            </a:r>
            <a:r>
              <a:rPr lang="en-GB" sz="1600" dirty="0">
                <a:latin typeface="+mn-lt"/>
                <a:ea typeface="Open Sans" panose="020B0606030504020204" pitchFamily="34" charset="0"/>
              </a:rPr>
              <a:t>, </a:t>
            </a:r>
            <a:r>
              <a:rPr lang="en-GB" sz="1600" dirty="0" err="1">
                <a:latin typeface="+mn-lt"/>
                <a:ea typeface="Open Sans" panose="020B0606030504020204" pitchFamily="34" charset="0"/>
              </a:rPr>
              <a:t>dgitale</a:t>
            </a:r>
            <a:r>
              <a:rPr lang="en-GB" sz="1600" dirty="0">
                <a:latin typeface="+mn-lt"/>
                <a:ea typeface="Open Sans" panose="020B0606030504020204" pitchFamily="34" charset="0"/>
              </a:rPr>
              <a:t> </a:t>
            </a:r>
            <a:r>
              <a:rPr lang="en-GB" sz="1600" dirty="0" err="1">
                <a:latin typeface="+mn-lt"/>
                <a:ea typeface="Open Sans" panose="020B0606030504020204" pitchFamily="34" charset="0"/>
              </a:rPr>
              <a:t>Signaturen</a:t>
            </a:r>
            <a:endParaRPr lang="en-GB" sz="1600" dirty="0">
              <a:latin typeface="+mn-lt"/>
              <a:ea typeface="Open Sans" panose="020B0606030504020204" pitchFamily="34" charset="0"/>
            </a:endParaRPr>
          </a:p>
        </p:txBody>
      </p:sp>
      <p:sp>
        <p:nvSpPr>
          <p:cNvPr id="51211" name="Rectangle 92">
            <a:extLst>
              <a:ext uri="{FF2B5EF4-FFF2-40B4-BE49-F238E27FC236}">
                <a16:creationId xmlns:a16="http://schemas.microsoft.com/office/drawing/2014/main" id="{E89D5B2E-A358-4885-A94B-9DBF90152FAE}"/>
              </a:ext>
            </a:extLst>
          </p:cNvPr>
          <p:cNvSpPr>
            <a:spLocks noChangeArrowheads="1"/>
          </p:cNvSpPr>
          <p:nvPr/>
        </p:nvSpPr>
        <p:spPr bwMode="auto">
          <a:xfrm>
            <a:off x="2193225" y="1822450"/>
            <a:ext cx="1923163" cy="5105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8584" tIns="34292" rIns="68584" bIns="34292">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r" eaLnBrk="1" hangingPunct="1">
              <a:lnSpc>
                <a:spcPct val="130000"/>
              </a:lnSpc>
            </a:pPr>
            <a:r>
              <a:rPr lang="en-GB" altLang="en-US" sz="2400" dirty="0" err="1">
                <a:solidFill>
                  <a:schemeClr val="accent1"/>
                </a:solidFill>
                <a:cs typeface="Open Sans" panose="020B0606030504020204" pitchFamily="34" charset="0"/>
              </a:rPr>
              <a:t>Archivformate</a:t>
            </a:r>
            <a:endParaRPr lang="en-GB" altLang="en-US" sz="2400" dirty="0">
              <a:solidFill>
                <a:schemeClr val="accent1"/>
              </a:solidFill>
              <a:cs typeface="Open Sans" panose="020B0606030504020204" pitchFamily="34" charset="0"/>
            </a:endParaRPr>
          </a:p>
        </p:txBody>
      </p:sp>
      <p:sp>
        <p:nvSpPr>
          <p:cNvPr id="94" name="Rectangle 93">
            <a:extLst>
              <a:ext uri="{FF2B5EF4-FFF2-40B4-BE49-F238E27FC236}">
                <a16:creationId xmlns:a16="http://schemas.microsoft.com/office/drawing/2014/main" id="{5560B766-EFCF-47D0-A1F8-C22CA8B1FD4B}"/>
              </a:ext>
            </a:extLst>
          </p:cNvPr>
          <p:cNvSpPr/>
          <p:nvPr/>
        </p:nvSpPr>
        <p:spPr>
          <a:xfrm>
            <a:off x="925513" y="3943350"/>
            <a:ext cx="2632075" cy="935901"/>
          </a:xfrm>
          <a:prstGeom prst="rect">
            <a:avLst/>
          </a:prstGeom>
        </p:spPr>
        <p:txBody>
          <a:bodyPr lIns="68584" tIns="34292" rIns="68584" bIns="34292">
            <a:spAutoFit/>
          </a:bodyPr>
          <a:lstStyle/>
          <a:p>
            <a:pPr algn="r" eaLnBrk="1" fontAlgn="auto" hangingPunct="1">
              <a:lnSpc>
                <a:spcPct val="120000"/>
              </a:lnSpc>
              <a:spcBef>
                <a:spcPts val="0"/>
              </a:spcBef>
              <a:spcAft>
                <a:spcPts val="0"/>
              </a:spcAft>
              <a:defRPr/>
            </a:pPr>
            <a:r>
              <a:rPr lang="en-GB" sz="1600" dirty="0" err="1">
                <a:latin typeface="+mn-lt"/>
                <a:ea typeface="Open Sans" panose="020B0606030504020204" pitchFamily="34" charset="0"/>
              </a:rPr>
              <a:t>Hashwerte</a:t>
            </a:r>
            <a:r>
              <a:rPr lang="en-GB" sz="1600" dirty="0">
                <a:latin typeface="+mn-lt"/>
                <a:ea typeface="Open Sans" panose="020B0606030504020204" pitchFamily="34" charset="0"/>
              </a:rPr>
              <a:t> </a:t>
            </a:r>
            <a:r>
              <a:rPr lang="en-GB" sz="1600" dirty="0" err="1">
                <a:latin typeface="+mn-lt"/>
                <a:ea typeface="Open Sans" panose="020B0606030504020204" pitchFamily="34" charset="0"/>
              </a:rPr>
              <a:t>Zeitstempel</a:t>
            </a:r>
            <a:r>
              <a:rPr lang="en-GB" sz="1600" dirty="0">
                <a:latin typeface="+mn-lt"/>
                <a:ea typeface="Open Sans" panose="020B0606030504020204" pitchFamily="34" charset="0"/>
              </a:rPr>
              <a:t>, </a:t>
            </a:r>
            <a:r>
              <a:rPr lang="en-GB" sz="1600" dirty="0" err="1">
                <a:latin typeface="+mn-lt"/>
                <a:ea typeface="Open Sans" panose="020B0606030504020204" pitchFamily="34" charset="0"/>
              </a:rPr>
              <a:t>Nachweis</a:t>
            </a:r>
            <a:r>
              <a:rPr lang="en-GB" sz="1600" dirty="0">
                <a:latin typeface="+mn-lt"/>
                <a:ea typeface="Open Sans" panose="020B0606030504020204" pitchFamily="34" charset="0"/>
              </a:rPr>
              <a:t> der </a:t>
            </a:r>
            <a:r>
              <a:rPr lang="en-GB" sz="1600" dirty="0" err="1">
                <a:latin typeface="+mn-lt"/>
                <a:ea typeface="Open Sans" panose="020B0606030504020204" pitchFamily="34" charset="0"/>
              </a:rPr>
              <a:t>Originalität</a:t>
            </a:r>
            <a:r>
              <a:rPr lang="en-GB" sz="1600" dirty="0">
                <a:latin typeface="+mn-lt"/>
                <a:ea typeface="Open Sans" panose="020B0606030504020204" pitchFamily="34" charset="0"/>
              </a:rPr>
              <a:t> der </a:t>
            </a:r>
            <a:r>
              <a:rPr lang="en-GB" sz="1600" dirty="0" err="1">
                <a:latin typeface="+mn-lt"/>
                <a:ea typeface="Open Sans" panose="020B0606030504020204" pitchFamily="34" charset="0"/>
              </a:rPr>
              <a:t>Datenobjekte</a:t>
            </a:r>
            <a:r>
              <a:rPr lang="en-GB" sz="1600" dirty="0">
                <a:latin typeface="+mn-lt"/>
                <a:ea typeface="Open Sans" panose="020B0606030504020204" pitchFamily="34" charset="0"/>
              </a:rPr>
              <a:t>, </a:t>
            </a:r>
            <a:r>
              <a:rPr lang="en-GB" sz="1600" dirty="0" err="1">
                <a:latin typeface="+mn-lt"/>
                <a:ea typeface="Open Sans" panose="020B0606030504020204" pitchFamily="34" charset="0"/>
              </a:rPr>
              <a:t>Versionierung</a:t>
            </a:r>
            <a:endParaRPr lang="en-GB" sz="1600" dirty="0">
              <a:latin typeface="+mn-lt"/>
              <a:ea typeface="Open Sans" panose="020B0606030504020204" pitchFamily="34" charset="0"/>
            </a:endParaRPr>
          </a:p>
        </p:txBody>
      </p:sp>
      <p:sp>
        <p:nvSpPr>
          <p:cNvPr id="51213" name="Rectangle 94">
            <a:extLst>
              <a:ext uri="{FF2B5EF4-FFF2-40B4-BE49-F238E27FC236}">
                <a16:creationId xmlns:a16="http://schemas.microsoft.com/office/drawing/2014/main" id="{6DAE6C76-9577-47A0-AF7B-59B0F3EB5B86}"/>
              </a:ext>
            </a:extLst>
          </p:cNvPr>
          <p:cNvSpPr>
            <a:spLocks noChangeArrowheads="1"/>
          </p:cNvSpPr>
          <p:nvPr/>
        </p:nvSpPr>
        <p:spPr bwMode="auto">
          <a:xfrm>
            <a:off x="1599415" y="3552825"/>
            <a:ext cx="1958173" cy="5105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8584" tIns="34292" rIns="68584" bIns="34292">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r" eaLnBrk="1" hangingPunct="1">
              <a:lnSpc>
                <a:spcPct val="130000"/>
              </a:lnSpc>
            </a:pPr>
            <a:r>
              <a:rPr lang="en-GB" altLang="en-US" sz="2400" dirty="0" err="1">
                <a:solidFill>
                  <a:schemeClr val="accent1"/>
                </a:solidFill>
                <a:cs typeface="Open Sans" panose="020B0606030504020204" pitchFamily="34" charset="0"/>
              </a:rPr>
              <a:t>Datenintigrität</a:t>
            </a:r>
            <a:endParaRPr lang="en-GB" altLang="en-US" sz="2400" dirty="0">
              <a:solidFill>
                <a:schemeClr val="accent1"/>
              </a:solidFill>
              <a:cs typeface="Open Sans" panose="020B0606030504020204" pitchFamily="34" charset="0"/>
            </a:endParaRPr>
          </a:p>
        </p:txBody>
      </p:sp>
      <p:pic>
        <p:nvPicPr>
          <p:cNvPr id="51214" name="Picture 1">
            <a:extLst>
              <a:ext uri="{FF2B5EF4-FFF2-40B4-BE49-F238E27FC236}">
                <a16:creationId xmlns:a16="http://schemas.microsoft.com/office/drawing/2014/main" id="{7BED63CE-59C2-49B9-BFEC-4340F2715A2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67300" y="2819400"/>
            <a:ext cx="2082800" cy="2084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1215" name="Group 2">
            <a:extLst>
              <a:ext uri="{FF2B5EF4-FFF2-40B4-BE49-F238E27FC236}">
                <a16:creationId xmlns:a16="http://schemas.microsoft.com/office/drawing/2014/main" id="{7E7E25F1-524A-4C56-A3BD-CE14019A56D8}"/>
              </a:ext>
            </a:extLst>
          </p:cNvPr>
          <p:cNvGrpSpPr>
            <a:grpSpLocks/>
          </p:cNvGrpSpPr>
          <p:nvPr/>
        </p:nvGrpSpPr>
        <p:grpSpPr bwMode="auto">
          <a:xfrm>
            <a:off x="3692525" y="3538538"/>
            <a:ext cx="527050" cy="530225"/>
            <a:chOff x="7384338" y="7078355"/>
            <a:chExt cx="1055378" cy="1058753"/>
          </a:xfrm>
        </p:grpSpPr>
        <p:sp>
          <p:nvSpPr>
            <p:cNvPr id="51226" name="Shape 1869">
              <a:extLst>
                <a:ext uri="{FF2B5EF4-FFF2-40B4-BE49-F238E27FC236}">
                  <a16:creationId xmlns:a16="http://schemas.microsoft.com/office/drawing/2014/main" id="{023D5F46-D9D0-4494-8732-EAC11842FAB1}"/>
                </a:ext>
              </a:extLst>
            </p:cNvPr>
            <p:cNvSpPr>
              <a:spLocks/>
            </p:cNvSpPr>
            <p:nvPr/>
          </p:nvSpPr>
          <p:spPr bwMode="auto">
            <a:xfrm>
              <a:off x="7384338" y="7078355"/>
              <a:ext cx="1055378" cy="1058753"/>
            </a:xfrm>
            <a:custGeom>
              <a:avLst/>
              <a:gdLst>
                <a:gd name="T0" fmla="*/ 2147483646 w 19679"/>
                <a:gd name="T1" fmla="*/ 2147483646 h 19679"/>
                <a:gd name="T2" fmla="*/ 2147483646 w 19679"/>
                <a:gd name="T3" fmla="*/ 2147483646 h 19679"/>
                <a:gd name="T4" fmla="*/ 2147483646 w 19679"/>
                <a:gd name="T5" fmla="*/ 2147483646 h 19679"/>
                <a:gd name="T6" fmla="*/ 2147483646 w 19679"/>
                <a:gd name="T7" fmla="*/ 2147483646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path>
              </a:pathLst>
            </a:custGeom>
            <a:solidFill>
              <a:schemeClr val="accent1"/>
            </a:solidFill>
            <a:ln>
              <a:noFill/>
            </a:ln>
            <a:extLst>
              <a:ext uri="{91240B29-F687-4F45-9708-019B960494DF}">
                <a14:hiddenLine xmlns:a14="http://schemas.microsoft.com/office/drawing/2010/main" w="12700" cap="flat" cmpd="sng">
                  <a:solidFill>
                    <a:srgbClr val="000000"/>
                  </a:solidFill>
                  <a:miter lim="400000"/>
                  <a:headEnd/>
                  <a:tailEnd/>
                </a14:hiddenLine>
              </a:ext>
            </a:extLst>
          </p:spPr>
          <p:txBody>
            <a:bodyPr lIns="0" tIns="0" rIns="0" bIns="0" anchor="ctr"/>
            <a:lstStyle/>
            <a:p>
              <a:endParaRPr lang="en-GB"/>
            </a:p>
          </p:txBody>
        </p:sp>
        <p:sp>
          <p:nvSpPr>
            <p:cNvPr id="51227" name="Freeform 26">
              <a:extLst>
                <a:ext uri="{FF2B5EF4-FFF2-40B4-BE49-F238E27FC236}">
                  <a16:creationId xmlns:a16="http://schemas.microsoft.com/office/drawing/2014/main" id="{3554282B-B3B6-424C-808E-7F0D8042CB58}"/>
                </a:ext>
              </a:extLst>
            </p:cNvPr>
            <p:cNvSpPr>
              <a:spLocks noEditPoints="1"/>
            </p:cNvSpPr>
            <p:nvPr/>
          </p:nvSpPr>
          <p:spPr bwMode="auto">
            <a:xfrm>
              <a:off x="7632085" y="7326640"/>
              <a:ext cx="521857" cy="566136"/>
            </a:xfrm>
            <a:custGeom>
              <a:avLst/>
              <a:gdLst>
                <a:gd name="T0" fmla="*/ 2147483646 w 57"/>
                <a:gd name="T1" fmla="*/ 2147483646 h 62"/>
                <a:gd name="T2" fmla="*/ 2147483646 w 57"/>
                <a:gd name="T3" fmla="*/ 2147483646 h 62"/>
                <a:gd name="T4" fmla="*/ 0 w 57"/>
                <a:gd name="T5" fmla="*/ 2147483646 h 62"/>
                <a:gd name="T6" fmla="*/ 2147483646 w 57"/>
                <a:gd name="T7" fmla="*/ 2147483646 h 62"/>
                <a:gd name="T8" fmla="*/ 2147483646 w 57"/>
                <a:gd name="T9" fmla="*/ 2147483646 h 62"/>
                <a:gd name="T10" fmla="*/ 2147483646 w 57"/>
                <a:gd name="T11" fmla="*/ 2147483646 h 62"/>
                <a:gd name="T12" fmla="*/ 2147483646 w 57"/>
                <a:gd name="T13" fmla="*/ 2147483646 h 62"/>
                <a:gd name="T14" fmla="*/ 2147483646 w 57"/>
                <a:gd name="T15" fmla="*/ 2147483646 h 62"/>
                <a:gd name="T16" fmla="*/ 2147483646 w 57"/>
                <a:gd name="T17" fmla="*/ 2147483646 h 62"/>
                <a:gd name="T18" fmla="*/ 2147483646 w 57"/>
                <a:gd name="T19" fmla="*/ 2147483646 h 62"/>
                <a:gd name="T20" fmla="*/ 2147483646 w 57"/>
                <a:gd name="T21" fmla="*/ 2147483646 h 62"/>
                <a:gd name="T22" fmla="*/ 2147483646 w 57"/>
                <a:gd name="T23" fmla="*/ 2147483646 h 62"/>
                <a:gd name="T24" fmla="*/ 2147483646 w 57"/>
                <a:gd name="T25" fmla="*/ 2147483646 h 62"/>
                <a:gd name="T26" fmla="*/ 2147483646 w 57"/>
                <a:gd name="T27" fmla="*/ 2147483646 h 62"/>
                <a:gd name="T28" fmla="*/ 2147483646 w 57"/>
                <a:gd name="T29" fmla="*/ 2147483646 h 62"/>
                <a:gd name="T30" fmla="*/ 2147483646 w 57"/>
                <a:gd name="T31" fmla="*/ 2147483646 h 62"/>
                <a:gd name="T32" fmla="*/ 2147483646 w 57"/>
                <a:gd name="T33" fmla="*/ 2147483646 h 62"/>
                <a:gd name="T34" fmla="*/ 2147483646 w 57"/>
                <a:gd name="T35" fmla="*/ 2147483646 h 62"/>
                <a:gd name="T36" fmla="*/ 2147483646 w 57"/>
                <a:gd name="T37" fmla="*/ 2147483646 h 62"/>
                <a:gd name="T38" fmla="*/ 2147483646 w 57"/>
                <a:gd name="T39" fmla="*/ 2147483646 h 62"/>
                <a:gd name="T40" fmla="*/ 2147483646 w 57"/>
                <a:gd name="T41" fmla="*/ 2147483646 h 62"/>
                <a:gd name="T42" fmla="*/ 2147483646 w 57"/>
                <a:gd name="T43" fmla="*/ 2147483646 h 62"/>
                <a:gd name="T44" fmla="*/ 2147483646 w 57"/>
                <a:gd name="T45" fmla="*/ 2147483646 h 62"/>
                <a:gd name="T46" fmla="*/ 2147483646 w 57"/>
                <a:gd name="T47" fmla="*/ 2147483646 h 62"/>
                <a:gd name="T48" fmla="*/ 2147483646 w 57"/>
                <a:gd name="T49" fmla="*/ 2147483646 h 62"/>
                <a:gd name="T50" fmla="*/ 2147483646 w 57"/>
                <a:gd name="T51" fmla="*/ 2147483646 h 62"/>
                <a:gd name="T52" fmla="*/ 2147483646 w 57"/>
                <a:gd name="T53" fmla="*/ 2147483646 h 62"/>
                <a:gd name="T54" fmla="*/ 2147483646 w 57"/>
                <a:gd name="T55" fmla="*/ 2147483646 h 62"/>
                <a:gd name="T56" fmla="*/ 2147483646 w 57"/>
                <a:gd name="T57" fmla="*/ 2147483646 h 62"/>
                <a:gd name="T58" fmla="*/ 2147483646 w 57"/>
                <a:gd name="T59" fmla="*/ 2147483646 h 62"/>
                <a:gd name="T60" fmla="*/ 2147483646 w 57"/>
                <a:gd name="T61" fmla="*/ 2147483646 h 62"/>
                <a:gd name="T62" fmla="*/ 2147483646 w 57"/>
                <a:gd name="T63" fmla="*/ 2147483646 h 62"/>
                <a:gd name="T64" fmla="*/ 2147483646 w 57"/>
                <a:gd name="T65" fmla="*/ 2147483646 h 62"/>
                <a:gd name="T66" fmla="*/ 2147483646 w 57"/>
                <a:gd name="T67" fmla="*/ 2147483646 h 62"/>
                <a:gd name="T68" fmla="*/ 2147483646 w 57"/>
                <a:gd name="T69" fmla="*/ 2147483646 h 62"/>
                <a:gd name="T70" fmla="*/ 2147483646 w 57"/>
                <a:gd name="T71" fmla="*/ 2147483646 h 62"/>
                <a:gd name="T72" fmla="*/ 2147483646 w 57"/>
                <a:gd name="T73" fmla="*/ 2147483646 h 62"/>
                <a:gd name="T74" fmla="*/ 2147483646 w 57"/>
                <a:gd name="T75" fmla="*/ 2147483646 h 62"/>
                <a:gd name="T76" fmla="*/ 2147483646 w 57"/>
                <a:gd name="T77" fmla="*/ 2147483646 h 62"/>
                <a:gd name="T78" fmla="*/ 2147483646 w 57"/>
                <a:gd name="T79" fmla="*/ 2147483646 h 62"/>
                <a:gd name="T80" fmla="*/ 2147483646 w 57"/>
                <a:gd name="T81" fmla="*/ 2147483646 h 62"/>
                <a:gd name="T82" fmla="*/ 2147483646 w 57"/>
                <a:gd name="T83" fmla="*/ 2147483646 h 62"/>
                <a:gd name="T84" fmla="*/ 2147483646 w 57"/>
                <a:gd name="T85" fmla="*/ 0 h 62"/>
                <a:gd name="T86" fmla="*/ 2147483646 w 57"/>
                <a:gd name="T87" fmla="*/ 2147483646 h 62"/>
                <a:gd name="T88" fmla="*/ 2147483646 w 57"/>
                <a:gd name="T89" fmla="*/ 2147483646 h 6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57" h="62">
                  <a:moveTo>
                    <a:pt x="46" y="62"/>
                  </a:moveTo>
                  <a:cubicBezTo>
                    <a:pt x="11" y="62"/>
                    <a:pt x="11" y="62"/>
                    <a:pt x="11" y="62"/>
                  </a:cubicBezTo>
                  <a:cubicBezTo>
                    <a:pt x="5" y="62"/>
                    <a:pt x="0" y="58"/>
                    <a:pt x="0" y="52"/>
                  </a:cubicBezTo>
                  <a:cubicBezTo>
                    <a:pt x="0" y="44"/>
                    <a:pt x="2" y="31"/>
                    <a:pt x="12" y="29"/>
                  </a:cubicBezTo>
                  <a:cubicBezTo>
                    <a:pt x="11" y="31"/>
                    <a:pt x="11" y="32"/>
                    <a:pt x="11" y="34"/>
                  </a:cubicBezTo>
                  <a:cubicBezTo>
                    <a:pt x="11" y="42"/>
                    <a:pt x="11" y="42"/>
                    <a:pt x="11" y="42"/>
                  </a:cubicBezTo>
                  <a:cubicBezTo>
                    <a:pt x="8" y="43"/>
                    <a:pt x="6" y="46"/>
                    <a:pt x="6" y="49"/>
                  </a:cubicBezTo>
                  <a:cubicBezTo>
                    <a:pt x="6" y="54"/>
                    <a:pt x="9" y="57"/>
                    <a:pt x="13" y="57"/>
                  </a:cubicBezTo>
                  <a:cubicBezTo>
                    <a:pt x="18" y="57"/>
                    <a:pt x="21" y="54"/>
                    <a:pt x="21" y="49"/>
                  </a:cubicBezTo>
                  <a:cubicBezTo>
                    <a:pt x="21" y="46"/>
                    <a:pt x="19" y="43"/>
                    <a:pt x="16" y="42"/>
                  </a:cubicBezTo>
                  <a:cubicBezTo>
                    <a:pt x="16" y="34"/>
                    <a:pt x="16" y="34"/>
                    <a:pt x="16" y="34"/>
                  </a:cubicBezTo>
                  <a:cubicBezTo>
                    <a:pt x="16" y="33"/>
                    <a:pt x="16" y="31"/>
                    <a:pt x="17" y="30"/>
                  </a:cubicBezTo>
                  <a:cubicBezTo>
                    <a:pt x="20" y="33"/>
                    <a:pt x="24" y="34"/>
                    <a:pt x="29" y="34"/>
                  </a:cubicBezTo>
                  <a:cubicBezTo>
                    <a:pt x="33" y="34"/>
                    <a:pt x="37" y="33"/>
                    <a:pt x="41" y="30"/>
                  </a:cubicBezTo>
                  <a:cubicBezTo>
                    <a:pt x="41" y="31"/>
                    <a:pt x="42" y="33"/>
                    <a:pt x="42" y="34"/>
                  </a:cubicBezTo>
                  <a:cubicBezTo>
                    <a:pt x="42" y="36"/>
                    <a:pt x="42" y="36"/>
                    <a:pt x="42" y="36"/>
                  </a:cubicBezTo>
                  <a:cubicBezTo>
                    <a:pt x="36" y="36"/>
                    <a:pt x="31" y="41"/>
                    <a:pt x="31" y="47"/>
                  </a:cubicBezTo>
                  <a:cubicBezTo>
                    <a:pt x="31" y="50"/>
                    <a:pt x="31" y="50"/>
                    <a:pt x="31" y="50"/>
                  </a:cubicBezTo>
                  <a:cubicBezTo>
                    <a:pt x="31" y="51"/>
                    <a:pt x="30" y="52"/>
                    <a:pt x="30" y="53"/>
                  </a:cubicBezTo>
                  <a:cubicBezTo>
                    <a:pt x="30" y="55"/>
                    <a:pt x="32" y="57"/>
                    <a:pt x="34" y="57"/>
                  </a:cubicBezTo>
                  <a:cubicBezTo>
                    <a:pt x="36" y="57"/>
                    <a:pt x="38" y="55"/>
                    <a:pt x="38" y="53"/>
                  </a:cubicBezTo>
                  <a:cubicBezTo>
                    <a:pt x="38" y="52"/>
                    <a:pt x="37" y="51"/>
                    <a:pt x="36" y="50"/>
                  </a:cubicBezTo>
                  <a:cubicBezTo>
                    <a:pt x="36" y="47"/>
                    <a:pt x="36" y="47"/>
                    <a:pt x="36" y="47"/>
                  </a:cubicBezTo>
                  <a:cubicBezTo>
                    <a:pt x="36" y="44"/>
                    <a:pt x="39" y="42"/>
                    <a:pt x="42" y="42"/>
                  </a:cubicBezTo>
                  <a:cubicBezTo>
                    <a:pt x="44" y="42"/>
                    <a:pt x="47" y="44"/>
                    <a:pt x="47" y="47"/>
                  </a:cubicBezTo>
                  <a:cubicBezTo>
                    <a:pt x="47" y="50"/>
                    <a:pt x="47" y="50"/>
                    <a:pt x="47" y="50"/>
                  </a:cubicBezTo>
                  <a:cubicBezTo>
                    <a:pt x="46" y="51"/>
                    <a:pt x="45" y="52"/>
                    <a:pt x="45" y="53"/>
                  </a:cubicBezTo>
                  <a:cubicBezTo>
                    <a:pt x="45" y="55"/>
                    <a:pt x="47" y="57"/>
                    <a:pt x="49" y="57"/>
                  </a:cubicBezTo>
                  <a:cubicBezTo>
                    <a:pt x="51" y="57"/>
                    <a:pt x="53" y="55"/>
                    <a:pt x="53" y="53"/>
                  </a:cubicBezTo>
                  <a:cubicBezTo>
                    <a:pt x="53" y="52"/>
                    <a:pt x="53" y="51"/>
                    <a:pt x="52" y="50"/>
                  </a:cubicBezTo>
                  <a:cubicBezTo>
                    <a:pt x="52" y="47"/>
                    <a:pt x="52" y="47"/>
                    <a:pt x="52" y="47"/>
                  </a:cubicBezTo>
                  <a:cubicBezTo>
                    <a:pt x="52" y="43"/>
                    <a:pt x="50" y="40"/>
                    <a:pt x="47" y="38"/>
                  </a:cubicBezTo>
                  <a:cubicBezTo>
                    <a:pt x="47" y="35"/>
                    <a:pt x="47" y="32"/>
                    <a:pt x="46" y="29"/>
                  </a:cubicBezTo>
                  <a:cubicBezTo>
                    <a:pt x="55" y="31"/>
                    <a:pt x="57" y="44"/>
                    <a:pt x="57" y="52"/>
                  </a:cubicBezTo>
                  <a:cubicBezTo>
                    <a:pt x="57" y="58"/>
                    <a:pt x="53" y="62"/>
                    <a:pt x="46" y="62"/>
                  </a:cubicBezTo>
                  <a:close/>
                  <a:moveTo>
                    <a:pt x="13" y="52"/>
                  </a:moveTo>
                  <a:cubicBezTo>
                    <a:pt x="12" y="52"/>
                    <a:pt x="11" y="51"/>
                    <a:pt x="11" y="49"/>
                  </a:cubicBezTo>
                  <a:cubicBezTo>
                    <a:pt x="11" y="48"/>
                    <a:pt x="12" y="47"/>
                    <a:pt x="13" y="47"/>
                  </a:cubicBezTo>
                  <a:cubicBezTo>
                    <a:pt x="15" y="47"/>
                    <a:pt x="16" y="48"/>
                    <a:pt x="16" y="49"/>
                  </a:cubicBezTo>
                  <a:cubicBezTo>
                    <a:pt x="16" y="51"/>
                    <a:pt x="15" y="52"/>
                    <a:pt x="13" y="52"/>
                  </a:cubicBezTo>
                  <a:close/>
                  <a:moveTo>
                    <a:pt x="29" y="31"/>
                  </a:moveTo>
                  <a:cubicBezTo>
                    <a:pt x="20" y="31"/>
                    <a:pt x="13" y="24"/>
                    <a:pt x="13" y="16"/>
                  </a:cubicBezTo>
                  <a:cubicBezTo>
                    <a:pt x="13" y="7"/>
                    <a:pt x="20" y="0"/>
                    <a:pt x="29" y="0"/>
                  </a:cubicBezTo>
                  <a:cubicBezTo>
                    <a:pt x="37" y="0"/>
                    <a:pt x="44" y="7"/>
                    <a:pt x="44" y="16"/>
                  </a:cubicBezTo>
                  <a:cubicBezTo>
                    <a:pt x="44" y="24"/>
                    <a:pt x="37" y="31"/>
                    <a:pt x="29" y="3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lIns="121899" tIns="60950" rIns="121899" bIns="60950"/>
            <a:lstStyle/>
            <a:p>
              <a:endParaRPr lang="en-GB"/>
            </a:p>
          </p:txBody>
        </p:sp>
      </p:grpSp>
      <p:grpSp>
        <p:nvGrpSpPr>
          <p:cNvPr id="51216" name="Group 5">
            <a:extLst>
              <a:ext uri="{FF2B5EF4-FFF2-40B4-BE49-F238E27FC236}">
                <a16:creationId xmlns:a16="http://schemas.microsoft.com/office/drawing/2014/main" id="{69FF85EF-768A-403E-BEDE-79F4B87F85BB}"/>
              </a:ext>
            </a:extLst>
          </p:cNvPr>
          <p:cNvGrpSpPr>
            <a:grpSpLocks/>
          </p:cNvGrpSpPr>
          <p:nvPr/>
        </p:nvGrpSpPr>
        <p:grpSpPr bwMode="auto">
          <a:xfrm>
            <a:off x="4333875" y="2355850"/>
            <a:ext cx="527050" cy="530225"/>
            <a:chOff x="8666926" y="4712952"/>
            <a:chExt cx="1055378" cy="1058753"/>
          </a:xfrm>
        </p:grpSpPr>
        <p:sp>
          <p:nvSpPr>
            <p:cNvPr id="51224" name="Shape 1869">
              <a:extLst>
                <a:ext uri="{FF2B5EF4-FFF2-40B4-BE49-F238E27FC236}">
                  <a16:creationId xmlns:a16="http://schemas.microsoft.com/office/drawing/2014/main" id="{D5A86B60-5DC0-4A3A-8BEF-20D114683CD1}"/>
                </a:ext>
              </a:extLst>
            </p:cNvPr>
            <p:cNvSpPr>
              <a:spLocks/>
            </p:cNvSpPr>
            <p:nvPr/>
          </p:nvSpPr>
          <p:spPr bwMode="auto">
            <a:xfrm>
              <a:off x="8666926" y="4712952"/>
              <a:ext cx="1055378" cy="1058753"/>
            </a:xfrm>
            <a:custGeom>
              <a:avLst/>
              <a:gdLst>
                <a:gd name="T0" fmla="*/ 2147483646 w 19679"/>
                <a:gd name="T1" fmla="*/ 2147483646 h 19679"/>
                <a:gd name="T2" fmla="*/ 2147483646 w 19679"/>
                <a:gd name="T3" fmla="*/ 2147483646 h 19679"/>
                <a:gd name="T4" fmla="*/ 2147483646 w 19679"/>
                <a:gd name="T5" fmla="*/ 2147483646 h 19679"/>
                <a:gd name="T6" fmla="*/ 2147483646 w 19679"/>
                <a:gd name="T7" fmla="*/ 2147483646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path>
              </a:pathLst>
            </a:custGeom>
            <a:solidFill>
              <a:schemeClr val="accent1"/>
            </a:solidFill>
            <a:ln>
              <a:noFill/>
            </a:ln>
            <a:extLst>
              <a:ext uri="{91240B29-F687-4F45-9708-019B960494DF}">
                <a14:hiddenLine xmlns:a14="http://schemas.microsoft.com/office/drawing/2010/main" w="12700" cap="flat" cmpd="sng">
                  <a:solidFill>
                    <a:srgbClr val="000000"/>
                  </a:solidFill>
                  <a:miter lim="400000"/>
                  <a:headEnd/>
                  <a:tailEnd/>
                </a14:hiddenLine>
              </a:ext>
            </a:extLst>
          </p:spPr>
          <p:txBody>
            <a:bodyPr lIns="0" tIns="0" rIns="0" bIns="0" anchor="ctr"/>
            <a:lstStyle/>
            <a:p>
              <a:endParaRPr lang="en-GB"/>
            </a:p>
          </p:txBody>
        </p:sp>
        <p:sp>
          <p:nvSpPr>
            <p:cNvPr id="51225" name="Freeform 141">
              <a:extLst>
                <a:ext uri="{FF2B5EF4-FFF2-40B4-BE49-F238E27FC236}">
                  <a16:creationId xmlns:a16="http://schemas.microsoft.com/office/drawing/2014/main" id="{158BC6F2-EDB5-405A-88CC-164E3932F504}"/>
                </a:ext>
              </a:extLst>
            </p:cNvPr>
            <p:cNvSpPr>
              <a:spLocks noEditPoints="1"/>
            </p:cNvSpPr>
            <p:nvPr/>
          </p:nvSpPr>
          <p:spPr bwMode="auto">
            <a:xfrm>
              <a:off x="8912977" y="4976695"/>
              <a:ext cx="490792" cy="532435"/>
            </a:xfrm>
            <a:custGeom>
              <a:avLst/>
              <a:gdLst>
                <a:gd name="T0" fmla="*/ 2147483646 w 57"/>
                <a:gd name="T1" fmla="*/ 2147483646 h 62"/>
                <a:gd name="T2" fmla="*/ 2147483646 w 57"/>
                <a:gd name="T3" fmla="*/ 2147483646 h 62"/>
                <a:gd name="T4" fmla="*/ 2147483646 w 57"/>
                <a:gd name="T5" fmla="*/ 2147483646 h 62"/>
                <a:gd name="T6" fmla="*/ 2147483646 w 57"/>
                <a:gd name="T7" fmla="*/ 2147483646 h 62"/>
                <a:gd name="T8" fmla="*/ 2147483646 w 57"/>
                <a:gd name="T9" fmla="*/ 2147483646 h 62"/>
                <a:gd name="T10" fmla="*/ 0 w 57"/>
                <a:gd name="T11" fmla="*/ 2147483646 h 62"/>
                <a:gd name="T12" fmla="*/ 0 w 57"/>
                <a:gd name="T13" fmla="*/ 2147483646 h 62"/>
                <a:gd name="T14" fmla="*/ 2147483646 w 57"/>
                <a:gd name="T15" fmla="*/ 2147483646 h 62"/>
                <a:gd name="T16" fmla="*/ 2147483646 w 57"/>
                <a:gd name="T17" fmla="*/ 2147483646 h 62"/>
                <a:gd name="T18" fmla="*/ 2147483646 w 57"/>
                <a:gd name="T19" fmla="*/ 0 h 62"/>
                <a:gd name="T20" fmla="*/ 2147483646 w 57"/>
                <a:gd name="T21" fmla="*/ 2147483646 h 62"/>
                <a:gd name="T22" fmla="*/ 2147483646 w 57"/>
                <a:gd name="T23" fmla="*/ 2147483646 h 62"/>
                <a:gd name="T24" fmla="*/ 2147483646 w 57"/>
                <a:gd name="T25" fmla="*/ 2147483646 h 62"/>
                <a:gd name="T26" fmla="*/ 2147483646 w 57"/>
                <a:gd name="T27" fmla="*/ 2147483646 h 62"/>
                <a:gd name="T28" fmla="*/ 2147483646 w 57"/>
                <a:gd name="T29" fmla="*/ 2147483646 h 62"/>
                <a:gd name="T30" fmla="*/ 2147483646 w 57"/>
                <a:gd name="T31" fmla="*/ 2147483646 h 62"/>
                <a:gd name="T32" fmla="*/ 2147483646 w 57"/>
                <a:gd name="T33" fmla="*/ 2147483646 h 62"/>
                <a:gd name="T34" fmla="*/ 2147483646 w 57"/>
                <a:gd name="T35" fmla="*/ 2147483646 h 62"/>
                <a:gd name="T36" fmla="*/ 2147483646 w 57"/>
                <a:gd name="T37" fmla="*/ 2147483646 h 62"/>
                <a:gd name="T38" fmla="*/ 2147483646 w 57"/>
                <a:gd name="T39" fmla="*/ 0 h 62"/>
                <a:gd name="T40" fmla="*/ 2147483646 w 57"/>
                <a:gd name="T41" fmla="*/ 2147483646 h 62"/>
                <a:gd name="T42" fmla="*/ 2147483646 w 57"/>
                <a:gd name="T43" fmla="*/ 2147483646 h 62"/>
                <a:gd name="T44" fmla="*/ 2147483646 w 57"/>
                <a:gd name="T45" fmla="*/ 2147483646 h 62"/>
                <a:gd name="T46" fmla="*/ 2147483646 w 57"/>
                <a:gd name="T47" fmla="*/ 2147483646 h 62"/>
                <a:gd name="T48" fmla="*/ 2147483646 w 57"/>
                <a:gd name="T49" fmla="*/ 2147483646 h 62"/>
                <a:gd name="T50" fmla="*/ 2147483646 w 57"/>
                <a:gd name="T51" fmla="*/ 2147483646 h 62"/>
                <a:gd name="T52" fmla="*/ 2147483646 w 57"/>
                <a:gd name="T53" fmla="*/ 2147483646 h 62"/>
                <a:gd name="T54" fmla="*/ 2147483646 w 57"/>
                <a:gd name="T55" fmla="*/ 2147483646 h 62"/>
                <a:gd name="T56" fmla="*/ 2147483646 w 57"/>
                <a:gd name="T57" fmla="*/ 2147483646 h 62"/>
                <a:gd name="T58" fmla="*/ 2147483646 w 57"/>
                <a:gd name="T59" fmla="*/ 2147483646 h 62"/>
                <a:gd name="T60" fmla="*/ 2147483646 w 57"/>
                <a:gd name="T61" fmla="*/ 2147483646 h 62"/>
                <a:gd name="T62" fmla="*/ 2147483646 w 57"/>
                <a:gd name="T63" fmla="*/ 2147483646 h 62"/>
                <a:gd name="T64" fmla="*/ 2147483646 w 57"/>
                <a:gd name="T65" fmla="*/ 2147483646 h 62"/>
                <a:gd name="T66" fmla="*/ 2147483646 w 57"/>
                <a:gd name="T67" fmla="*/ 2147483646 h 62"/>
                <a:gd name="T68" fmla="*/ 2147483646 w 57"/>
                <a:gd name="T69" fmla="*/ 2147483646 h 62"/>
                <a:gd name="T70" fmla="*/ 2147483646 w 57"/>
                <a:gd name="T71" fmla="*/ 2147483646 h 62"/>
                <a:gd name="T72" fmla="*/ 2147483646 w 57"/>
                <a:gd name="T73" fmla="*/ 2147483646 h 62"/>
                <a:gd name="T74" fmla="*/ 2147483646 w 57"/>
                <a:gd name="T75" fmla="*/ 2147483646 h 62"/>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57" h="62">
                  <a:moveTo>
                    <a:pt x="52" y="31"/>
                  </a:moveTo>
                  <a:cubicBezTo>
                    <a:pt x="52" y="47"/>
                    <a:pt x="52" y="47"/>
                    <a:pt x="52" y="47"/>
                  </a:cubicBezTo>
                  <a:cubicBezTo>
                    <a:pt x="52" y="55"/>
                    <a:pt x="44" y="62"/>
                    <a:pt x="34" y="62"/>
                  </a:cubicBezTo>
                  <a:cubicBezTo>
                    <a:pt x="24" y="62"/>
                    <a:pt x="16" y="55"/>
                    <a:pt x="16" y="47"/>
                  </a:cubicBezTo>
                  <a:cubicBezTo>
                    <a:pt x="16" y="41"/>
                    <a:pt x="16" y="41"/>
                    <a:pt x="16" y="41"/>
                  </a:cubicBezTo>
                  <a:cubicBezTo>
                    <a:pt x="7" y="40"/>
                    <a:pt x="0" y="34"/>
                    <a:pt x="0" y="26"/>
                  </a:cubicBezTo>
                  <a:cubicBezTo>
                    <a:pt x="0" y="6"/>
                    <a:pt x="0" y="6"/>
                    <a:pt x="0" y="6"/>
                  </a:cubicBezTo>
                  <a:cubicBezTo>
                    <a:pt x="0" y="4"/>
                    <a:pt x="2" y="3"/>
                    <a:pt x="3" y="3"/>
                  </a:cubicBezTo>
                  <a:cubicBezTo>
                    <a:pt x="3" y="3"/>
                    <a:pt x="3" y="3"/>
                    <a:pt x="4" y="3"/>
                  </a:cubicBezTo>
                  <a:cubicBezTo>
                    <a:pt x="5" y="2"/>
                    <a:pt x="6" y="0"/>
                    <a:pt x="8" y="0"/>
                  </a:cubicBezTo>
                  <a:cubicBezTo>
                    <a:pt x="11" y="0"/>
                    <a:pt x="13" y="3"/>
                    <a:pt x="13" y="6"/>
                  </a:cubicBezTo>
                  <a:cubicBezTo>
                    <a:pt x="13" y="8"/>
                    <a:pt x="11" y="11"/>
                    <a:pt x="8" y="11"/>
                  </a:cubicBezTo>
                  <a:cubicBezTo>
                    <a:pt x="7" y="11"/>
                    <a:pt x="6" y="10"/>
                    <a:pt x="6" y="10"/>
                  </a:cubicBezTo>
                  <a:cubicBezTo>
                    <a:pt x="6" y="26"/>
                    <a:pt x="6" y="26"/>
                    <a:pt x="6" y="26"/>
                  </a:cubicBezTo>
                  <a:cubicBezTo>
                    <a:pt x="6" y="32"/>
                    <a:pt x="11" y="36"/>
                    <a:pt x="18" y="36"/>
                  </a:cubicBezTo>
                  <a:cubicBezTo>
                    <a:pt x="26" y="36"/>
                    <a:pt x="31" y="32"/>
                    <a:pt x="31" y="26"/>
                  </a:cubicBezTo>
                  <a:cubicBezTo>
                    <a:pt x="31" y="10"/>
                    <a:pt x="31" y="10"/>
                    <a:pt x="31" y="10"/>
                  </a:cubicBezTo>
                  <a:cubicBezTo>
                    <a:pt x="31" y="10"/>
                    <a:pt x="30" y="11"/>
                    <a:pt x="29" y="11"/>
                  </a:cubicBezTo>
                  <a:cubicBezTo>
                    <a:pt x="26" y="11"/>
                    <a:pt x="24" y="8"/>
                    <a:pt x="24" y="6"/>
                  </a:cubicBezTo>
                  <a:cubicBezTo>
                    <a:pt x="24" y="3"/>
                    <a:pt x="26" y="0"/>
                    <a:pt x="29" y="0"/>
                  </a:cubicBezTo>
                  <a:cubicBezTo>
                    <a:pt x="31" y="0"/>
                    <a:pt x="32" y="2"/>
                    <a:pt x="33" y="3"/>
                  </a:cubicBezTo>
                  <a:cubicBezTo>
                    <a:pt x="33" y="3"/>
                    <a:pt x="34" y="3"/>
                    <a:pt x="34" y="3"/>
                  </a:cubicBezTo>
                  <a:cubicBezTo>
                    <a:pt x="35" y="3"/>
                    <a:pt x="36" y="4"/>
                    <a:pt x="36" y="6"/>
                  </a:cubicBezTo>
                  <a:cubicBezTo>
                    <a:pt x="36" y="26"/>
                    <a:pt x="36" y="26"/>
                    <a:pt x="36" y="26"/>
                  </a:cubicBezTo>
                  <a:cubicBezTo>
                    <a:pt x="36" y="34"/>
                    <a:pt x="30" y="40"/>
                    <a:pt x="21" y="41"/>
                  </a:cubicBezTo>
                  <a:cubicBezTo>
                    <a:pt x="21" y="47"/>
                    <a:pt x="21" y="47"/>
                    <a:pt x="21" y="47"/>
                  </a:cubicBezTo>
                  <a:cubicBezTo>
                    <a:pt x="21" y="52"/>
                    <a:pt x="27" y="57"/>
                    <a:pt x="34" y="57"/>
                  </a:cubicBezTo>
                  <a:cubicBezTo>
                    <a:pt x="41" y="57"/>
                    <a:pt x="47" y="52"/>
                    <a:pt x="47" y="47"/>
                  </a:cubicBezTo>
                  <a:cubicBezTo>
                    <a:pt x="47" y="31"/>
                    <a:pt x="47" y="31"/>
                    <a:pt x="47" y="31"/>
                  </a:cubicBezTo>
                  <a:cubicBezTo>
                    <a:pt x="44" y="30"/>
                    <a:pt x="42" y="27"/>
                    <a:pt x="42" y="24"/>
                  </a:cubicBezTo>
                  <a:cubicBezTo>
                    <a:pt x="42" y="19"/>
                    <a:pt x="45" y="16"/>
                    <a:pt x="49" y="16"/>
                  </a:cubicBezTo>
                  <a:cubicBezTo>
                    <a:pt x="54" y="16"/>
                    <a:pt x="57" y="19"/>
                    <a:pt x="57" y="24"/>
                  </a:cubicBezTo>
                  <a:cubicBezTo>
                    <a:pt x="57" y="27"/>
                    <a:pt x="55" y="30"/>
                    <a:pt x="52" y="31"/>
                  </a:cubicBezTo>
                  <a:close/>
                  <a:moveTo>
                    <a:pt x="49" y="21"/>
                  </a:moveTo>
                  <a:cubicBezTo>
                    <a:pt x="48" y="21"/>
                    <a:pt x="47" y="22"/>
                    <a:pt x="47" y="24"/>
                  </a:cubicBezTo>
                  <a:cubicBezTo>
                    <a:pt x="47" y="25"/>
                    <a:pt x="48" y="26"/>
                    <a:pt x="49" y="26"/>
                  </a:cubicBezTo>
                  <a:cubicBezTo>
                    <a:pt x="51" y="26"/>
                    <a:pt x="52" y="25"/>
                    <a:pt x="52" y="24"/>
                  </a:cubicBezTo>
                  <a:cubicBezTo>
                    <a:pt x="52" y="22"/>
                    <a:pt x="51" y="21"/>
                    <a:pt x="49" y="2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lIns="121899" tIns="60950" rIns="121899" bIns="60950"/>
            <a:lstStyle/>
            <a:p>
              <a:endParaRPr lang="en-GB"/>
            </a:p>
          </p:txBody>
        </p:sp>
      </p:grpSp>
      <p:grpSp>
        <p:nvGrpSpPr>
          <p:cNvPr id="51217" name="Group 4">
            <a:extLst>
              <a:ext uri="{FF2B5EF4-FFF2-40B4-BE49-F238E27FC236}">
                <a16:creationId xmlns:a16="http://schemas.microsoft.com/office/drawing/2014/main" id="{357B19EE-EF20-4FC7-B0A7-0DC3C7FD2460}"/>
              </a:ext>
            </a:extLst>
          </p:cNvPr>
          <p:cNvGrpSpPr>
            <a:grpSpLocks/>
          </p:cNvGrpSpPr>
          <p:nvPr/>
        </p:nvGrpSpPr>
        <p:grpSpPr bwMode="auto">
          <a:xfrm>
            <a:off x="7361238" y="2376488"/>
            <a:ext cx="527050" cy="530225"/>
            <a:chOff x="14721508" y="4754232"/>
            <a:chExt cx="1055378" cy="1058753"/>
          </a:xfrm>
        </p:grpSpPr>
        <p:sp>
          <p:nvSpPr>
            <p:cNvPr id="51222" name="Shape 1869">
              <a:extLst>
                <a:ext uri="{FF2B5EF4-FFF2-40B4-BE49-F238E27FC236}">
                  <a16:creationId xmlns:a16="http://schemas.microsoft.com/office/drawing/2014/main" id="{C7CF4F31-BC90-4E0E-859C-F610AC081B01}"/>
                </a:ext>
              </a:extLst>
            </p:cNvPr>
            <p:cNvSpPr>
              <a:spLocks/>
            </p:cNvSpPr>
            <p:nvPr/>
          </p:nvSpPr>
          <p:spPr bwMode="auto">
            <a:xfrm>
              <a:off x="14721508" y="4754232"/>
              <a:ext cx="1055378" cy="1058753"/>
            </a:xfrm>
            <a:custGeom>
              <a:avLst/>
              <a:gdLst>
                <a:gd name="T0" fmla="*/ 2147483646 w 19679"/>
                <a:gd name="T1" fmla="*/ 2147483646 h 19679"/>
                <a:gd name="T2" fmla="*/ 2147483646 w 19679"/>
                <a:gd name="T3" fmla="*/ 2147483646 h 19679"/>
                <a:gd name="T4" fmla="*/ 2147483646 w 19679"/>
                <a:gd name="T5" fmla="*/ 2147483646 h 19679"/>
                <a:gd name="T6" fmla="*/ 2147483646 w 19679"/>
                <a:gd name="T7" fmla="*/ 2147483646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path>
              </a:pathLst>
            </a:custGeom>
            <a:solidFill>
              <a:schemeClr val="accent1"/>
            </a:solidFill>
            <a:ln>
              <a:noFill/>
            </a:ln>
            <a:extLst>
              <a:ext uri="{91240B29-F687-4F45-9708-019B960494DF}">
                <a14:hiddenLine xmlns:a14="http://schemas.microsoft.com/office/drawing/2010/main" w="12700" cap="flat" cmpd="sng">
                  <a:solidFill>
                    <a:srgbClr val="000000"/>
                  </a:solidFill>
                  <a:miter lim="400000"/>
                  <a:headEnd/>
                  <a:tailEnd/>
                </a14:hiddenLine>
              </a:ext>
            </a:extLst>
          </p:spPr>
          <p:txBody>
            <a:bodyPr lIns="0" tIns="0" rIns="0" bIns="0" anchor="ctr"/>
            <a:lstStyle/>
            <a:p>
              <a:endParaRPr lang="en-GB"/>
            </a:p>
          </p:txBody>
        </p:sp>
        <p:sp>
          <p:nvSpPr>
            <p:cNvPr id="51223" name="Freeform 68">
              <a:extLst>
                <a:ext uri="{FF2B5EF4-FFF2-40B4-BE49-F238E27FC236}">
                  <a16:creationId xmlns:a16="http://schemas.microsoft.com/office/drawing/2014/main" id="{33AE1A37-C5D3-453D-8805-6BC730E01F46}"/>
                </a:ext>
              </a:extLst>
            </p:cNvPr>
            <p:cNvSpPr>
              <a:spLocks noEditPoints="1"/>
            </p:cNvSpPr>
            <p:nvPr/>
          </p:nvSpPr>
          <p:spPr bwMode="auto">
            <a:xfrm>
              <a:off x="14905960" y="4933254"/>
              <a:ext cx="701802" cy="701803"/>
            </a:xfrm>
            <a:custGeom>
              <a:avLst/>
              <a:gdLst>
                <a:gd name="T0" fmla="*/ 2147483646 w 62"/>
                <a:gd name="T1" fmla="*/ 2147483646 h 62"/>
                <a:gd name="T2" fmla="*/ 2147483646 w 62"/>
                <a:gd name="T3" fmla="*/ 2147483646 h 62"/>
                <a:gd name="T4" fmla="*/ 2147483646 w 62"/>
                <a:gd name="T5" fmla="*/ 2147483646 h 62"/>
                <a:gd name="T6" fmla="*/ 2147483646 w 62"/>
                <a:gd name="T7" fmla="*/ 2147483646 h 62"/>
                <a:gd name="T8" fmla="*/ 2147483646 w 62"/>
                <a:gd name="T9" fmla="*/ 2147483646 h 62"/>
                <a:gd name="T10" fmla="*/ 2147483646 w 62"/>
                <a:gd name="T11" fmla="*/ 2147483646 h 62"/>
                <a:gd name="T12" fmla="*/ 2147483646 w 62"/>
                <a:gd name="T13" fmla="*/ 2147483646 h 62"/>
                <a:gd name="T14" fmla="*/ 2147483646 w 62"/>
                <a:gd name="T15" fmla="*/ 2147483646 h 62"/>
                <a:gd name="T16" fmla="*/ 2147483646 w 62"/>
                <a:gd name="T17" fmla="*/ 2147483646 h 62"/>
                <a:gd name="T18" fmla="*/ 2147483646 w 62"/>
                <a:gd name="T19" fmla="*/ 2147483646 h 62"/>
                <a:gd name="T20" fmla="*/ 2147483646 w 62"/>
                <a:gd name="T21" fmla="*/ 2147483646 h 62"/>
                <a:gd name="T22" fmla="*/ 0 w 62"/>
                <a:gd name="T23" fmla="*/ 2147483646 h 62"/>
                <a:gd name="T24" fmla="*/ 0 w 62"/>
                <a:gd name="T25" fmla="*/ 2147483646 h 62"/>
                <a:gd name="T26" fmla="*/ 2147483646 w 62"/>
                <a:gd name="T27" fmla="*/ 2147483646 h 62"/>
                <a:gd name="T28" fmla="*/ 2147483646 w 62"/>
                <a:gd name="T29" fmla="*/ 2147483646 h 62"/>
                <a:gd name="T30" fmla="*/ 2147483646 w 62"/>
                <a:gd name="T31" fmla="*/ 2147483646 h 62"/>
                <a:gd name="T32" fmla="*/ 2147483646 w 62"/>
                <a:gd name="T33" fmla="*/ 2147483646 h 62"/>
                <a:gd name="T34" fmla="*/ 2147483646 w 62"/>
                <a:gd name="T35" fmla="*/ 0 h 62"/>
                <a:gd name="T36" fmla="*/ 2147483646 w 62"/>
                <a:gd name="T37" fmla="*/ 0 h 62"/>
                <a:gd name="T38" fmla="*/ 2147483646 w 62"/>
                <a:gd name="T39" fmla="*/ 2147483646 h 62"/>
                <a:gd name="T40" fmla="*/ 2147483646 w 62"/>
                <a:gd name="T41" fmla="*/ 2147483646 h 62"/>
                <a:gd name="T42" fmla="*/ 2147483646 w 62"/>
                <a:gd name="T43" fmla="*/ 2147483646 h 62"/>
                <a:gd name="T44" fmla="*/ 2147483646 w 62"/>
                <a:gd name="T45" fmla="*/ 2147483646 h 62"/>
                <a:gd name="T46" fmla="*/ 2147483646 w 62"/>
                <a:gd name="T47" fmla="*/ 2147483646 h 62"/>
                <a:gd name="T48" fmla="*/ 2147483646 w 62"/>
                <a:gd name="T49" fmla="*/ 2147483646 h 62"/>
                <a:gd name="T50" fmla="*/ 2147483646 w 62"/>
                <a:gd name="T51" fmla="*/ 2147483646 h 62"/>
                <a:gd name="T52" fmla="*/ 2147483646 w 62"/>
                <a:gd name="T53" fmla="*/ 2147483646 h 62"/>
                <a:gd name="T54" fmla="*/ 2147483646 w 62"/>
                <a:gd name="T55" fmla="*/ 2147483646 h 62"/>
                <a:gd name="T56" fmla="*/ 2147483646 w 62"/>
                <a:gd name="T57" fmla="*/ 2147483646 h 62"/>
                <a:gd name="T58" fmla="*/ 2147483646 w 62"/>
                <a:gd name="T59" fmla="*/ 2147483646 h 62"/>
                <a:gd name="T60" fmla="*/ 2147483646 w 62"/>
                <a:gd name="T61" fmla="*/ 2147483646 h 62"/>
                <a:gd name="T62" fmla="*/ 2147483646 w 62"/>
                <a:gd name="T63" fmla="*/ 2147483646 h 62"/>
                <a:gd name="T64" fmla="*/ 2147483646 w 62"/>
                <a:gd name="T65" fmla="*/ 2147483646 h 62"/>
                <a:gd name="T66" fmla="*/ 2147483646 w 62"/>
                <a:gd name="T67" fmla="*/ 2147483646 h 62"/>
                <a:gd name="T68" fmla="*/ 2147483646 w 62"/>
                <a:gd name="T69" fmla="*/ 2147483646 h 62"/>
                <a:gd name="T70" fmla="*/ 2147483646 w 62"/>
                <a:gd name="T71" fmla="*/ 2147483646 h 62"/>
                <a:gd name="T72" fmla="*/ 2147483646 w 62"/>
                <a:gd name="T73" fmla="*/ 2147483646 h 62"/>
                <a:gd name="T74" fmla="*/ 2147483646 w 62"/>
                <a:gd name="T75" fmla="*/ 2147483646 h 62"/>
                <a:gd name="T76" fmla="*/ 2147483646 w 62"/>
                <a:gd name="T77" fmla="*/ 2147483646 h 62"/>
                <a:gd name="T78" fmla="*/ 2147483646 w 62"/>
                <a:gd name="T79" fmla="*/ 2147483646 h 62"/>
                <a:gd name="T80" fmla="*/ 2147483646 w 62"/>
                <a:gd name="T81" fmla="*/ 2147483646 h 62"/>
                <a:gd name="T82" fmla="*/ 2147483646 w 62"/>
                <a:gd name="T83" fmla="*/ 2147483646 h 62"/>
                <a:gd name="T84" fmla="*/ 2147483646 w 62"/>
                <a:gd name="T85" fmla="*/ 2147483646 h 62"/>
                <a:gd name="T86" fmla="*/ 2147483646 w 62"/>
                <a:gd name="T87" fmla="*/ 2147483646 h 62"/>
                <a:gd name="T88" fmla="*/ 2147483646 w 62"/>
                <a:gd name="T89" fmla="*/ 2147483646 h 62"/>
                <a:gd name="T90" fmla="*/ 2147483646 w 62"/>
                <a:gd name="T91" fmla="*/ 2147483646 h 62"/>
                <a:gd name="T92" fmla="*/ 2147483646 w 62"/>
                <a:gd name="T93" fmla="*/ 2147483646 h 62"/>
                <a:gd name="T94" fmla="*/ 2147483646 w 62"/>
                <a:gd name="T95" fmla="*/ 2147483646 h 62"/>
                <a:gd name="T96" fmla="*/ 2147483646 w 62"/>
                <a:gd name="T97" fmla="*/ 2147483646 h 62"/>
                <a:gd name="T98" fmla="*/ 2147483646 w 62"/>
                <a:gd name="T99" fmla="*/ 2147483646 h 62"/>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62" h="62">
                  <a:moveTo>
                    <a:pt x="62" y="34"/>
                  </a:moveTo>
                  <a:cubicBezTo>
                    <a:pt x="62" y="35"/>
                    <a:pt x="61" y="36"/>
                    <a:pt x="60" y="36"/>
                  </a:cubicBezTo>
                  <a:cubicBezTo>
                    <a:pt x="54" y="36"/>
                    <a:pt x="54" y="36"/>
                    <a:pt x="54" y="36"/>
                  </a:cubicBezTo>
                  <a:cubicBezTo>
                    <a:pt x="52" y="45"/>
                    <a:pt x="45" y="52"/>
                    <a:pt x="36" y="54"/>
                  </a:cubicBezTo>
                  <a:cubicBezTo>
                    <a:pt x="36" y="60"/>
                    <a:pt x="36" y="60"/>
                    <a:pt x="36" y="60"/>
                  </a:cubicBezTo>
                  <a:cubicBezTo>
                    <a:pt x="36" y="61"/>
                    <a:pt x="35" y="62"/>
                    <a:pt x="34" y="62"/>
                  </a:cubicBezTo>
                  <a:cubicBezTo>
                    <a:pt x="29" y="62"/>
                    <a:pt x="29" y="62"/>
                    <a:pt x="29" y="62"/>
                  </a:cubicBezTo>
                  <a:cubicBezTo>
                    <a:pt x="27" y="62"/>
                    <a:pt x="26" y="61"/>
                    <a:pt x="26" y="60"/>
                  </a:cubicBezTo>
                  <a:cubicBezTo>
                    <a:pt x="26" y="54"/>
                    <a:pt x="26" y="54"/>
                    <a:pt x="26" y="54"/>
                  </a:cubicBezTo>
                  <a:cubicBezTo>
                    <a:pt x="18" y="52"/>
                    <a:pt x="11" y="45"/>
                    <a:pt x="9" y="36"/>
                  </a:cubicBezTo>
                  <a:cubicBezTo>
                    <a:pt x="3" y="36"/>
                    <a:pt x="3" y="36"/>
                    <a:pt x="3" y="36"/>
                  </a:cubicBezTo>
                  <a:cubicBezTo>
                    <a:pt x="2" y="36"/>
                    <a:pt x="0" y="35"/>
                    <a:pt x="0" y="34"/>
                  </a:cubicBezTo>
                  <a:cubicBezTo>
                    <a:pt x="0" y="29"/>
                    <a:pt x="0" y="29"/>
                    <a:pt x="0" y="29"/>
                  </a:cubicBezTo>
                  <a:cubicBezTo>
                    <a:pt x="0" y="27"/>
                    <a:pt x="2" y="26"/>
                    <a:pt x="3" y="26"/>
                  </a:cubicBezTo>
                  <a:cubicBezTo>
                    <a:pt x="9" y="26"/>
                    <a:pt x="9" y="26"/>
                    <a:pt x="9" y="26"/>
                  </a:cubicBezTo>
                  <a:cubicBezTo>
                    <a:pt x="11" y="18"/>
                    <a:pt x="18" y="11"/>
                    <a:pt x="26" y="9"/>
                  </a:cubicBezTo>
                  <a:cubicBezTo>
                    <a:pt x="26" y="3"/>
                    <a:pt x="26" y="3"/>
                    <a:pt x="26" y="3"/>
                  </a:cubicBezTo>
                  <a:cubicBezTo>
                    <a:pt x="26" y="2"/>
                    <a:pt x="27" y="0"/>
                    <a:pt x="29" y="0"/>
                  </a:cubicBezTo>
                  <a:cubicBezTo>
                    <a:pt x="34" y="0"/>
                    <a:pt x="34" y="0"/>
                    <a:pt x="34" y="0"/>
                  </a:cubicBezTo>
                  <a:cubicBezTo>
                    <a:pt x="35" y="0"/>
                    <a:pt x="36" y="2"/>
                    <a:pt x="36" y="3"/>
                  </a:cubicBezTo>
                  <a:cubicBezTo>
                    <a:pt x="36" y="9"/>
                    <a:pt x="36" y="9"/>
                    <a:pt x="36" y="9"/>
                  </a:cubicBezTo>
                  <a:cubicBezTo>
                    <a:pt x="45" y="11"/>
                    <a:pt x="52" y="18"/>
                    <a:pt x="54" y="26"/>
                  </a:cubicBezTo>
                  <a:cubicBezTo>
                    <a:pt x="60" y="26"/>
                    <a:pt x="60" y="26"/>
                    <a:pt x="60" y="26"/>
                  </a:cubicBezTo>
                  <a:cubicBezTo>
                    <a:pt x="61" y="26"/>
                    <a:pt x="62" y="27"/>
                    <a:pt x="62" y="29"/>
                  </a:cubicBezTo>
                  <a:lnTo>
                    <a:pt x="62" y="34"/>
                  </a:lnTo>
                  <a:close/>
                  <a:moveTo>
                    <a:pt x="44" y="36"/>
                  </a:moveTo>
                  <a:cubicBezTo>
                    <a:pt x="43" y="36"/>
                    <a:pt x="42" y="35"/>
                    <a:pt x="42" y="34"/>
                  </a:cubicBezTo>
                  <a:cubicBezTo>
                    <a:pt x="42" y="29"/>
                    <a:pt x="42" y="29"/>
                    <a:pt x="42" y="29"/>
                  </a:cubicBezTo>
                  <a:cubicBezTo>
                    <a:pt x="42" y="27"/>
                    <a:pt x="43" y="26"/>
                    <a:pt x="44" y="26"/>
                  </a:cubicBezTo>
                  <a:cubicBezTo>
                    <a:pt x="49" y="26"/>
                    <a:pt x="49" y="26"/>
                    <a:pt x="49" y="26"/>
                  </a:cubicBezTo>
                  <a:cubicBezTo>
                    <a:pt x="47" y="20"/>
                    <a:pt x="42" y="16"/>
                    <a:pt x="36" y="14"/>
                  </a:cubicBezTo>
                  <a:cubicBezTo>
                    <a:pt x="36" y="18"/>
                    <a:pt x="36" y="18"/>
                    <a:pt x="36" y="18"/>
                  </a:cubicBezTo>
                  <a:cubicBezTo>
                    <a:pt x="36" y="20"/>
                    <a:pt x="35" y="21"/>
                    <a:pt x="34" y="21"/>
                  </a:cubicBezTo>
                  <a:cubicBezTo>
                    <a:pt x="29" y="21"/>
                    <a:pt x="29" y="21"/>
                    <a:pt x="29" y="21"/>
                  </a:cubicBezTo>
                  <a:cubicBezTo>
                    <a:pt x="27" y="21"/>
                    <a:pt x="26" y="20"/>
                    <a:pt x="26" y="18"/>
                  </a:cubicBezTo>
                  <a:cubicBezTo>
                    <a:pt x="26" y="14"/>
                    <a:pt x="26" y="14"/>
                    <a:pt x="26" y="14"/>
                  </a:cubicBezTo>
                  <a:cubicBezTo>
                    <a:pt x="20" y="16"/>
                    <a:pt x="16" y="20"/>
                    <a:pt x="14" y="26"/>
                  </a:cubicBezTo>
                  <a:cubicBezTo>
                    <a:pt x="18" y="26"/>
                    <a:pt x="18" y="26"/>
                    <a:pt x="18" y="26"/>
                  </a:cubicBezTo>
                  <a:cubicBezTo>
                    <a:pt x="20" y="26"/>
                    <a:pt x="21" y="27"/>
                    <a:pt x="21" y="29"/>
                  </a:cubicBezTo>
                  <a:cubicBezTo>
                    <a:pt x="21" y="34"/>
                    <a:pt x="21" y="34"/>
                    <a:pt x="21" y="34"/>
                  </a:cubicBezTo>
                  <a:cubicBezTo>
                    <a:pt x="21" y="35"/>
                    <a:pt x="20" y="36"/>
                    <a:pt x="18" y="36"/>
                  </a:cubicBezTo>
                  <a:cubicBezTo>
                    <a:pt x="14" y="36"/>
                    <a:pt x="14" y="36"/>
                    <a:pt x="14" y="36"/>
                  </a:cubicBezTo>
                  <a:cubicBezTo>
                    <a:pt x="16" y="42"/>
                    <a:pt x="20" y="47"/>
                    <a:pt x="26" y="49"/>
                  </a:cubicBezTo>
                  <a:cubicBezTo>
                    <a:pt x="26" y="44"/>
                    <a:pt x="26" y="44"/>
                    <a:pt x="26" y="44"/>
                  </a:cubicBezTo>
                  <a:cubicBezTo>
                    <a:pt x="26" y="43"/>
                    <a:pt x="27" y="42"/>
                    <a:pt x="29" y="42"/>
                  </a:cubicBezTo>
                  <a:cubicBezTo>
                    <a:pt x="34" y="42"/>
                    <a:pt x="34" y="42"/>
                    <a:pt x="34" y="42"/>
                  </a:cubicBezTo>
                  <a:cubicBezTo>
                    <a:pt x="35" y="42"/>
                    <a:pt x="36" y="43"/>
                    <a:pt x="36" y="44"/>
                  </a:cubicBezTo>
                  <a:cubicBezTo>
                    <a:pt x="36" y="49"/>
                    <a:pt x="36" y="49"/>
                    <a:pt x="36" y="49"/>
                  </a:cubicBezTo>
                  <a:cubicBezTo>
                    <a:pt x="42" y="47"/>
                    <a:pt x="47" y="42"/>
                    <a:pt x="49" y="36"/>
                  </a:cubicBezTo>
                  <a:lnTo>
                    <a:pt x="44" y="3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lIns="121899" tIns="60950" rIns="121899" bIns="60950"/>
            <a:lstStyle/>
            <a:p>
              <a:endParaRPr lang="en-GB"/>
            </a:p>
          </p:txBody>
        </p:sp>
      </p:grpSp>
      <p:grpSp>
        <p:nvGrpSpPr>
          <p:cNvPr id="51218" name="Group 3">
            <a:extLst>
              <a:ext uri="{FF2B5EF4-FFF2-40B4-BE49-F238E27FC236}">
                <a16:creationId xmlns:a16="http://schemas.microsoft.com/office/drawing/2014/main" id="{8D99ECD2-4517-45AA-B3B8-3C3CCA497BB4}"/>
              </a:ext>
            </a:extLst>
          </p:cNvPr>
          <p:cNvGrpSpPr>
            <a:grpSpLocks/>
          </p:cNvGrpSpPr>
          <p:nvPr/>
        </p:nvGrpSpPr>
        <p:grpSpPr bwMode="auto">
          <a:xfrm>
            <a:off x="7967663" y="3517900"/>
            <a:ext cx="527050" cy="530225"/>
            <a:chOff x="15934120" y="7037078"/>
            <a:chExt cx="1055378" cy="1058753"/>
          </a:xfrm>
        </p:grpSpPr>
        <p:sp>
          <p:nvSpPr>
            <p:cNvPr id="51220" name="Shape 1869">
              <a:extLst>
                <a:ext uri="{FF2B5EF4-FFF2-40B4-BE49-F238E27FC236}">
                  <a16:creationId xmlns:a16="http://schemas.microsoft.com/office/drawing/2014/main" id="{1B30F43E-38E1-4FA1-837D-3528D7DF1A4A}"/>
                </a:ext>
              </a:extLst>
            </p:cNvPr>
            <p:cNvSpPr>
              <a:spLocks/>
            </p:cNvSpPr>
            <p:nvPr/>
          </p:nvSpPr>
          <p:spPr bwMode="auto">
            <a:xfrm>
              <a:off x="15934120" y="7037078"/>
              <a:ext cx="1055378" cy="1058753"/>
            </a:xfrm>
            <a:custGeom>
              <a:avLst/>
              <a:gdLst>
                <a:gd name="T0" fmla="*/ 2147483646 w 19679"/>
                <a:gd name="T1" fmla="*/ 2147483646 h 19679"/>
                <a:gd name="T2" fmla="*/ 2147483646 w 19679"/>
                <a:gd name="T3" fmla="*/ 2147483646 h 19679"/>
                <a:gd name="T4" fmla="*/ 2147483646 w 19679"/>
                <a:gd name="T5" fmla="*/ 2147483646 h 19679"/>
                <a:gd name="T6" fmla="*/ 2147483646 w 19679"/>
                <a:gd name="T7" fmla="*/ 2147483646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path>
              </a:pathLst>
            </a:custGeom>
            <a:solidFill>
              <a:schemeClr val="accent1"/>
            </a:solidFill>
            <a:ln>
              <a:noFill/>
            </a:ln>
            <a:extLst>
              <a:ext uri="{91240B29-F687-4F45-9708-019B960494DF}">
                <a14:hiddenLine xmlns:a14="http://schemas.microsoft.com/office/drawing/2010/main" w="12700" cap="flat" cmpd="sng">
                  <a:solidFill>
                    <a:srgbClr val="000000"/>
                  </a:solidFill>
                  <a:miter lim="400000"/>
                  <a:headEnd/>
                  <a:tailEnd/>
                </a14:hiddenLine>
              </a:ext>
            </a:extLst>
          </p:spPr>
          <p:txBody>
            <a:bodyPr lIns="0" tIns="0" rIns="0" bIns="0" anchor="ctr"/>
            <a:lstStyle/>
            <a:p>
              <a:endParaRPr lang="en-GB"/>
            </a:p>
          </p:txBody>
        </p:sp>
        <p:sp>
          <p:nvSpPr>
            <p:cNvPr id="51221" name="Freeform 77">
              <a:extLst>
                <a:ext uri="{FF2B5EF4-FFF2-40B4-BE49-F238E27FC236}">
                  <a16:creationId xmlns:a16="http://schemas.microsoft.com/office/drawing/2014/main" id="{D8FEF284-4295-426D-872A-E930A269B325}"/>
                </a:ext>
              </a:extLst>
            </p:cNvPr>
            <p:cNvSpPr>
              <a:spLocks noEditPoints="1"/>
            </p:cNvSpPr>
            <p:nvPr/>
          </p:nvSpPr>
          <p:spPr bwMode="auto">
            <a:xfrm>
              <a:off x="16213292" y="7305730"/>
              <a:ext cx="515529" cy="524316"/>
            </a:xfrm>
            <a:custGeom>
              <a:avLst/>
              <a:gdLst>
                <a:gd name="T0" fmla="*/ 2147483646 w 61"/>
                <a:gd name="T1" fmla="*/ 2147483646 h 62"/>
                <a:gd name="T2" fmla="*/ 2147483646 w 61"/>
                <a:gd name="T3" fmla="*/ 2147483646 h 62"/>
                <a:gd name="T4" fmla="*/ 2147483646 w 61"/>
                <a:gd name="T5" fmla="*/ 2147483646 h 62"/>
                <a:gd name="T6" fmla="*/ 0 w 61"/>
                <a:gd name="T7" fmla="*/ 2147483646 h 62"/>
                <a:gd name="T8" fmla="*/ 0 w 61"/>
                <a:gd name="T9" fmla="*/ 2147483646 h 62"/>
                <a:gd name="T10" fmla="*/ 2147483646 w 61"/>
                <a:gd name="T11" fmla="*/ 0 h 62"/>
                <a:gd name="T12" fmla="*/ 2147483646 w 61"/>
                <a:gd name="T13" fmla="*/ 0 h 62"/>
                <a:gd name="T14" fmla="*/ 2147483646 w 61"/>
                <a:gd name="T15" fmla="*/ 2147483646 h 62"/>
                <a:gd name="T16" fmla="*/ 2147483646 w 61"/>
                <a:gd name="T17" fmla="*/ 2147483646 h 62"/>
                <a:gd name="T18" fmla="*/ 2147483646 w 61"/>
                <a:gd name="T19" fmla="*/ 2147483646 h 62"/>
                <a:gd name="T20" fmla="*/ 2147483646 w 61"/>
                <a:gd name="T21" fmla="*/ 2147483646 h 62"/>
                <a:gd name="T22" fmla="*/ 2147483646 w 61"/>
                <a:gd name="T23" fmla="*/ 2147483646 h 62"/>
                <a:gd name="T24" fmla="*/ 2147483646 w 61"/>
                <a:gd name="T25" fmla="*/ 2147483646 h 62"/>
                <a:gd name="T26" fmla="*/ 2147483646 w 61"/>
                <a:gd name="T27" fmla="*/ 2147483646 h 62"/>
                <a:gd name="T28" fmla="*/ 2147483646 w 61"/>
                <a:gd name="T29" fmla="*/ 2147483646 h 62"/>
                <a:gd name="T30" fmla="*/ 2147483646 w 61"/>
                <a:gd name="T31" fmla="*/ 2147483646 h 62"/>
                <a:gd name="T32" fmla="*/ 2147483646 w 61"/>
                <a:gd name="T33" fmla="*/ 2147483646 h 62"/>
                <a:gd name="T34" fmla="*/ 2147483646 w 61"/>
                <a:gd name="T35" fmla="*/ 2147483646 h 62"/>
                <a:gd name="T36" fmla="*/ 2147483646 w 61"/>
                <a:gd name="T37" fmla="*/ 2147483646 h 62"/>
                <a:gd name="T38" fmla="*/ 2147483646 w 61"/>
                <a:gd name="T39" fmla="*/ 2147483646 h 62"/>
                <a:gd name="T40" fmla="*/ 2147483646 w 61"/>
                <a:gd name="T41" fmla="*/ 2147483646 h 62"/>
                <a:gd name="T42" fmla="*/ 2147483646 w 61"/>
                <a:gd name="T43" fmla="*/ 2147483646 h 62"/>
                <a:gd name="T44" fmla="*/ 2147483646 w 61"/>
                <a:gd name="T45" fmla="*/ 2147483646 h 62"/>
                <a:gd name="T46" fmla="*/ 2147483646 w 61"/>
                <a:gd name="T47" fmla="*/ 2147483646 h 62"/>
                <a:gd name="T48" fmla="*/ 2147483646 w 61"/>
                <a:gd name="T49" fmla="*/ 2147483646 h 6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1" h="62">
                  <a:moveTo>
                    <a:pt x="61" y="51"/>
                  </a:moveTo>
                  <a:cubicBezTo>
                    <a:pt x="61" y="57"/>
                    <a:pt x="56" y="62"/>
                    <a:pt x="50" y="62"/>
                  </a:cubicBezTo>
                  <a:cubicBezTo>
                    <a:pt x="11" y="62"/>
                    <a:pt x="11" y="62"/>
                    <a:pt x="11" y="62"/>
                  </a:cubicBezTo>
                  <a:cubicBezTo>
                    <a:pt x="5" y="62"/>
                    <a:pt x="0" y="57"/>
                    <a:pt x="0" y="51"/>
                  </a:cubicBezTo>
                  <a:cubicBezTo>
                    <a:pt x="0" y="12"/>
                    <a:pt x="0" y="12"/>
                    <a:pt x="0" y="12"/>
                  </a:cubicBezTo>
                  <a:cubicBezTo>
                    <a:pt x="0" y="6"/>
                    <a:pt x="5" y="0"/>
                    <a:pt x="11" y="0"/>
                  </a:cubicBezTo>
                  <a:cubicBezTo>
                    <a:pt x="50" y="0"/>
                    <a:pt x="50" y="0"/>
                    <a:pt x="50" y="0"/>
                  </a:cubicBezTo>
                  <a:cubicBezTo>
                    <a:pt x="56" y="0"/>
                    <a:pt x="61" y="6"/>
                    <a:pt x="61" y="12"/>
                  </a:cubicBezTo>
                  <a:lnTo>
                    <a:pt x="61" y="51"/>
                  </a:lnTo>
                  <a:close/>
                  <a:moveTo>
                    <a:pt x="51" y="13"/>
                  </a:moveTo>
                  <a:cubicBezTo>
                    <a:pt x="51" y="12"/>
                    <a:pt x="50" y="11"/>
                    <a:pt x="49" y="11"/>
                  </a:cubicBezTo>
                  <a:cubicBezTo>
                    <a:pt x="29" y="11"/>
                    <a:pt x="29" y="11"/>
                    <a:pt x="29" y="11"/>
                  </a:cubicBezTo>
                  <a:cubicBezTo>
                    <a:pt x="28" y="11"/>
                    <a:pt x="27" y="11"/>
                    <a:pt x="27" y="12"/>
                  </a:cubicBezTo>
                  <a:cubicBezTo>
                    <a:pt x="27" y="13"/>
                    <a:pt x="27" y="14"/>
                    <a:pt x="28" y="15"/>
                  </a:cubicBezTo>
                  <a:cubicBezTo>
                    <a:pt x="33" y="21"/>
                    <a:pt x="33" y="21"/>
                    <a:pt x="33" y="21"/>
                  </a:cubicBezTo>
                  <a:cubicBezTo>
                    <a:pt x="12" y="42"/>
                    <a:pt x="12" y="42"/>
                    <a:pt x="12" y="42"/>
                  </a:cubicBezTo>
                  <a:cubicBezTo>
                    <a:pt x="11" y="43"/>
                    <a:pt x="11" y="45"/>
                    <a:pt x="12" y="46"/>
                  </a:cubicBezTo>
                  <a:cubicBezTo>
                    <a:pt x="16" y="50"/>
                    <a:pt x="16" y="50"/>
                    <a:pt x="16" y="50"/>
                  </a:cubicBezTo>
                  <a:cubicBezTo>
                    <a:pt x="17" y="51"/>
                    <a:pt x="19" y="51"/>
                    <a:pt x="20" y="50"/>
                  </a:cubicBezTo>
                  <a:cubicBezTo>
                    <a:pt x="41" y="29"/>
                    <a:pt x="41" y="29"/>
                    <a:pt x="41" y="29"/>
                  </a:cubicBezTo>
                  <a:cubicBezTo>
                    <a:pt x="47" y="34"/>
                    <a:pt x="47" y="34"/>
                    <a:pt x="47" y="34"/>
                  </a:cubicBezTo>
                  <a:cubicBezTo>
                    <a:pt x="47" y="35"/>
                    <a:pt x="48" y="35"/>
                    <a:pt x="49" y="35"/>
                  </a:cubicBezTo>
                  <a:cubicBezTo>
                    <a:pt x="49" y="35"/>
                    <a:pt x="49" y="35"/>
                    <a:pt x="50" y="35"/>
                  </a:cubicBezTo>
                  <a:cubicBezTo>
                    <a:pt x="51" y="35"/>
                    <a:pt x="51" y="34"/>
                    <a:pt x="51" y="33"/>
                  </a:cubicBezTo>
                  <a:lnTo>
                    <a:pt x="51" y="1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lIns="121899" tIns="60950" rIns="121899" bIns="60950"/>
            <a:lstStyle/>
            <a:p>
              <a:endParaRPr lang="en-GB"/>
            </a:p>
          </p:txBody>
        </p:sp>
      </p:grpSp>
      <p:sp>
        <p:nvSpPr>
          <p:cNvPr id="7" name="Title 6">
            <a:extLst>
              <a:ext uri="{FF2B5EF4-FFF2-40B4-BE49-F238E27FC236}">
                <a16:creationId xmlns:a16="http://schemas.microsoft.com/office/drawing/2014/main" id="{45957A65-4823-4D06-BDD0-4139FC66814B}"/>
              </a:ext>
            </a:extLst>
          </p:cNvPr>
          <p:cNvSpPr>
            <a:spLocks noGrp="1"/>
          </p:cNvSpPr>
          <p:nvPr>
            <p:ph type="ctrTitle"/>
          </p:nvPr>
        </p:nvSpPr>
        <p:spPr>
          <a:xfrm>
            <a:off x="277290" y="534147"/>
            <a:ext cx="3920060" cy="1105741"/>
          </a:xfrm>
        </p:spPr>
        <p:txBody>
          <a:bodyPr lIns="91440" tIns="45720" rIns="91440" bIns="45720" anchor="t" anchorCtr="0">
            <a:noAutofit/>
          </a:bodyPr>
          <a:lstStyle/>
          <a:p>
            <a:pPr fontAlgn="auto">
              <a:defRPr/>
            </a:pPr>
            <a:r>
              <a:rPr lang="en-GB" dirty="0" err="1">
                <a:solidFill>
                  <a:schemeClr val="accent1"/>
                </a:solidFill>
                <a:latin typeface="Montserrat"/>
                <a:ea typeface="ＭＳ Ｐゴシック"/>
              </a:rPr>
              <a:t>Rechtliche</a:t>
            </a:r>
            <a:r>
              <a:rPr lang="en-GB" dirty="0">
                <a:solidFill>
                  <a:schemeClr val="accent1"/>
                </a:solidFill>
                <a:latin typeface="Montserrat"/>
                <a:ea typeface="ＭＳ Ｐゴシック"/>
              </a:rPr>
              <a:t> </a:t>
            </a:r>
            <a:r>
              <a:rPr lang="en-GB" dirty="0" err="1">
                <a:solidFill>
                  <a:schemeClr val="accent1"/>
                </a:solidFill>
                <a:latin typeface="Montserrat"/>
                <a:ea typeface="ＭＳ Ｐゴシック"/>
              </a:rPr>
              <a:t>Komponenten</a:t>
            </a:r>
            <a:endParaRPr lang="en-GB" dirty="0">
              <a:solidFill>
                <a:schemeClr val="accent1"/>
              </a:solidFill>
              <a:latin typeface="Montserrat"/>
              <a:ea typeface="ＭＳ Ｐゴシック" charset="0"/>
            </a:endParaRPr>
          </a:p>
        </p:txBody>
      </p:sp>
      <p:sp>
        <p:nvSpPr>
          <p:cNvPr id="35" name="Rectangle 34">
            <a:extLst>
              <a:ext uri="{FF2B5EF4-FFF2-40B4-BE49-F238E27FC236}">
                <a16:creationId xmlns:a16="http://schemas.microsoft.com/office/drawing/2014/main" id="{41C90E9D-64BC-4D1A-8B99-A2036D096D1B}"/>
              </a:ext>
            </a:extLst>
          </p:cNvPr>
          <p:cNvSpPr/>
          <p:nvPr/>
        </p:nvSpPr>
        <p:spPr>
          <a:xfrm>
            <a:off x="4456752" y="5623690"/>
            <a:ext cx="6999442" cy="703467"/>
          </a:xfrm>
          <a:prstGeom prst="rect">
            <a:avLst/>
          </a:prstGeom>
          <a:ln w="38100">
            <a:solidFill>
              <a:schemeClr val="tx1">
                <a:lumMod val="65000"/>
                <a:lumOff val="35000"/>
              </a:schemeClr>
            </a:solidFill>
            <a:prstDash val="sysDash"/>
          </a:ln>
        </p:spPr>
        <p:txBody>
          <a:bodyPr wrap="square" lIns="68521" tIns="34261" rIns="68521" bIns="34261" anchor="t">
            <a:spAutoFit/>
          </a:bodyPr>
          <a:lstStyle/>
          <a:p>
            <a:pPr algn="ctr">
              <a:lnSpc>
                <a:spcPct val="120000"/>
              </a:lnSpc>
              <a:defRPr/>
            </a:pPr>
            <a:r>
              <a:rPr lang="en-GB" b="1" dirty="0">
                <a:solidFill>
                  <a:schemeClr val="tx1">
                    <a:lumMod val="75000"/>
                    <a:lumOff val="25000"/>
                  </a:schemeClr>
                </a:solidFill>
                <a:latin typeface="Arial"/>
                <a:cs typeface="Calibri"/>
              </a:rPr>
              <a:t>Norm IDW PS 880 = </a:t>
            </a:r>
            <a:r>
              <a:rPr lang="en-GB" b="1" dirty="0" err="1">
                <a:solidFill>
                  <a:schemeClr val="tx1">
                    <a:lumMod val="75000"/>
                    <a:lumOff val="25000"/>
                  </a:schemeClr>
                </a:solidFill>
                <a:latin typeface="Arial"/>
                <a:cs typeface="Calibri"/>
              </a:rPr>
              <a:t>Ordnungsmäßigkeit</a:t>
            </a:r>
            <a:r>
              <a:rPr lang="en-GB" b="1" dirty="0">
                <a:solidFill>
                  <a:schemeClr val="tx1">
                    <a:lumMod val="75000"/>
                    <a:lumOff val="25000"/>
                  </a:schemeClr>
                </a:solidFill>
                <a:latin typeface="Arial"/>
                <a:cs typeface="Calibri"/>
              </a:rPr>
              <a:t> (</a:t>
            </a:r>
            <a:r>
              <a:rPr lang="en-GB" b="1" dirty="0" err="1">
                <a:solidFill>
                  <a:schemeClr val="tx1">
                    <a:lumMod val="75000"/>
                    <a:lumOff val="25000"/>
                  </a:schemeClr>
                </a:solidFill>
                <a:latin typeface="Arial"/>
                <a:cs typeface="Calibri"/>
              </a:rPr>
              <a:t>handels</a:t>
            </a:r>
            <a:r>
              <a:rPr lang="en-GB" b="1" dirty="0">
                <a:solidFill>
                  <a:schemeClr val="tx1">
                    <a:lumMod val="75000"/>
                    <a:lumOff val="25000"/>
                  </a:schemeClr>
                </a:solidFill>
                <a:latin typeface="Arial"/>
                <a:cs typeface="Calibri"/>
              </a:rPr>
              <a:t>- und </a:t>
            </a:r>
            <a:r>
              <a:rPr lang="en-GB" b="1" dirty="0" err="1">
                <a:solidFill>
                  <a:schemeClr val="tx1">
                    <a:lumMod val="75000"/>
                    <a:lumOff val="25000"/>
                  </a:schemeClr>
                </a:solidFill>
                <a:latin typeface="Arial"/>
                <a:cs typeface="Calibri"/>
              </a:rPr>
              <a:t>steuerrechtlich</a:t>
            </a:r>
            <a:r>
              <a:rPr lang="en-GB" b="1" dirty="0">
                <a:solidFill>
                  <a:schemeClr val="tx1">
                    <a:lumMod val="75000"/>
                    <a:lumOff val="25000"/>
                  </a:schemeClr>
                </a:solidFill>
                <a:latin typeface="Arial"/>
                <a:cs typeface="Calibri"/>
              </a:rPr>
              <a:t>)</a:t>
            </a:r>
          </a:p>
        </p:txBody>
      </p:sp>
    </p:spTree>
    <p:custDataLst>
      <p:tags r:id="rId1"/>
    </p:custDataLst>
  </p:cSld>
  <p:clrMapOvr>
    <a:masterClrMapping/>
  </p:clrMapOvr>
  <mc:AlternateContent xmlns:mc="http://schemas.openxmlformats.org/markup-compatibility/2006" xmlns:p14="http://schemas.microsoft.com/office/powerpoint/2010/main">
    <mc:Choice Requires="p14">
      <p:transition spd="slow" p14:dur="1250">
        <p14:reveal/>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44AA6BF1-19E1-ED4B-7705-AF3975D7B56B}"/>
              </a:ext>
            </a:extLst>
          </p:cNvPr>
          <p:cNvSpPr>
            <a:spLocks noGrp="1"/>
          </p:cNvSpPr>
          <p:nvPr>
            <p:ph type="ctrTitle"/>
          </p:nvPr>
        </p:nvSpPr>
        <p:spPr>
          <a:xfrm>
            <a:off x="277290" y="534147"/>
            <a:ext cx="8227518" cy="1291478"/>
          </a:xfrm>
        </p:spPr>
        <p:txBody>
          <a:bodyPr/>
          <a:lstStyle/>
          <a:p>
            <a:r>
              <a:rPr lang="de-DE" dirty="0"/>
              <a:t>Die Geschichte der digitalen Archivierung im Krankenhaus</a:t>
            </a:r>
          </a:p>
        </p:txBody>
      </p:sp>
      <p:sp>
        <p:nvSpPr>
          <p:cNvPr id="4" name="Inhaltsplatzhalter 3">
            <a:extLst>
              <a:ext uri="{FF2B5EF4-FFF2-40B4-BE49-F238E27FC236}">
                <a16:creationId xmlns:a16="http://schemas.microsoft.com/office/drawing/2014/main" id="{37B64BBE-4AF7-850E-CED8-04304F8EA716}"/>
              </a:ext>
            </a:extLst>
          </p:cNvPr>
          <p:cNvSpPr>
            <a:spLocks noGrp="1"/>
          </p:cNvSpPr>
          <p:nvPr>
            <p:ph sz="half" idx="1"/>
          </p:nvPr>
        </p:nvSpPr>
        <p:spPr>
          <a:xfrm>
            <a:off x="5933756" y="1772357"/>
            <a:ext cx="5896294" cy="4351338"/>
          </a:xfrm>
        </p:spPr>
        <p:txBody>
          <a:bodyPr>
            <a:normAutofit/>
          </a:bodyPr>
          <a:lstStyle/>
          <a:p>
            <a:r>
              <a:rPr lang="de-DE" sz="2400" b="1" dirty="0"/>
              <a:t>HYDMedia </a:t>
            </a:r>
          </a:p>
          <a:p>
            <a:r>
              <a:rPr lang="de-DE" dirty="0"/>
              <a:t>Weil alles zusammengehört</a:t>
            </a:r>
          </a:p>
          <a:p>
            <a:endParaRPr lang="de-DE" dirty="0"/>
          </a:p>
          <a:p>
            <a:r>
              <a:rPr lang="de-DE" b="0" dirty="0"/>
              <a:t>HYDMedia ist das ganzheitliche Enterprise Content Management System </a:t>
            </a:r>
            <a:r>
              <a:rPr lang="de-DE" b="0" dirty="0" err="1"/>
              <a:t>für</a:t>
            </a:r>
            <a:r>
              <a:rPr lang="de-DE" b="0" dirty="0"/>
              <a:t> den klinischen und administrativen Bereich des Krankenhauses.</a:t>
            </a:r>
            <a:br>
              <a:rPr lang="de-DE" b="0" dirty="0"/>
            </a:br>
            <a:r>
              <a:rPr lang="de-DE" b="0" dirty="0"/>
              <a:t>Alle relevanten Informationen und Dokumente werden digital integriert und am Arbeitsplatz bereitgestellt. </a:t>
            </a:r>
          </a:p>
          <a:p>
            <a:endParaRPr lang="de-DE" b="0" dirty="0"/>
          </a:p>
          <a:p>
            <a:r>
              <a:rPr lang="de-DE" b="0" dirty="0"/>
              <a:t>HYDMedia gewährleistet dadurch den papierlosen Informationsaustausch und erleichtert die Zusammenarbeit aller Mitarbeiter in ihren jeweiligen Bereichen </a:t>
            </a:r>
            <a:r>
              <a:rPr lang="de-DE" b="0" dirty="0" err="1"/>
              <a:t>über</a:t>
            </a:r>
            <a:r>
              <a:rPr lang="de-DE" b="0" dirty="0"/>
              <a:t> Datengrenzen hinweg. HYDMedia </a:t>
            </a:r>
            <a:r>
              <a:rPr lang="de-DE" b="0" dirty="0" err="1"/>
              <a:t>überwindet</a:t>
            </a:r>
            <a:r>
              <a:rPr lang="de-DE" b="0" dirty="0"/>
              <a:t> auf diese Weise die Restriktionen vertikaler Anwendungen.</a:t>
            </a:r>
          </a:p>
          <a:p>
            <a:endParaRPr lang="de-DE" dirty="0"/>
          </a:p>
          <a:p>
            <a:r>
              <a:rPr lang="de-DE" sz="1200" b="0" dirty="0"/>
              <a:t>HYDMedia wurde 1994 von Rudolf Koch, Alexandra Stöckl-Paul und Oliver Paul unter dem DACH der Heydt Gruppe erfunden.</a:t>
            </a:r>
          </a:p>
        </p:txBody>
      </p:sp>
    </p:spTree>
    <p:extLst>
      <p:ext uri="{BB962C8B-B14F-4D97-AF65-F5344CB8AC3E}">
        <p14:creationId xmlns:p14="http://schemas.microsoft.com/office/powerpoint/2010/main" val="1141149141"/>
      </p:ext>
    </p:extLst>
  </p:cSld>
  <p:clrMapOvr>
    <a:masterClrMapping/>
  </p:clrMapOvr>
  <mc:AlternateContent xmlns:mc="http://schemas.openxmlformats.org/markup-compatibility/2006" xmlns:p14="http://schemas.microsoft.com/office/powerpoint/2010/main">
    <mc:Choice Requires="p14">
      <p:transition spd="slow" p14:dur="1250">
        <p14:reveal/>
      </p:transition>
    </mc:Choice>
    <mc:Fallback xmlns="">
      <p:transition spd="slow">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3DEBC9D-8FCE-2272-3266-39F08FA06AAF}"/>
              </a:ext>
            </a:extLst>
          </p:cNvPr>
          <p:cNvSpPr>
            <a:spLocks noGrp="1"/>
          </p:cNvSpPr>
          <p:nvPr>
            <p:ph type="ctrTitle"/>
          </p:nvPr>
        </p:nvSpPr>
        <p:spPr>
          <a:xfrm>
            <a:off x="520377" y="1117526"/>
            <a:ext cx="9103017" cy="456632"/>
          </a:xfrm>
        </p:spPr>
        <p:txBody>
          <a:bodyPr/>
          <a:lstStyle/>
          <a:p>
            <a:r>
              <a:rPr lang="de-DE" dirty="0"/>
              <a:t>Empfohlene (die </a:t>
            </a:r>
            <a:r>
              <a:rPr lang="de-DE" dirty="0" err="1"/>
              <a:t>wichtigesten</a:t>
            </a:r>
            <a:r>
              <a:rPr lang="de-DE" dirty="0"/>
              <a:t>) Zertifizierungen</a:t>
            </a:r>
          </a:p>
        </p:txBody>
      </p:sp>
      <p:sp>
        <p:nvSpPr>
          <p:cNvPr id="7" name="Inhaltsplatzhalter 6">
            <a:extLst>
              <a:ext uri="{FF2B5EF4-FFF2-40B4-BE49-F238E27FC236}">
                <a16:creationId xmlns:a16="http://schemas.microsoft.com/office/drawing/2014/main" id="{B379D15B-1730-3653-FBF4-DC5BFFAE7E8C}"/>
              </a:ext>
            </a:extLst>
          </p:cNvPr>
          <p:cNvSpPr>
            <a:spLocks noGrp="1"/>
          </p:cNvSpPr>
          <p:nvPr>
            <p:ph sz="quarter" idx="14"/>
          </p:nvPr>
        </p:nvSpPr>
        <p:spPr/>
        <p:txBody>
          <a:bodyPr/>
          <a:lstStyle/>
          <a:p>
            <a:pPr marL="0" indent="0">
              <a:buNone/>
            </a:pPr>
            <a:r>
              <a:rPr lang="de-DE" sz="1800" b="1" dirty="0"/>
              <a:t>IDW PS 880</a:t>
            </a:r>
          </a:p>
          <a:p>
            <a:r>
              <a:rPr lang="de-DE" sz="1400" dirty="0"/>
              <a:t>Nachweis der handels- und steuerrechtlichen Unbedenklichkeit. (Buchführung)</a:t>
            </a:r>
          </a:p>
          <a:p>
            <a:r>
              <a:rPr lang="de-DE" sz="1400" dirty="0"/>
              <a:t>Nachweis der Unveränderbarkeit der Daten</a:t>
            </a:r>
          </a:p>
          <a:p>
            <a:r>
              <a:rPr lang="de-DE" sz="1400" dirty="0"/>
              <a:t>Nachweis von Wiederanlaufverfahren und Sicherheitskonzept</a:t>
            </a:r>
          </a:p>
          <a:p>
            <a:r>
              <a:rPr lang="de-DE" sz="1400" dirty="0"/>
              <a:t>Nachweis der ordnungsgemäßen Protokollierung für Geschäftsprozesse</a:t>
            </a:r>
          </a:p>
        </p:txBody>
      </p:sp>
      <p:sp>
        <p:nvSpPr>
          <p:cNvPr id="8" name="Inhaltsplatzhalter 7">
            <a:extLst>
              <a:ext uri="{FF2B5EF4-FFF2-40B4-BE49-F238E27FC236}">
                <a16:creationId xmlns:a16="http://schemas.microsoft.com/office/drawing/2014/main" id="{F2A36E13-84A1-74B1-B440-AB7AA8602099}"/>
              </a:ext>
            </a:extLst>
          </p:cNvPr>
          <p:cNvSpPr>
            <a:spLocks noGrp="1"/>
          </p:cNvSpPr>
          <p:nvPr>
            <p:ph sz="quarter" idx="15"/>
          </p:nvPr>
        </p:nvSpPr>
        <p:spPr/>
        <p:txBody>
          <a:bodyPr/>
          <a:lstStyle/>
          <a:p>
            <a:pPr marL="0" indent="0">
              <a:buNone/>
            </a:pPr>
            <a:r>
              <a:rPr lang="de-DE" sz="1800" b="1" dirty="0"/>
              <a:t>BSI TR-03138 </a:t>
            </a:r>
            <a:r>
              <a:rPr lang="de-DE" sz="1800" b="1" dirty="0" err="1"/>
              <a:t>Resiscan</a:t>
            </a:r>
            <a:endParaRPr lang="de-DE" sz="1800" b="1" dirty="0"/>
          </a:p>
          <a:p>
            <a:r>
              <a:rPr lang="de-DE" sz="1400" dirty="0"/>
              <a:t>Für das Scannen von Papierdokumenten</a:t>
            </a:r>
          </a:p>
          <a:p>
            <a:r>
              <a:rPr lang="de-DE" sz="1400" dirty="0"/>
              <a:t>Nachweis der vollständigen Objektprotokollierung</a:t>
            </a:r>
          </a:p>
          <a:p>
            <a:r>
              <a:rPr lang="de-DE" sz="1400" dirty="0"/>
              <a:t>Nachweis des 4 </a:t>
            </a:r>
            <a:r>
              <a:rPr lang="de-DE" sz="1400" dirty="0" err="1"/>
              <a:t>Augenprizips</a:t>
            </a:r>
            <a:endParaRPr lang="de-DE" sz="1400" dirty="0"/>
          </a:p>
          <a:p>
            <a:r>
              <a:rPr lang="de-DE" sz="1400" dirty="0"/>
              <a:t>Nachweis der Qualitätskontrollen</a:t>
            </a:r>
          </a:p>
          <a:p>
            <a:r>
              <a:rPr lang="de-DE" sz="1400" dirty="0"/>
              <a:t>Nachweis des Schutzbedarfs (Schutzklassen) pro archiviertem Objekt</a:t>
            </a:r>
          </a:p>
          <a:p>
            <a:endParaRPr lang="de-DE" sz="1400" dirty="0"/>
          </a:p>
        </p:txBody>
      </p:sp>
      <p:sp>
        <p:nvSpPr>
          <p:cNvPr id="9" name="Inhaltsplatzhalter 8">
            <a:extLst>
              <a:ext uri="{FF2B5EF4-FFF2-40B4-BE49-F238E27FC236}">
                <a16:creationId xmlns:a16="http://schemas.microsoft.com/office/drawing/2014/main" id="{AFD0A8B7-3D88-D43A-26E8-C7206F4F5529}"/>
              </a:ext>
            </a:extLst>
          </p:cNvPr>
          <p:cNvSpPr>
            <a:spLocks noGrp="1"/>
          </p:cNvSpPr>
          <p:nvPr>
            <p:ph sz="quarter" idx="16"/>
          </p:nvPr>
        </p:nvSpPr>
        <p:spPr/>
        <p:txBody>
          <a:bodyPr/>
          <a:lstStyle/>
          <a:p>
            <a:pPr marL="0" indent="0">
              <a:buNone/>
            </a:pPr>
            <a:r>
              <a:rPr lang="de-DE" sz="1800" b="1" dirty="0"/>
              <a:t>DIN EN ISO 9001 oder KTQ</a:t>
            </a:r>
          </a:p>
          <a:p>
            <a:r>
              <a:rPr lang="de-DE" sz="1400" dirty="0"/>
              <a:t>Nachweis eines Qualitätsmanagements mit hinreichender Dokumentation</a:t>
            </a:r>
          </a:p>
          <a:p>
            <a:r>
              <a:rPr lang="de-DE" sz="1400" dirty="0"/>
              <a:t>Darstellung der Geschäftsprozesse</a:t>
            </a:r>
          </a:p>
          <a:p>
            <a:r>
              <a:rPr lang="de-DE" sz="1400" dirty="0"/>
              <a:t>Nachweis eines notwendigen Change Managements</a:t>
            </a:r>
          </a:p>
          <a:p>
            <a:r>
              <a:rPr lang="de-DE" sz="1400" dirty="0"/>
              <a:t>Regelmäßige Überprüfung (mind. jährlich)</a:t>
            </a:r>
          </a:p>
          <a:p>
            <a:endParaRPr lang="de-DE" sz="1800" dirty="0"/>
          </a:p>
        </p:txBody>
      </p:sp>
      <p:sp>
        <p:nvSpPr>
          <p:cNvPr id="10" name="Inhaltsplatzhalter 9">
            <a:extLst>
              <a:ext uri="{FF2B5EF4-FFF2-40B4-BE49-F238E27FC236}">
                <a16:creationId xmlns:a16="http://schemas.microsoft.com/office/drawing/2014/main" id="{7CD52ADD-E64B-5F9E-EDA5-D185529D79B1}"/>
              </a:ext>
            </a:extLst>
          </p:cNvPr>
          <p:cNvSpPr>
            <a:spLocks noGrp="1"/>
          </p:cNvSpPr>
          <p:nvPr>
            <p:ph sz="quarter" idx="17"/>
          </p:nvPr>
        </p:nvSpPr>
        <p:spPr/>
        <p:txBody>
          <a:bodyPr/>
          <a:lstStyle/>
          <a:p>
            <a:pPr marL="0" indent="0">
              <a:buNone/>
            </a:pPr>
            <a:r>
              <a:rPr lang="de-DE" sz="1800" b="1" dirty="0"/>
              <a:t>DIN ISO/IEC 27001 / 8a BSIG KRITIS</a:t>
            </a:r>
          </a:p>
          <a:p>
            <a:r>
              <a:rPr lang="de-DE" sz="1400" dirty="0"/>
              <a:t>Nachweis eines vorh. Informationssicherheitssystems</a:t>
            </a:r>
          </a:p>
          <a:p>
            <a:r>
              <a:rPr lang="de-DE" sz="1400" dirty="0"/>
              <a:t>Beschreibung des Netzwerkes und der Infrastrukturen</a:t>
            </a:r>
          </a:p>
          <a:p>
            <a:r>
              <a:rPr lang="de-DE" sz="1400" dirty="0"/>
              <a:t>Risikomanagement (interne / externe Bedrohungen)</a:t>
            </a:r>
          </a:p>
          <a:p>
            <a:r>
              <a:rPr lang="de-DE" sz="1400" dirty="0"/>
              <a:t>Nachweis eines Speicherkonzeptes</a:t>
            </a:r>
          </a:p>
          <a:p>
            <a:r>
              <a:rPr lang="de-DE" sz="1400" dirty="0" err="1"/>
              <a:t>Regelmäßge</a:t>
            </a:r>
            <a:r>
              <a:rPr lang="de-DE" sz="1400" dirty="0"/>
              <a:t> Überprüfung (mind. jährlich)</a:t>
            </a:r>
          </a:p>
        </p:txBody>
      </p:sp>
      <p:sp>
        <p:nvSpPr>
          <p:cNvPr id="11" name="Textfeld 10">
            <a:extLst>
              <a:ext uri="{FF2B5EF4-FFF2-40B4-BE49-F238E27FC236}">
                <a16:creationId xmlns:a16="http://schemas.microsoft.com/office/drawing/2014/main" id="{2245AD90-8200-EDA8-F762-42536A044DFF}"/>
              </a:ext>
            </a:extLst>
          </p:cNvPr>
          <p:cNvSpPr txBox="1"/>
          <p:nvPr/>
        </p:nvSpPr>
        <p:spPr>
          <a:xfrm>
            <a:off x="-1" y="6329779"/>
            <a:ext cx="11594237" cy="246221"/>
          </a:xfrm>
          <a:prstGeom prst="rect">
            <a:avLst/>
          </a:prstGeom>
          <a:noFill/>
        </p:spPr>
        <p:txBody>
          <a:bodyPr wrap="square" rtlCol="0">
            <a:spAutoFit/>
          </a:bodyPr>
          <a:lstStyle/>
          <a:p>
            <a:r>
              <a:rPr lang="de-DE" sz="1000" dirty="0">
                <a:solidFill>
                  <a:srgbClr val="FF0000"/>
                </a:solidFill>
              </a:rPr>
              <a:t>Mitgeltend … </a:t>
            </a:r>
            <a:r>
              <a:rPr lang="de-DE" sz="1000" dirty="0" err="1">
                <a:solidFill>
                  <a:srgbClr val="FF0000"/>
                </a:solidFill>
              </a:rPr>
              <a:t>eIDAS</a:t>
            </a:r>
            <a:r>
              <a:rPr lang="de-DE" sz="1000" dirty="0">
                <a:solidFill>
                  <a:srgbClr val="FF0000"/>
                </a:solidFill>
              </a:rPr>
              <a:t> Verordnung… BSI TR-ESOR… BSI TR-03125 Beweiswerterhaltung kryptographisch signierter Dokumente… DIN ISO 14641-1 … La norme de </a:t>
            </a:r>
            <a:r>
              <a:rPr lang="de-DE" sz="1000" dirty="0" err="1">
                <a:solidFill>
                  <a:srgbClr val="FF0000"/>
                </a:solidFill>
              </a:rPr>
              <a:t>lárchivage</a:t>
            </a:r>
            <a:r>
              <a:rPr lang="de-DE" sz="1000" dirty="0">
                <a:solidFill>
                  <a:srgbClr val="FF0000"/>
                </a:solidFill>
              </a:rPr>
              <a:t> NF Z42-013</a:t>
            </a:r>
          </a:p>
        </p:txBody>
      </p:sp>
    </p:spTree>
    <p:extLst>
      <p:ext uri="{BB962C8B-B14F-4D97-AF65-F5344CB8AC3E}">
        <p14:creationId xmlns:p14="http://schemas.microsoft.com/office/powerpoint/2010/main" val="1437438959"/>
      </p:ext>
    </p:extLst>
  </p:cSld>
  <p:clrMapOvr>
    <a:masterClrMapping/>
  </p:clrMapOvr>
  <mc:AlternateContent xmlns:mc="http://schemas.openxmlformats.org/markup-compatibility/2006" xmlns:p14="http://schemas.microsoft.com/office/powerpoint/2010/main">
    <mc:Choice Requires="p14">
      <p:transition spd="slow" p14:dur="125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p:cTn id="7" dur="1000" fill="hold"/>
                                        <p:tgtEl>
                                          <p:spTgt spid="11"/>
                                        </p:tgtEl>
                                        <p:attrNameLst>
                                          <p:attrName>ppt_w</p:attrName>
                                        </p:attrNameLst>
                                      </p:cBhvr>
                                      <p:tavLst>
                                        <p:tav tm="0">
                                          <p:val>
                                            <p:fltVal val="0"/>
                                          </p:val>
                                        </p:tav>
                                        <p:tav tm="100000">
                                          <p:val>
                                            <p:strVal val="#ppt_w"/>
                                          </p:val>
                                        </p:tav>
                                      </p:tavLst>
                                    </p:anim>
                                    <p:anim calcmode="lin" valueType="num">
                                      <p:cBhvr>
                                        <p:cTn id="8" dur="1000" fill="hold"/>
                                        <p:tgtEl>
                                          <p:spTgt spid="11"/>
                                        </p:tgtEl>
                                        <p:attrNameLst>
                                          <p:attrName>ppt_h</p:attrName>
                                        </p:attrNameLst>
                                      </p:cBhvr>
                                      <p:tavLst>
                                        <p:tav tm="0">
                                          <p:val>
                                            <p:fltVal val="0"/>
                                          </p:val>
                                        </p:tav>
                                        <p:tav tm="100000">
                                          <p:val>
                                            <p:strVal val="#ppt_h"/>
                                          </p:val>
                                        </p:tav>
                                      </p:tavLst>
                                    </p:anim>
                                    <p:anim calcmode="lin" valueType="num">
                                      <p:cBhvr>
                                        <p:cTn id="9" dur="1000" fill="hold"/>
                                        <p:tgtEl>
                                          <p:spTgt spid="11"/>
                                        </p:tgtEl>
                                        <p:attrNameLst>
                                          <p:attrName>style.rotation</p:attrName>
                                        </p:attrNameLst>
                                      </p:cBhvr>
                                      <p:tavLst>
                                        <p:tav tm="0">
                                          <p:val>
                                            <p:fltVal val="90"/>
                                          </p:val>
                                        </p:tav>
                                        <p:tav tm="100000">
                                          <p:val>
                                            <p:fltVal val="0"/>
                                          </p:val>
                                        </p:tav>
                                      </p:tavLst>
                                    </p:anim>
                                    <p:animEffect transition="in" filter="fade">
                                      <p:cBhvr>
                                        <p:cTn id="10" dur="10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Inhaltsplatzhalter 8">
            <a:extLst>
              <a:ext uri="{FF2B5EF4-FFF2-40B4-BE49-F238E27FC236}">
                <a16:creationId xmlns:a16="http://schemas.microsoft.com/office/drawing/2014/main" id="{914908FF-A68C-4B2D-B851-3234B25FD45E}"/>
              </a:ext>
            </a:extLst>
          </p:cNvPr>
          <p:cNvSpPr>
            <a:spLocks noGrp="1"/>
          </p:cNvSpPr>
          <p:nvPr>
            <p:ph sz="quarter" idx="10"/>
          </p:nvPr>
        </p:nvSpPr>
        <p:spPr>
          <a:xfrm>
            <a:off x="265417" y="1659647"/>
            <a:ext cx="5459397" cy="4535573"/>
          </a:xfrm>
        </p:spPr>
        <p:txBody>
          <a:bodyPr/>
          <a:lstStyle/>
          <a:p>
            <a:r>
              <a:rPr lang="de-DE" sz="1600" dirty="0"/>
              <a:t>Die Umsetzung der Forderungen bedeutet viel Arbeit, Schweiß und Tränen</a:t>
            </a:r>
          </a:p>
          <a:p>
            <a:r>
              <a:rPr lang="de-DE" sz="1600" dirty="0"/>
              <a:t>Die Hardwareanforderungen müssen auch bezahlt werden</a:t>
            </a:r>
          </a:p>
          <a:p>
            <a:r>
              <a:rPr lang="de-DE" sz="1600" dirty="0"/>
              <a:t>Die Scanprozesse müssen BSI TR-03138 </a:t>
            </a:r>
            <a:r>
              <a:rPr lang="de-DE" sz="1600" dirty="0" err="1"/>
              <a:t>Resiscan</a:t>
            </a:r>
            <a:r>
              <a:rPr lang="de-DE" sz="1600" dirty="0"/>
              <a:t> konform umgesetzt werden (teuer)</a:t>
            </a:r>
          </a:p>
          <a:p>
            <a:r>
              <a:rPr lang="de-DE" sz="1600" dirty="0"/>
              <a:t>Das Haus ist für seine Daten selbst verantwortlich – und da helfen zwar Testate und Zertifikate der Anbieter, aber die eigene Arbeit muss auch qualitätsgesichert werden.</a:t>
            </a:r>
          </a:p>
          <a:p>
            <a:r>
              <a:rPr lang="de-DE" sz="1600" dirty="0"/>
              <a:t>Die Krankenhäuser brauchen Projektstrukturen</a:t>
            </a:r>
          </a:p>
          <a:p>
            <a:r>
              <a:rPr lang="de-DE" sz="1600" dirty="0"/>
              <a:t>Qualitätsmanagement ist ein Muss</a:t>
            </a:r>
          </a:p>
          <a:p>
            <a:endParaRPr lang="de-DE" sz="1600" dirty="0"/>
          </a:p>
          <a:p>
            <a:r>
              <a:rPr lang="de-DE" sz="1600" dirty="0"/>
              <a:t>Alternative ist das Outsourcing und der Einkauf der kompletten Leistung</a:t>
            </a:r>
          </a:p>
          <a:p>
            <a:endParaRPr lang="de-DE" sz="1600" dirty="0"/>
          </a:p>
          <a:p>
            <a:endParaRPr lang="de-DE" sz="1600" dirty="0"/>
          </a:p>
        </p:txBody>
      </p:sp>
      <p:sp>
        <p:nvSpPr>
          <p:cNvPr id="7" name="Titel 6">
            <a:extLst>
              <a:ext uri="{FF2B5EF4-FFF2-40B4-BE49-F238E27FC236}">
                <a16:creationId xmlns:a16="http://schemas.microsoft.com/office/drawing/2014/main" id="{2C48AFC4-8016-2444-C76C-200ACD1A518E}"/>
              </a:ext>
            </a:extLst>
          </p:cNvPr>
          <p:cNvSpPr>
            <a:spLocks noGrp="1"/>
          </p:cNvSpPr>
          <p:nvPr>
            <p:ph type="ctrTitle"/>
          </p:nvPr>
        </p:nvSpPr>
        <p:spPr>
          <a:xfrm>
            <a:off x="277289" y="-309233"/>
            <a:ext cx="7579449" cy="1141459"/>
          </a:xfrm>
        </p:spPr>
        <p:txBody>
          <a:bodyPr/>
          <a:lstStyle/>
          <a:p>
            <a:r>
              <a:rPr lang="de-DE" dirty="0"/>
              <a:t>Das Problem der Krankenhäuser</a:t>
            </a:r>
          </a:p>
        </p:txBody>
      </p:sp>
      <p:sp>
        <p:nvSpPr>
          <p:cNvPr id="8" name="Textplatzhalter 7">
            <a:extLst>
              <a:ext uri="{FF2B5EF4-FFF2-40B4-BE49-F238E27FC236}">
                <a16:creationId xmlns:a16="http://schemas.microsoft.com/office/drawing/2014/main" id="{5ED76227-F66B-96B1-E1E0-E985793340FE}"/>
              </a:ext>
            </a:extLst>
          </p:cNvPr>
          <p:cNvSpPr>
            <a:spLocks noGrp="1"/>
          </p:cNvSpPr>
          <p:nvPr>
            <p:ph type="body" idx="1"/>
          </p:nvPr>
        </p:nvSpPr>
        <p:spPr>
          <a:xfrm>
            <a:off x="277289" y="518188"/>
            <a:ext cx="7591320" cy="823912"/>
          </a:xfrm>
        </p:spPr>
        <p:txBody>
          <a:bodyPr/>
          <a:lstStyle/>
          <a:p>
            <a:r>
              <a:rPr lang="de-DE" sz="2000" b="0" dirty="0"/>
              <a:t>Visionen ohne Realisation sind Halluzination</a:t>
            </a:r>
          </a:p>
        </p:txBody>
      </p:sp>
    </p:spTree>
    <p:extLst>
      <p:ext uri="{BB962C8B-B14F-4D97-AF65-F5344CB8AC3E}">
        <p14:creationId xmlns:p14="http://schemas.microsoft.com/office/powerpoint/2010/main" val="1000058023"/>
      </p:ext>
    </p:extLst>
  </p:cSld>
  <p:clrMapOvr>
    <a:masterClrMapping/>
  </p:clrMapOvr>
  <mc:AlternateContent xmlns:mc="http://schemas.openxmlformats.org/markup-compatibility/2006" xmlns:p14="http://schemas.microsoft.com/office/powerpoint/2010/main">
    <mc:Choice Requires="p14">
      <p:transition spd="slow" p14:dur="1250">
        <p14:reveal/>
      </p:transition>
    </mc:Choice>
    <mc:Fallback xmlns="">
      <p:transition spd="slow">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bg1">
            <a:alpha val="0"/>
          </a:schemeClr>
        </a:solidFill>
        <a:effectLst/>
      </p:bgPr>
    </p:bg>
    <p:spTree>
      <p:nvGrpSpPr>
        <p:cNvPr id="1" name=""/>
        <p:cNvGrpSpPr/>
        <p:nvPr/>
      </p:nvGrpSpPr>
      <p:grpSpPr>
        <a:xfrm>
          <a:off x="0" y="0"/>
          <a:ext cx="0" cy="0"/>
          <a:chOff x="0" y="0"/>
          <a:chExt cx="0" cy="0"/>
        </a:xfrm>
      </p:grpSpPr>
      <p:sp>
        <p:nvSpPr>
          <p:cNvPr id="17" name="Title 2">
            <a:extLst>
              <a:ext uri="{FF2B5EF4-FFF2-40B4-BE49-F238E27FC236}">
                <a16:creationId xmlns:a16="http://schemas.microsoft.com/office/drawing/2014/main" id="{7728F50F-5226-4201-A1B2-B3A0EAE8B6A2}"/>
              </a:ext>
            </a:extLst>
          </p:cNvPr>
          <p:cNvSpPr>
            <a:spLocks noGrp="1"/>
          </p:cNvSpPr>
          <p:nvPr>
            <p:ph type="ctrTitle"/>
          </p:nvPr>
        </p:nvSpPr>
        <p:spPr>
          <a:xfrm>
            <a:off x="277289" y="910384"/>
            <a:ext cx="6113985" cy="1141459"/>
          </a:xfrm>
        </p:spPr>
        <p:txBody>
          <a:bodyPr lIns="91440" tIns="45720" rIns="91440" bIns="45720" anchor="t" anchorCtr="0">
            <a:noAutofit/>
          </a:bodyPr>
          <a:lstStyle/>
          <a:p>
            <a:r>
              <a:rPr lang="en-US">
                <a:latin typeface="Montserrat"/>
              </a:rPr>
              <a:t>Advantage </a:t>
            </a:r>
            <a:r>
              <a:rPr lang="en-US" err="1">
                <a:latin typeface="Montserrat"/>
              </a:rPr>
              <a:t>HYDMedia</a:t>
            </a:r>
            <a:endParaRPr lang="en-US" err="1"/>
          </a:p>
        </p:txBody>
      </p:sp>
      <p:pic>
        <p:nvPicPr>
          <p:cNvPr id="4" name="Picture 4">
            <a:extLst>
              <a:ext uri="{FF2B5EF4-FFF2-40B4-BE49-F238E27FC236}">
                <a16:creationId xmlns:a16="http://schemas.microsoft.com/office/drawing/2014/main" id="{6C627C43-C268-44D4-9C45-92CB4825D81B}"/>
              </a:ext>
            </a:extLst>
          </p:cNvPr>
          <p:cNvPicPr>
            <a:picLocks noGrp="1" noChangeAspect="1"/>
          </p:cNvPicPr>
          <p:nvPr>
            <p:ph idx="1"/>
          </p:nvPr>
        </p:nvPicPr>
        <p:blipFill>
          <a:blip r:embed="rId2"/>
          <a:stretch>
            <a:fillRect/>
          </a:stretch>
        </p:blipFill>
        <p:spPr>
          <a:xfrm>
            <a:off x="4126629" y="1653525"/>
            <a:ext cx="7664703" cy="4125119"/>
          </a:xfrm>
        </p:spPr>
      </p:pic>
      <p:sp>
        <p:nvSpPr>
          <p:cNvPr id="6" name="TextBox 5">
            <a:extLst>
              <a:ext uri="{FF2B5EF4-FFF2-40B4-BE49-F238E27FC236}">
                <a16:creationId xmlns:a16="http://schemas.microsoft.com/office/drawing/2014/main" id="{E2FAA6B9-63C0-4DCD-8AD5-4710281EBF2C}"/>
              </a:ext>
            </a:extLst>
          </p:cNvPr>
          <p:cNvSpPr txBox="1"/>
          <p:nvPr/>
        </p:nvSpPr>
        <p:spPr>
          <a:xfrm>
            <a:off x="304568" y="1763519"/>
            <a:ext cx="274320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dirty="0">
                <a:latin typeface="Montserrat"/>
              </a:rPr>
              <a:t>Alles auf </a:t>
            </a:r>
            <a:r>
              <a:rPr lang="en-US" dirty="0" err="1">
                <a:latin typeface="Montserrat"/>
              </a:rPr>
              <a:t>einen</a:t>
            </a:r>
            <a:r>
              <a:rPr lang="en-US" dirty="0">
                <a:latin typeface="Montserrat"/>
              </a:rPr>
              <a:t> Klick</a:t>
            </a:r>
            <a:endParaRPr lang="en-US" dirty="0"/>
          </a:p>
        </p:txBody>
      </p:sp>
      <p:pic>
        <p:nvPicPr>
          <p:cNvPr id="8" name="Picture 8">
            <a:extLst>
              <a:ext uri="{FF2B5EF4-FFF2-40B4-BE49-F238E27FC236}">
                <a16:creationId xmlns:a16="http://schemas.microsoft.com/office/drawing/2014/main" id="{CF658A88-8456-4C4D-9DE8-731BAB06657A}"/>
              </a:ext>
            </a:extLst>
          </p:cNvPr>
          <p:cNvPicPr>
            <a:picLocks noChangeAspect="1"/>
          </p:cNvPicPr>
          <p:nvPr/>
        </p:nvPicPr>
        <p:blipFill>
          <a:blip r:embed="rId3"/>
          <a:stretch>
            <a:fillRect/>
          </a:stretch>
        </p:blipFill>
        <p:spPr>
          <a:xfrm>
            <a:off x="2568498" y="2506165"/>
            <a:ext cx="4257907" cy="2542621"/>
          </a:xfrm>
          <a:prstGeom prst="rect">
            <a:avLst/>
          </a:prstGeom>
        </p:spPr>
      </p:pic>
      <p:pic>
        <p:nvPicPr>
          <p:cNvPr id="9" name="Picture 9">
            <a:extLst>
              <a:ext uri="{FF2B5EF4-FFF2-40B4-BE49-F238E27FC236}">
                <a16:creationId xmlns:a16="http://schemas.microsoft.com/office/drawing/2014/main" id="{8F9094BC-358B-413C-954F-2E552FCB5347}"/>
              </a:ext>
            </a:extLst>
          </p:cNvPr>
          <p:cNvPicPr>
            <a:picLocks noChangeAspect="1"/>
          </p:cNvPicPr>
          <p:nvPr/>
        </p:nvPicPr>
        <p:blipFill>
          <a:blip r:embed="rId4"/>
          <a:stretch>
            <a:fillRect/>
          </a:stretch>
        </p:blipFill>
        <p:spPr>
          <a:xfrm>
            <a:off x="7437864" y="4064991"/>
            <a:ext cx="4007004" cy="2407920"/>
          </a:xfrm>
          <a:prstGeom prst="rect">
            <a:avLst/>
          </a:prstGeom>
        </p:spPr>
      </p:pic>
      <p:pic>
        <p:nvPicPr>
          <p:cNvPr id="10" name="Picture 10">
            <a:extLst>
              <a:ext uri="{FF2B5EF4-FFF2-40B4-BE49-F238E27FC236}">
                <a16:creationId xmlns:a16="http://schemas.microsoft.com/office/drawing/2014/main" id="{8A3A6200-B7C3-4472-B0E3-1E1279593926}"/>
              </a:ext>
            </a:extLst>
          </p:cNvPr>
          <p:cNvPicPr>
            <a:picLocks noChangeAspect="1"/>
          </p:cNvPicPr>
          <p:nvPr/>
        </p:nvPicPr>
        <p:blipFill>
          <a:blip r:embed="rId5"/>
          <a:stretch>
            <a:fillRect/>
          </a:stretch>
        </p:blipFill>
        <p:spPr>
          <a:xfrm>
            <a:off x="889057" y="4727660"/>
            <a:ext cx="3440151" cy="1936664"/>
          </a:xfrm>
          <a:prstGeom prst="rect">
            <a:avLst/>
          </a:prstGeom>
        </p:spPr>
      </p:pic>
      <p:pic>
        <p:nvPicPr>
          <p:cNvPr id="11" name="Picture 11">
            <a:extLst>
              <a:ext uri="{FF2B5EF4-FFF2-40B4-BE49-F238E27FC236}">
                <a16:creationId xmlns:a16="http://schemas.microsoft.com/office/drawing/2014/main" id="{59220C2B-AFE3-41E2-A1D9-C375C6979E9C}"/>
              </a:ext>
            </a:extLst>
          </p:cNvPr>
          <p:cNvPicPr>
            <a:picLocks noChangeAspect="1"/>
          </p:cNvPicPr>
          <p:nvPr/>
        </p:nvPicPr>
        <p:blipFill>
          <a:blip r:embed="rId6"/>
          <a:stretch>
            <a:fillRect/>
          </a:stretch>
        </p:blipFill>
        <p:spPr>
          <a:xfrm>
            <a:off x="7921084" y="834330"/>
            <a:ext cx="3867614" cy="2308608"/>
          </a:xfrm>
          <a:prstGeom prst="rect">
            <a:avLst/>
          </a:prstGeom>
        </p:spPr>
      </p:pic>
      <p:pic>
        <p:nvPicPr>
          <p:cNvPr id="2" name="Picture 2">
            <a:extLst>
              <a:ext uri="{FF2B5EF4-FFF2-40B4-BE49-F238E27FC236}">
                <a16:creationId xmlns:a16="http://schemas.microsoft.com/office/drawing/2014/main" id="{7FF3EDEF-BF2E-43B1-BBDD-EAA84A290EAB}"/>
              </a:ext>
            </a:extLst>
          </p:cNvPr>
          <p:cNvPicPr>
            <a:picLocks noChangeAspect="1"/>
          </p:cNvPicPr>
          <p:nvPr/>
        </p:nvPicPr>
        <p:blipFill>
          <a:blip r:embed="rId7"/>
          <a:stretch>
            <a:fillRect/>
          </a:stretch>
        </p:blipFill>
        <p:spPr>
          <a:xfrm>
            <a:off x="4724400" y="422083"/>
            <a:ext cx="3487881" cy="1874789"/>
          </a:xfrm>
          <a:prstGeom prst="rect">
            <a:avLst/>
          </a:prstGeom>
        </p:spPr>
      </p:pic>
      <p:pic>
        <p:nvPicPr>
          <p:cNvPr id="3" name="Picture 4">
            <a:extLst>
              <a:ext uri="{FF2B5EF4-FFF2-40B4-BE49-F238E27FC236}">
                <a16:creationId xmlns:a16="http://schemas.microsoft.com/office/drawing/2014/main" id="{5EAC1F27-71A7-4417-AC9E-9B1B7E99B8CA}"/>
              </a:ext>
            </a:extLst>
          </p:cNvPr>
          <p:cNvPicPr>
            <a:picLocks noChangeAspect="1"/>
          </p:cNvPicPr>
          <p:nvPr/>
        </p:nvPicPr>
        <p:blipFill>
          <a:blip r:embed="rId8"/>
          <a:stretch>
            <a:fillRect/>
          </a:stretch>
        </p:blipFill>
        <p:spPr>
          <a:xfrm>
            <a:off x="377536" y="2510354"/>
            <a:ext cx="3635086" cy="2062429"/>
          </a:xfrm>
          <a:prstGeom prst="rect">
            <a:avLst/>
          </a:prstGeom>
        </p:spPr>
      </p:pic>
      <p:pic>
        <p:nvPicPr>
          <p:cNvPr id="5" name="Picture 6">
            <a:extLst>
              <a:ext uri="{FF2B5EF4-FFF2-40B4-BE49-F238E27FC236}">
                <a16:creationId xmlns:a16="http://schemas.microsoft.com/office/drawing/2014/main" id="{4426FBA4-6FDF-41D1-BDEC-748752360306}"/>
              </a:ext>
            </a:extLst>
          </p:cNvPr>
          <p:cNvPicPr>
            <a:picLocks noChangeAspect="1"/>
          </p:cNvPicPr>
          <p:nvPr/>
        </p:nvPicPr>
        <p:blipFill>
          <a:blip r:embed="rId9"/>
          <a:stretch>
            <a:fillRect/>
          </a:stretch>
        </p:blipFill>
        <p:spPr>
          <a:xfrm>
            <a:off x="4455968" y="3777927"/>
            <a:ext cx="3756313" cy="2047077"/>
          </a:xfrm>
          <a:prstGeom prst="rect">
            <a:avLst/>
          </a:prstGeom>
        </p:spPr>
      </p:pic>
      <p:grpSp>
        <p:nvGrpSpPr>
          <p:cNvPr id="12" name="Group 11">
            <a:extLst>
              <a:ext uri="{FF2B5EF4-FFF2-40B4-BE49-F238E27FC236}">
                <a16:creationId xmlns:a16="http://schemas.microsoft.com/office/drawing/2014/main" id="{D1708A80-0BAA-4B5E-960E-2D4EB5A1E5B5}"/>
              </a:ext>
            </a:extLst>
          </p:cNvPr>
          <p:cNvGrpSpPr/>
          <p:nvPr/>
        </p:nvGrpSpPr>
        <p:grpSpPr>
          <a:xfrm>
            <a:off x="931333" y="1024465"/>
            <a:ext cx="10515599" cy="5012266"/>
            <a:chOff x="931333" y="1024465"/>
            <a:chExt cx="10515599" cy="5012266"/>
          </a:xfrm>
        </p:grpSpPr>
        <p:sp>
          <p:nvSpPr>
            <p:cNvPr id="7" name="Rectangle 6">
              <a:extLst>
                <a:ext uri="{FF2B5EF4-FFF2-40B4-BE49-F238E27FC236}">
                  <a16:creationId xmlns:a16="http://schemas.microsoft.com/office/drawing/2014/main" id="{20228318-BFC5-4700-8F96-94E415E30241}"/>
                </a:ext>
              </a:extLst>
            </p:cNvPr>
            <p:cNvSpPr/>
            <p:nvPr/>
          </p:nvSpPr>
          <p:spPr>
            <a:xfrm>
              <a:off x="7560734" y="3056466"/>
              <a:ext cx="2997199" cy="62653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cs typeface="Calibri"/>
                </a:rPr>
                <a:t>Alle </a:t>
              </a:r>
              <a:r>
                <a:rPr lang="en-US" dirty="0" err="1">
                  <a:cs typeface="Calibri"/>
                </a:rPr>
                <a:t>Informationen</a:t>
              </a:r>
              <a:r>
                <a:rPr lang="en-US" dirty="0">
                  <a:cs typeface="Calibri"/>
                </a:rPr>
                <a:t> auf </a:t>
              </a:r>
              <a:r>
                <a:rPr lang="en-US" dirty="0" err="1">
                  <a:cs typeface="Calibri"/>
                </a:rPr>
                <a:t>einen</a:t>
              </a:r>
              <a:r>
                <a:rPr lang="en-US" dirty="0">
                  <a:cs typeface="Calibri"/>
                </a:rPr>
                <a:t> </a:t>
              </a:r>
              <a:r>
                <a:rPr lang="en-US" dirty="0" err="1">
                  <a:cs typeface="Calibri"/>
                </a:rPr>
                <a:t>Blick</a:t>
              </a:r>
              <a:endParaRPr lang="en-US" dirty="0"/>
            </a:p>
          </p:txBody>
        </p:sp>
        <p:sp>
          <p:nvSpPr>
            <p:cNvPr id="13" name="Rectangle 12">
              <a:extLst>
                <a:ext uri="{FF2B5EF4-FFF2-40B4-BE49-F238E27FC236}">
                  <a16:creationId xmlns:a16="http://schemas.microsoft.com/office/drawing/2014/main" id="{32EBE522-2276-488B-B0C6-8670F3EF8A15}"/>
                </a:ext>
              </a:extLst>
            </p:cNvPr>
            <p:cNvSpPr/>
            <p:nvPr/>
          </p:nvSpPr>
          <p:spPr>
            <a:xfrm>
              <a:off x="8449733" y="1650999"/>
              <a:ext cx="2997199" cy="62653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dirty="0">
                  <a:cs typeface="Calibri"/>
                </a:rPr>
                <a:t>CDA LVL 1-3 </a:t>
              </a:r>
              <a:r>
                <a:rPr lang="en-US" dirty="0" err="1">
                  <a:cs typeface="Calibri"/>
                </a:rPr>
                <a:t>Objekte</a:t>
              </a:r>
              <a:endParaRPr lang="en-US" dirty="0">
                <a:cs typeface="Calibri"/>
              </a:endParaRPr>
            </a:p>
          </p:txBody>
        </p:sp>
        <p:sp>
          <p:nvSpPr>
            <p:cNvPr id="14" name="Rectangle 13">
              <a:extLst>
                <a:ext uri="{FF2B5EF4-FFF2-40B4-BE49-F238E27FC236}">
                  <a16:creationId xmlns:a16="http://schemas.microsoft.com/office/drawing/2014/main" id="{52B5AAA0-85CD-423E-95C6-119858EEAB89}"/>
                </a:ext>
              </a:extLst>
            </p:cNvPr>
            <p:cNvSpPr/>
            <p:nvPr/>
          </p:nvSpPr>
          <p:spPr>
            <a:xfrm>
              <a:off x="4969933" y="1024465"/>
              <a:ext cx="2997199" cy="62653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dirty="0" err="1">
                  <a:cs typeface="Calibri"/>
                </a:rPr>
                <a:t>Radiologie</a:t>
              </a:r>
              <a:endParaRPr lang="en-US" dirty="0"/>
            </a:p>
          </p:txBody>
        </p:sp>
        <p:sp>
          <p:nvSpPr>
            <p:cNvPr id="15" name="Rectangle 14">
              <a:extLst>
                <a:ext uri="{FF2B5EF4-FFF2-40B4-BE49-F238E27FC236}">
                  <a16:creationId xmlns:a16="http://schemas.microsoft.com/office/drawing/2014/main" id="{73D7C8A9-B494-4413-B287-6B2AD66E10C6}"/>
                </a:ext>
              </a:extLst>
            </p:cNvPr>
            <p:cNvSpPr/>
            <p:nvPr/>
          </p:nvSpPr>
          <p:spPr>
            <a:xfrm>
              <a:off x="4131733" y="3031065"/>
              <a:ext cx="2260599" cy="62653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dirty="0">
                  <a:cs typeface="Calibri"/>
                </a:rPr>
                <a:t>Workflow Design</a:t>
              </a:r>
              <a:endParaRPr lang="en-US" dirty="0"/>
            </a:p>
          </p:txBody>
        </p:sp>
        <p:sp>
          <p:nvSpPr>
            <p:cNvPr id="16" name="Rectangle 15">
              <a:extLst>
                <a:ext uri="{FF2B5EF4-FFF2-40B4-BE49-F238E27FC236}">
                  <a16:creationId xmlns:a16="http://schemas.microsoft.com/office/drawing/2014/main" id="{DCCB3F1A-486F-4C63-B87D-61FCB267D6CA}"/>
                </a:ext>
              </a:extLst>
            </p:cNvPr>
            <p:cNvSpPr/>
            <p:nvPr/>
          </p:nvSpPr>
          <p:spPr>
            <a:xfrm>
              <a:off x="4859867" y="4648198"/>
              <a:ext cx="2700865" cy="62653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dirty="0">
                  <a:cs typeface="Calibri"/>
                </a:rPr>
                <a:t>HR + Office Integration</a:t>
              </a:r>
              <a:endParaRPr lang="en-US" dirty="0"/>
            </a:p>
          </p:txBody>
        </p:sp>
        <p:sp>
          <p:nvSpPr>
            <p:cNvPr id="18" name="Rectangle 17">
              <a:extLst>
                <a:ext uri="{FF2B5EF4-FFF2-40B4-BE49-F238E27FC236}">
                  <a16:creationId xmlns:a16="http://schemas.microsoft.com/office/drawing/2014/main" id="{6928F427-5894-408A-8A45-60D683615519}"/>
                </a:ext>
              </a:extLst>
            </p:cNvPr>
            <p:cNvSpPr/>
            <p:nvPr/>
          </p:nvSpPr>
          <p:spPr>
            <a:xfrm>
              <a:off x="931333" y="3208864"/>
              <a:ext cx="2700865" cy="62653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dirty="0" err="1">
                  <a:cs typeface="Calibri"/>
                </a:rPr>
                <a:t>Rechnungsworkflows</a:t>
              </a:r>
              <a:endParaRPr lang="en-US" dirty="0"/>
            </a:p>
          </p:txBody>
        </p:sp>
        <p:sp>
          <p:nvSpPr>
            <p:cNvPr id="19" name="Rectangle 18">
              <a:extLst>
                <a:ext uri="{FF2B5EF4-FFF2-40B4-BE49-F238E27FC236}">
                  <a16:creationId xmlns:a16="http://schemas.microsoft.com/office/drawing/2014/main" id="{CEDB2E5E-095A-442C-8A22-8A092921565E}"/>
                </a:ext>
              </a:extLst>
            </p:cNvPr>
            <p:cNvSpPr/>
            <p:nvPr/>
          </p:nvSpPr>
          <p:spPr>
            <a:xfrm>
              <a:off x="1210733" y="5410197"/>
              <a:ext cx="2700865" cy="62653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dirty="0" err="1">
                  <a:cs typeface="Calibri"/>
                </a:rPr>
                <a:t>Medizin</a:t>
              </a:r>
              <a:r>
                <a:rPr lang="en-US" dirty="0">
                  <a:cs typeface="Calibri"/>
                </a:rPr>
                <a:t> Controlling</a:t>
              </a:r>
              <a:endParaRPr lang="en-US" dirty="0"/>
            </a:p>
          </p:txBody>
        </p:sp>
        <p:sp>
          <p:nvSpPr>
            <p:cNvPr id="20" name="Rectangle 19">
              <a:extLst>
                <a:ext uri="{FF2B5EF4-FFF2-40B4-BE49-F238E27FC236}">
                  <a16:creationId xmlns:a16="http://schemas.microsoft.com/office/drawing/2014/main" id="{A8DC9ECD-E49A-4AA5-80AA-3D872D152B4B}"/>
                </a:ext>
              </a:extLst>
            </p:cNvPr>
            <p:cNvSpPr/>
            <p:nvPr/>
          </p:nvSpPr>
          <p:spPr>
            <a:xfrm>
              <a:off x="8305799" y="4910663"/>
              <a:ext cx="2700865" cy="62653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dirty="0">
                  <a:cs typeface="Calibri"/>
                </a:rPr>
                <a:t>ISO </a:t>
              </a:r>
              <a:r>
                <a:rPr lang="en-US" dirty="0" err="1">
                  <a:cs typeface="Calibri"/>
                </a:rPr>
                <a:t>Normen</a:t>
              </a:r>
              <a:r>
                <a:rPr lang="en-US" dirty="0">
                  <a:cs typeface="Calibri"/>
                </a:rPr>
                <a:t>, </a:t>
              </a:r>
              <a:r>
                <a:rPr lang="en-US" dirty="0" err="1">
                  <a:cs typeface="Calibri"/>
                </a:rPr>
                <a:t>Digitale</a:t>
              </a:r>
              <a:r>
                <a:rPr lang="en-US" dirty="0">
                  <a:cs typeface="Calibri"/>
                </a:rPr>
                <a:t> </a:t>
              </a:r>
              <a:r>
                <a:rPr lang="en-US" dirty="0" err="1">
                  <a:cs typeface="Calibri"/>
                </a:rPr>
                <a:t>Signaturen</a:t>
              </a:r>
              <a:endParaRPr lang="en-US" dirty="0">
                <a:cs typeface="Calibri"/>
              </a:endParaRPr>
            </a:p>
          </p:txBody>
        </p:sp>
        <p:sp>
          <p:nvSpPr>
            <p:cNvPr id="21" name="Rectangle 20">
              <a:extLst>
                <a:ext uri="{FF2B5EF4-FFF2-40B4-BE49-F238E27FC236}">
                  <a16:creationId xmlns:a16="http://schemas.microsoft.com/office/drawing/2014/main" id="{5EBEAF47-A493-4A28-A3D3-5A57BDD3B8A8}"/>
                </a:ext>
              </a:extLst>
            </p:cNvPr>
            <p:cNvSpPr/>
            <p:nvPr/>
          </p:nvSpPr>
          <p:spPr>
            <a:xfrm>
              <a:off x="2099733" y="2252130"/>
              <a:ext cx="2700865" cy="62653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dirty="0" err="1">
                  <a:cs typeface="Calibri"/>
                </a:rPr>
                <a:t>Vertragsmanagement</a:t>
              </a:r>
              <a:endParaRPr lang="en-US" dirty="0"/>
            </a:p>
          </p:txBody>
        </p:sp>
      </p:grpSp>
    </p:spTree>
    <p:extLst>
      <p:ext uri="{BB962C8B-B14F-4D97-AF65-F5344CB8AC3E}">
        <p14:creationId xmlns:p14="http://schemas.microsoft.com/office/powerpoint/2010/main" val="3532633972"/>
      </p:ext>
    </p:extLst>
  </p:cSld>
  <p:clrMapOvr>
    <a:masterClrMapping/>
  </p:clrMapOvr>
  <mc:AlternateContent xmlns:mc="http://schemas.openxmlformats.org/markup-compatibility/2006" xmlns:p14="http://schemas.microsoft.com/office/powerpoint/2010/main">
    <mc:Choice Requires="p14">
      <p:transition spd="slow" p14:dur="125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500"/>
                                        <p:tgtEl>
                                          <p:spTgt spid="11"/>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
                                        </p:tgtEl>
                                        <p:attrNameLst>
                                          <p:attrName>style.visibility</p:attrName>
                                        </p:attrNameLst>
                                      </p:cBhvr>
                                      <p:to>
                                        <p:strVal val="visible"/>
                                      </p:to>
                                    </p:set>
                                    <p:animEffect transition="in" filter="fade">
                                      <p:cBhvr>
                                        <p:cTn id="17" dur="500"/>
                                        <p:tgtEl>
                                          <p:spTgt spid="2"/>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500"/>
                                        <p:tgtEl>
                                          <p:spTgt spid="8"/>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9"/>
                                        </p:tgtEl>
                                        <p:attrNameLst>
                                          <p:attrName>style.visibility</p:attrName>
                                        </p:attrNameLst>
                                      </p:cBhvr>
                                      <p:to>
                                        <p:strVal val="visible"/>
                                      </p:to>
                                    </p:set>
                                    <p:animEffect transition="in" filter="fade">
                                      <p:cBhvr>
                                        <p:cTn id="27" dur="500"/>
                                        <p:tgtEl>
                                          <p:spTgt spid="9"/>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5"/>
                                        </p:tgtEl>
                                        <p:attrNameLst>
                                          <p:attrName>style.visibility</p:attrName>
                                        </p:attrNameLst>
                                      </p:cBhvr>
                                      <p:to>
                                        <p:strVal val="visible"/>
                                      </p:to>
                                    </p:set>
                                    <p:animEffect transition="in" filter="fade">
                                      <p:cBhvr>
                                        <p:cTn id="32" dur="500"/>
                                        <p:tgtEl>
                                          <p:spTgt spid="5"/>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3"/>
                                        </p:tgtEl>
                                        <p:attrNameLst>
                                          <p:attrName>style.visibility</p:attrName>
                                        </p:attrNameLst>
                                      </p:cBhvr>
                                      <p:to>
                                        <p:strVal val="visible"/>
                                      </p:to>
                                    </p:set>
                                    <p:animEffect transition="in" filter="fade">
                                      <p:cBhvr>
                                        <p:cTn id="37" dur="500"/>
                                        <p:tgtEl>
                                          <p:spTgt spid="3"/>
                                        </p:tgtEl>
                                      </p:cBhvr>
                                    </p:animEffect>
                                  </p:childTnLst>
                                </p:cTn>
                              </p:par>
                            </p:childTnLst>
                          </p:cTn>
                        </p:par>
                      </p:childTnLst>
                    </p:cTn>
                  </p:par>
                  <p:par>
                    <p:cTn id="38" fill="hold">
                      <p:stCondLst>
                        <p:cond delay="indefinite"/>
                      </p:stCondLst>
                      <p:childTnLst>
                        <p:par>
                          <p:cTn id="39" fill="hold">
                            <p:stCondLst>
                              <p:cond delay="0"/>
                            </p:stCondLst>
                            <p:childTnLst>
                              <p:par>
                                <p:cTn id="40" presetID="1" presetClass="entr" presetSubtype="0" fill="hold" nodeType="clickEffect">
                                  <p:stCondLst>
                                    <p:cond delay="0"/>
                                  </p:stCondLst>
                                  <p:childTnLst>
                                    <p:set>
                                      <p:cBhvr>
                                        <p:cTn id="41" dur="1" fill="hold">
                                          <p:stCondLst>
                                            <p:cond delay="0"/>
                                          </p:stCondLst>
                                        </p:cTn>
                                        <p:tgtEl>
                                          <p:spTgt spid="10"/>
                                        </p:tgtEl>
                                        <p:attrNameLst>
                                          <p:attrName>style.visibility</p:attrName>
                                        </p:attrNameLst>
                                      </p:cBhvr>
                                      <p:to>
                                        <p:strVal val="visible"/>
                                      </p:to>
                                    </p:set>
                                  </p:childTnLst>
                                </p:cTn>
                              </p:par>
                            </p:childTnLst>
                          </p:cTn>
                        </p:par>
                      </p:childTnLst>
                    </p:cTn>
                  </p:par>
                  <p:par>
                    <p:cTn id="42" fill="hold">
                      <p:stCondLst>
                        <p:cond delay="indefinite"/>
                      </p:stCondLst>
                      <p:childTnLst>
                        <p:par>
                          <p:cTn id="43" fill="hold">
                            <p:stCondLst>
                              <p:cond delay="0"/>
                            </p:stCondLst>
                            <p:childTnLst>
                              <p:par>
                                <p:cTn id="44" presetID="2" presetClass="entr" presetSubtype="4" fill="hold" nodeType="clickEffect">
                                  <p:stCondLst>
                                    <p:cond delay="0"/>
                                  </p:stCondLst>
                                  <p:childTnLst>
                                    <p:set>
                                      <p:cBhvr>
                                        <p:cTn id="45" dur="1" fill="hold">
                                          <p:stCondLst>
                                            <p:cond delay="0"/>
                                          </p:stCondLst>
                                        </p:cTn>
                                        <p:tgtEl>
                                          <p:spTgt spid="12"/>
                                        </p:tgtEl>
                                        <p:attrNameLst>
                                          <p:attrName>style.visibility</p:attrName>
                                        </p:attrNameLst>
                                      </p:cBhvr>
                                      <p:to>
                                        <p:strVal val="visible"/>
                                      </p:to>
                                    </p:set>
                                    <p:anim calcmode="lin" valueType="num">
                                      <p:cBhvr additive="base">
                                        <p:cTn id="46" dur="500" fill="hold"/>
                                        <p:tgtEl>
                                          <p:spTgt spid="12"/>
                                        </p:tgtEl>
                                        <p:attrNameLst>
                                          <p:attrName>ppt_x</p:attrName>
                                        </p:attrNameLst>
                                      </p:cBhvr>
                                      <p:tavLst>
                                        <p:tav tm="0">
                                          <p:val>
                                            <p:strVal val="#ppt_x"/>
                                          </p:val>
                                        </p:tav>
                                        <p:tav tm="100000">
                                          <p:val>
                                            <p:strVal val="#ppt_x"/>
                                          </p:val>
                                        </p:tav>
                                      </p:tavLst>
                                    </p:anim>
                                    <p:anim calcmode="lin" valueType="num">
                                      <p:cBhvr additive="base">
                                        <p:cTn id="47"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99E6FA98-4C1F-D247-6FAC-E5BB8DCB4E5F}"/>
              </a:ext>
            </a:extLst>
          </p:cNvPr>
          <p:cNvSpPr>
            <a:spLocks noGrp="1"/>
          </p:cNvSpPr>
          <p:nvPr>
            <p:ph type="ctrTitle"/>
          </p:nvPr>
        </p:nvSpPr>
        <p:spPr/>
        <p:txBody>
          <a:bodyPr/>
          <a:lstStyle/>
          <a:p>
            <a:r>
              <a:rPr lang="de-DE" dirty="0"/>
              <a:t>Fragen?</a:t>
            </a:r>
          </a:p>
        </p:txBody>
      </p:sp>
      <p:sp>
        <p:nvSpPr>
          <p:cNvPr id="7" name="Untertitel 6">
            <a:extLst>
              <a:ext uri="{FF2B5EF4-FFF2-40B4-BE49-F238E27FC236}">
                <a16:creationId xmlns:a16="http://schemas.microsoft.com/office/drawing/2014/main" id="{B9EE0C61-DF3F-F091-6A05-3AC1368A135A}"/>
              </a:ext>
            </a:extLst>
          </p:cNvPr>
          <p:cNvSpPr>
            <a:spLocks noGrp="1"/>
          </p:cNvSpPr>
          <p:nvPr>
            <p:ph type="subTitle" idx="1"/>
          </p:nvPr>
        </p:nvSpPr>
        <p:spPr/>
        <p:txBody>
          <a:bodyPr/>
          <a:lstStyle/>
          <a:p>
            <a:r>
              <a:rPr lang="de-DE" dirty="0"/>
              <a:t>Wir geben Antworten</a:t>
            </a:r>
          </a:p>
        </p:txBody>
      </p:sp>
    </p:spTree>
    <p:extLst>
      <p:ext uri="{BB962C8B-B14F-4D97-AF65-F5344CB8AC3E}">
        <p14:creationId xmlns:p14="http://schemas.microsoft.com/office/powerpoint/2010/main" val="4225495862"/>
      </p:ext>
    </p:extLst>
  </p:cSld>
  <p:clrMapOvr>
    <a:masterClrMapping/>
  </p:clrMapOvr>
  <mc:AlternateContent xmlns:mc="http://schemas.openxmlformats.org/markup-compatibility/2006" xmlns:p14="http://schemas.microsoft.com/office/powerpoint/2010/main">
    <mc:Choice Requires="p14">
      <p:transition spd="slow" p14:dur="1250">
        <p14:reveal/>
      </p:transition>
    </mc:Choice>
    <mc:Fallback xmlns="">
      <p:transition spd="slow">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7" name="Object 66" hidden="1"/>
          <p:cNvGraphicFramePr>
            <a:graphicFrameLocks noChangeAspect="1"/>
          </p:cNvGraphicFramePr>
          <p:nvPr>
            <p:custDataLst>
              <p:tags r:id="rId2"/>
            </p:custDataLst>
            <p:extLst>
              <p:ext uri="{D42A27DB-BD31-4B8C-83A1-F6EECF244321}">
                <p14:modId xmlns:p14="http://schemas.microsoft.com/office/powerpoint/2010/main" val="8371599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7" name="think-cell Slide" r:id="rId4" imgW="353" imgH="318" progId="TCLayout.ActiveDocument.1">
                  <p:embed/>
                </p:oleObj>
              </mc:Choice>
              <mc:Fallback>
                <p:oleObj name="think-cell Slide" r:id="rId4" imgW="353" imgH="318" progId="TCLayout.ActiveDocument.1">
                  <p:embed/>
                  <p:pic>
                    <p:nvPicPr>
                      <p:cNvPr id="67" name="Object 6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1"/>
          <p:cNvSpPr txBox="1">
            <a:spLocks/>
          </p:cNvSpPr>
          <p:nvPr/>
        </p:nvSpPr>
        <p:spPr>
          <a:xfrm>
            <a:off x="277290" y="223790"/>
            <a:ext cx="10200210" cy="547735"/>
          </a:xfrm>
          <a:prstGeom prst="rect">
            <a:avLst/>
          </a:prstGeom>
        </p:spPr>
        <p:txBody>
          <a:bodyPr vert="horz" lIns="91440" tIns="45720" rIns="91440" bIns="45720" anchor="b" anchorCtr="0">
            <a:noAutofit/>
          </a:bodyPr>
          <a:lstStyle>
            <a:lvl1pPr algn="l" rtl="0" eaLnBrk="1" fontAlgn="base" hangingPunct="1">
              <a:lnSpc>
                <a:spcPct val="90000"/>
              </a:lnSpc>
              <a:spcBef>
                <a:spcPct val="0"/>
              </a:spcBef>
              <a:spcAft>
                <a:spcPct val="0"/>
              </a:spcAft>
              <a:defRPr sz="2800" b="1" i="0" kern="1200">
                <a:solidFill>
                  <a:schemeClr val="tx2"/>
                </a:solidFill>
                <a:latin typeface="Montserrat" pitchFamily="2" charset="77"/>
                <a:ea typeface="+mj-ea"/>
                <a:cs typeface="+mj-cs"/>
              </a:defRPr>
            </a:lvl1pPr>
            <a:lvl2pPr algn="l" rtl="0" eaLnBrk="1" fontAlgn="base" hangingPunct="1">
              <a:lnSpc>
                <a:spcPct val="90000"/>
              </a:lnSpc>
              <a:spcBef>
                <a:spcPct val="0"/>
              </a:spcBef>
              <a:spcAft>
                <a:spcPct val="0"/>
              </a:spcAft>
              <a:defRPr sz="4400">
                <a:solidFill>
                  <a:schemeClr val="tx1"/>
                </a:solidFill>
                <a:latin typeface="Montserrat" panose="00000500000000000000" pitchFamily="2" charset="0"/>
              </a:defRPr>
            </a:lvl2pPr>
            <a:lvl3pPr algn="l" rtl="0" eaLnBrk="1" fontAlgn="base" hangingPunct="1">
              <a:lnSpc>
                <a:spcPct val="90000"/>
              </a:lnSpc>
              <a:spcBef>
                <a:spcPct val="0"/>
              </a:spcBef>
              <a:spcAft>
                <a:spcPct val="0"/>
              </a:spcAft>
              <a:defRPr sz="4400">
                <a:solidFill>
                  <a:schemeClr val="tx1"/>
                </a:solidFill>
                <a:latin typeface="Montserrat" panose="00000500000000000000" pitchFamily="2" charset="0"/>
              </a:defRPr>
            </a:lvl3pPr>
            <a:lvl4pPr algn="l" rtl="0" eaLnBrk="1" fontAlgn="base" hangingPunct="1">
              <a:lnSpc>
                <a:spcPct val="90000"/>
              </a:lnSpc>
              <a:spcBef>
                <a:spcPct val="0"/>
              </a:spcBef>
              <a:spcAft>
                <a:spcPct val="0"/>
              </a:spcAft>
              <a:defRPr sz="4400">
                <a:solidFill>
                  <a:schemeClr val="tx1"/>
                </a:solidFill>
                <a:latin typeface="Montserrat" panose="00000500000000000000" pitchFamily="2" charset="0"/>
              </a:defRPr>
            </a:lvl4pPr>
            <a:lvl5pPr algn="l" rtl="0" eaLnBrk="1" fontAlgn="base" hangingPunct="1">
              <a:lnSpc>
                <a:spcPct val="90000"/>
              </a:lnSpc>
              <a:spcBef>
                <a:spcPct val="0"/>
              </a:spcBef>
              <a:spcAft>
                <a:spcPct val="0"/>
              </a:spcAft>
              <a:defRPr sz="4400">
                <a:solidFill>
                  <a:schemeClr val="tx1"/>
                </a:solidFill>
                <a:latin typeface="Montserrat" panose="00000500000000000000" pitchFamily="2" charset="0"/>
              </a:defRPr>
            </a:lvl5pPr>
            <a:lvl6pPr marL="457200" algn="l" rtl="0" eaLnBrk="1" fontAlgn="base" hangingPunct="1">
              <a:lnSpc>
                <a:spcPct val="90000"/>
              </a:lnSpc>
              <a:spcBef>
                <a:spcPct val="0"/>
              </a:spcBef>
              <a:spcAft>
                <a:spcPct val="0"/>
              </a:spcAft>
              <a:defRPr sz="4400">
                <a:solidFill>
                  <a:schemeClr val="tx1"/>
                </a:solidFill>
                <a:latin typeface="Montserrat" panose="00000500000000000000" pitchFamily="2" charset="0"/>
              </a:defRPr>
            </a:lvl6pPr>
            <a:lvl7pPr marL="914400" algn="l" rtl="0" eaLnBrk="1" fontAlgn="base" hangingPunct="1">
              <a:lnSpc>
                <a:spcPct val="90000"/>
              </a:lnSpc>
              <a:spcBef>
                <a:spcPct val="0"/>
              </a:spcBef>
              <a:spcAft>
                <a:spcPct val="0"/>
              </a:spcAft>
              <a:defRPr sz="4400">
                <a:solidFill>
                  <a:schemeClr val="tx1"/>
                </a:solidFill>
                <a:latin typeface="Montserrat" panose="00000500000000000000" pitchFamily="2" charset="0"/>
              </a:defRPr>
            </a:lvl7pPr>
            <a:lvl8pPr marL="1371600" algn="l" rtl="0" eaLnBrk="1" fontAlgn="base" hangingPunct="1">
              <a:lnSpc>
                <a:spcPct val="90000"/>
              </a:lnSpc>
              <a:spcBef>
                <a:spcPct val="0"/>
              </a:spcBef>
              <a:spcAft>
                <a:spcPct val="0"/>
              </a:spcAft>
              <a:defRPr sz="4400">
                <a:solidFill>
                  <a:schemeClr val="tx1"/>
                </a:solidFill>
                <a:latin typeface="Montserrat" panose="00000500000000000000" pitchFamily="2" charset="0"/>
              </a:defRPr>
            </a:lvl8pPr>
            <a:lvl9pPr marL="1828800" algn="l" rtl="0" eaLnBrk="1" fontAlgn="base" hangingPunct="1">
              <a:lnSpc>
                <a:spcPct val="90000"/>
              </a:lnSpc>
              <a:spcBef>
                <a:spcPct val="0"/>
              </a:spcBef>
              <a:spcAft>
                <a:spcPct val="0"/>
              </a:spcAft>
              <a:defRPr sz="4400">
                <a:solidFill>
                  <a:schemeClr val="tx1"/>
                </a:solidFill>
                <a:latin typeface="Montserrat" panose="00000500000000000000" pitchFamily="2" charset="0"/>
              </a:defRPr>
            </a:lvl9pPr>
          </a:lstStyle>
          <a:p>
            <a:r>
              <a:rPr lang="en-GB" dirty="0" err="1">
                <a:solidFill>
                  <a:schemeClr val="bg1"/>
                </a:solidFill>
                <a:latin typeface="Montserrat" panose="00000500000000000000"/>
              </a:rPr>
              <a:t>Digitale</a:t>
            </a:r>
            <a:r>
              <a:rPr lang="en-GB" dirty="0">
                <a:solidFill>
                  <a:schemeClr val="bg1"/>
                </a:solidFill>
                <a:latin typeface="Montserrat" panose="00000500000000000000"/>
              </a:rPr>
              <a:t> </a:t>
            </a:r>
            <a:r>
              <a:rPr lang="en-GB" dirty="0" err="1">
                <a:solidFill>
                  <a:schemeClr val="bg1"/>
                </a:solidFill>
                <a:latin typeface="Montserrat" panose="00000500000000000000"/>
              </a:rPr>
              <a:t>Archivierung</a:t>
            </a:r>
            <a:r>
              <a:rPr lang="en-GB" dirty="0">
                <a:solidFill>
                  <a:schemeClr val="bg1"/>
                </a:solidFill>
                <a:latin typeface="Montserrat" panose="00000500000000000000"/>
              </a:rPr>
              <a:t> </a:t>
            </a:r>
            <a:r>
              <a:rPr lang="en-GB" dirty="0" err="1">
                <a:solidFill>
                  <a:schemeClr val="bg1"/>
                </a:solidFill>
                <a:latin typeface="Montserrat" panose="00000500000000000000"/>
              </a:rPr>
              <a:t>richtig</a:t>
            </a:r>
            <a:r>
              <a:rPr lang="en-GB" dirty="0">
                <a:solidFill>
                  <a:schemeClr val="bg1"/>
                </a:solidFill>
                <a:latin typeface="Montserrat" panose="00000500000000000000"/>
              </a:rPr>
              <a:t> </a:t>
            </a:r>
            <a:r>
              <a:rPr lang="en-GB" dirty="0" err="1">
                <a:solidFill>
                  <a:schemeClr val="bg1"/>
                </a:solidFill>
                <a:latin typeface="Montserrat" panose="00000500000000000000"/>
              </a:rPr>
              <a:t>gemacht</a:t>
            </a:r>
            <a:endParaRPr lang="en-GB" dirty="0">
              <a:solidFill>
                <a:schemeClr val="bg1"/>
              </a:solidFill>
              <a:latin typeface="Montserrat" panose="00000500000000000000"/>
            </a:endParaRPr>
          </a:p>
        </p:txBody>
      </p:sp>
      <p:sp>
        <p:nvSpPr>
          <p:cNvPr id="2" name="Textfeld 1">
            <a:extLst>
              <a:ext uri="{FF2B5EF4-FFF2-40B4-BE49-F238E27FC236}">
                <a16:creationId xmlns:a16="http://schemas.microsoft.com/office/drawing/2014/main" id="{4B53F3D7-13EF-496B-BAB3-5A0F14D7A0E4}"/>
              </a:ext>
            </a:extLst>
          </p:cNvPr>
          <p:cNvSpPr txBox="1"/>
          <p:nvPr/>
        </p:nvSpPr>
        <p:spPr>
          <a:xfrm>
            <a:off x="277290" y="1757778"/>
            <a:ext cx="7739246" cy="3847207"/>
          </a:xfrm>
          <a:prstGeom prst="rect">
            <a:avLst/>
          </a:prstGeom>
          <a:noFill/>
        </p:spPr>
        <p:txBody>
          <a:bodyPr wrap="square" lIns="91440" tIns="45720" rIns="91440" bIns="45720" rtlCol="0" anchor="t">
            <a:spAutoFit/>
          </a:bodyPr>
          <a:lstStyle/>
          <a:p>
            <a:r>
              <a:rPr lang="de-DE" sz="2400" dirty="0">
                <a:solidFill>
                  <a:schemeClr val="bg1"/>
                </a:solidFill>
                <a:latin typeface="+mn-lt"/>
              </a:rPr>
              <a:t>Wir für</a:t>
            </a:r>
          </a:p>
          <a:p>
            <a:endParaRPr lang="de-DE" sz="2400" b="1" dirty="0">
              <a:solidFill>
                <a:schemeClr val="bg1"/>
              </a:solidFill>
              <a:latin typeface="+mn-lt"/>
            </a:endParaRPr>
          </a:p>
          <a:p>
            <a:r>
              <a:rPr lang="de-DE" sz="4000" b="1" dirty="0">
                <a:solidFill>
                  <a:schemeClr val="bg1"/>
                </a:solidFill>
                <a:latin typeface="+mn-lt"/>
              </a:rPr>
              <a:t>„Sie“ </a:t>
            </a:r>
          </a:p>
          <a:p>
            <a:endParaRPr lang="de-DE" sz="2400" b="1" dirty="0">
              <a:solidFill>
                <a:schemeClr val="bg1"/>
              </a:solidFill>
              <a:latin typeface="+mn-lt"/>
            </a:endParaRPr>
          </a:p>
          <a:p>
            <a:r>
              <a:rPr lang="de-DE" sz="2400" b="1" dirty="0" err="1">
                <a:solidFill>
                  <a:schemeClr val="bg1"/>
                </a:solidFill>
                <a:latin typeface="+mn-lt"/>
              </a:rPr>
              <a:t>HYDMedia</a:t>
            </a:r>
            <a:r>
              <a:rPr lang="de-DE" sz="2400" b="1" dirty="0">
                <a:solidFill>
                  <a:schemeClr val="bg1"/>
                </a:solidFill>
                <a:latin typeface="+mn-lt"/>
              </a:rPr>
              <a:t> G6</a:t>
            </a:r>
          </a:p>
          <a:p>
            <a:endParaRPr lang="de-DE" sz="2400" b="1" dirty="0">
              <a:solidFill>
                <a:schemeClr val="bg1"/>
              </a:solidFill>
              <a:latin typeface="+mn-lt"/>
            </a:endParaRPr>
          </a:p>
          <a:p>
            <a:endParaRPr lang="de-DE" sz="2400" b="1" dirty="0">
              <a:solidFill>
                <a:schemeClr val="bg1"/>
              </a:solidFill>
              <a:latin typeface="+mn-lt"/>
            </a:endParaRPr>
          </a:p>
          <a:p>
            <a:endParaRPr lang="de-DE" sz="2400" b="1" dirty="0">
              <a:solidFill>
                <a:schemeClr val="bg1"/>
              </a:solidFill>
              <a:latin typeface="+mn-lt"/>
            </a:endParaRPr>
          </a:p>
          <a:p>
            <a:r>
              <a:rPr lang="de-DE" dirty="0">
                <a:solidFill>
                  <a:schemeClr val="bg1"/>
                </a:solidFill>
                <a:latin typeface="+mn-lt"/>
              </a:rPr>
              <a:t>The </a:t>
            </a:r>
            <a:r>
              <a:rPr lang="de-DE" dirty="0" err="1">
                <a:solidFill>
                  <a:schemeClr val="bg1"/>
                </a:solidFill>
                <a:latin typeface="+mn-lt"/>
              </a:rPr>
              <a:t>clinical</a:t>
            </a:r>
            <a:r>
              <a:rPr lang="de-DE" dirty="0">
                <a:solidFill>
                  <a:schemeClr val="bg1"/>
                </a:solidFill>
                <a:latin typeface="+mn-lt"/>
              </a:rPr>
              <a:t> ECM / </a:t>
            </a:r>
            <a:r>
              <a:rPr lang="de-DE" dirty="0" err="1">
                <a:solidFill>
                  <a:schemeClr val="bg1"/>
                </a:solidFill>
                <a:latin typeface="+mn-lt"/>
              </a:rPr>
              <a:t>eVNA</a:t>
            </a:r>
            <a:r>
              <a:rPr lang="de-DE" dirty="0">
                <a:solidFill>
                  <a:schemeClr val="bg1"/>
                </a:solidFill>
                <a:latin typeface="+mn-lt"/>
              </a:rPr>
              <a:t> </a:t>
            </a:r>
            <a:r>
              <a:rPr lang="de-DE" dirty="0" err="1">
                <a:solidFill>
                  <a:schemeClr val="bg1"/>
                </a:solidFill>
                <a:latin typeface="+mn-lt"/>
              </a:rPr>
              <a:t>system</a:t>
            </a:r>
            <a:r>
              <a:rPr lang="de-DE" dirty="0">
                <a:solidFill>
                  <a:schemeClr val="bg1"/>
                </a:solidFill>
                <a:latin typeface="+mn-lt"/>
              </a:rPr>
              <a:t> – </a:t>
            </a:r>
            <a:r>
              <a:rPr lang="de-DE" dirty="0" err="1">
                <a:solidFill>
                  <a:schemeClr val="bg1"/>
                </a:solidFill>
                <a:latin typeface="+mn-lt"/>
              </a:rPr>
              <a:t>made</a:t>
            </a:r>
            <a:r>
              <a:rPr lang="de-DE" dirty="0">
                <a:solidFill>
                  <a:schemeClr val="bg1"/>
                </a:solidFill>
                <a:latin typeface="+mn-lt"/>
              </a:rPr>
              <a:t> </a:t>
            </a:r>
            <a:r>
              <a:rPr lang="de-DE" dirty="0" err="1">
                <a:solidFill>
                  <a:schemeClr val="bg1"/>
                </a:solidFill>
                <a:latin typeface="+mn-lt"/>
              </a:rPr>
              <a:t>for</a:t>
            </a:r>
            <a:r>
              <a:rPr lang="de-DE" dirty="0">
                <a:solidFill>
                  <a:schemeClr val="bg1"/>
                </a:solidFill>
                <a:latin typeface="+mn-lt"/>
              </a:rPr>
              <a:t> </a:t>
            </a:r>
            <a:r>
              <a:rPr lang="de-DE" dirty="0" err="1">
                <a:solidFill>
                  <a:schemeClr val="bg1"/>
                </a:solidFill>
                <a:latin typeface="+mn-lt"/>
              </a:rPr>
              <a:t>Healthcare</a:t>
            </a:r>
            <a:r>
              <a:rPr lang="de-DE" dirty="0">
                <a:solidFill>
                  <a:schemeClr val="bg1"/>
                </a:solidFill>
                <a:latin typeface="+mn-lt"/>
              </a:rPr>
              <a:t> </a:t>
            </a:r>
            <a:r>
              <a:rPr lang="de-DE" dirty="0" err="1">
                <a:solidFill>
                  <a:schemeClr val="bg1"/>
                </a:solidFill>
                <a:latin typeface="+mn-lt"/>
              </a:rPr>
              <a:t>stakeholders</a:t>
            </a:r>
            <a:endParaRPr lang="de-DE" dirty="0">
              <a:solidFill>
                <a:schemeClr val="bg1"/>
              </a:solidFill>
              <a:latin typeface="+mn-lt"/>
            </a:endParaRPr>
          </a:p>
          <a:p>
            <a:endParaRPr lang="de-DE" dirty="0"/>
          </a:p>
        </p:txBody>
      </p:sp>
    </p:spTree>
    <p:extLst>
      <p:ext uri="{BB962C8B-B14F-4D97-AF65-F5344CB8AC3E}">
        <p14:creationId xmlns:p14="http://schemas.microsoft.com/office/powerpoint/2010/main" val="1534234806"/>
      </p:ext>
    </p:extLst>
  </p:cSld>
  <p:clrMapOvr>
    <a:masterClrMapping/>
  </p:clrMapOvr>
  <mc:AlternateContent xmlns:mc="http://schemas.openxmlformats.org/markup-compatibility/2006" xmlns:p14="http://schemas.microsoft.com/office/powerpoint/2010/main">
    <mc:Choice Requires="p14">
      <p:transition spd="slow" p14:dur="1250">
        <p14:reveal/>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3" name="think-cell Slide" r:id="rId5" imgW="353" imgH="318" progId="TCLayout.ActiveDocument.1">
                  <p:embed/>
                </p:oleObj>
              </mc:Choice>
              <mc:Fallback>
                <p:oleObj name="think-cell Slide" r:id="rId5" imgW="353" imgH="318" progId="TCLayout.ActiveDocument.1">
                  <p:embed/>
                  <p:pic>
                    <p:nvPicPr>
                      <p:cNvPr id="14" name="Object 1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ctrTitle"/>
          </p:nvPr>
        </p:nvSpPr>
        <p:spPr/>
        <p:txBody>
          <a:bodyPr vert="horz"/>
          <a:lstStyle/>
          <a:p>
            <a:r>
              <a:rPr lang="en-GB" dirty="0"/>
              <a:t>Mehr </a:t>
            </a:r>
            <a:r>
              <a:rPr lang="en-GB" dirty="0" err="1"/>
              <a:t>als</a:t>
            </a:r>
            <a:r>
              <a:rPr lang="en-GB" dirty="0"/>
              <a:t> 600 HYDMedia </a:t>
            </a:r>
            <a:r>
              <a:rPr lang="en-GB" dirty="0" err="1"/>
              <a:t>Krankenhäuser</a:t>
            </a:r>
            <a:r>
              <a:rPr lang="en-GB" dirty="0"/>
              <a:t> in D A CH</a:t>
            </a:r>
            <a:endParaRPr lang="en-US" dirty="0"/>
          </a:p>
        </p:txBody>
      </p:sp>
      <p:sp>
        <p:nvSpPr>
          <p:cNvPr id="54" name="AutoShape 14" descr="group people icon 643326 Vector Art at Vecteezy"/>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9" name="Grafik 8">
            <a:extLst>
              <a:ext uri="{FF2B5EF4-FFF2-40B4-BE49-F238E27FC236}">
                <a16:creationId xmlns:a16="http://schemas.microsoft.com/office/drawing/2014/main" id="{44BD50AB-5DA7-46A3-B2D4-9280E280295C}"/>
              </a:ext>
            </a:extLst>
          </p:cNvPr>
          <p:cNvPicPr>
            <a:picLocks noChangeAspect="1"/>
          </p:cNvPicPr>
          <p:nvPr/>
        </p:nvPicPr>
        <p:blipFill>
          <a:blip r:embed="rId7"/>
          <a:stretch>
            <a:fillRect/>
          </a:stretch>
        </p:blipFill>
        <p:spPr>
          <a:xfrm>
            <a:off x="5940228" y="1643062"/>
            <a:ext cx="5972175" cy="3476625"/>
          </a:xfrm>
          <a:prstGeom prst="rect">
            <a:avLst/>
          </a:prstGeom>
        </p:spPr>
      </p:pic>
      <p:sp>
        <p:nvSpPr>
          <p:cNvPr id="2" name="Textfeld 1">
            <a:extLst>
              <a:ext uri="{FF2B5EF4-FFF2-40B4-BE49-F238E27FC236}">
                <a16:creationId xmlns:a16="http://schemas.microsoft.com/office/drawing/2014/main" id="{1F7C0746-5480-4B71-A1B4-9752EEF0864E}"/>
              </a:ext>
            </a:extLst>
          </p:cNvPr>
          <p:cNvSpPr txBox="1"/>
          <p:nvPr/>
        </p:nvSpPr>
        <p:spPr>
          <a:xfrm>
            <a:off x="9089309" y="5124212"/>
            <a:ext cx="2938305" cy="369332"/>
          </a:xfrm>
          <a:prstGeom prst="rect">
            <a:avLst/>
          </a:prstGeom>
          <a:noFill/>
        </p:spPr>
        <p:txBody>
          <a:bodyPr wrap="none" rtlCol="0">
            <a:spAutoFit/>
          </a:bodyPr>
          <a:lstStyle/>
          <a:p>
            <a:r>
              <a:rPr lang="de-DE" dirty="0">
                <a:latin typeface="+mn-lt"/>
              </a:rPr>
              <a:t>Pic: Medius Clinic </a:t>
            </a:r>
            <a:r>
              <a:rPr lang="de-DE" dirty="0" err="1">
                <a:latin typeface="+mn-lt"/>
              </a:rPr>
              <a:t>Nuertingen</a:t>
            </a:r>
            <a:endParaRPr lang="de-DE" dirty="0">
              <a:latin typeface="+mn-lt"/>
            </a:endParaRPr>
          </a:p>
        </p:txBody>
      </p:sp>
      <p:grpSp>
        <p:nvGrpSpPr>
          <p:cNvPr id="201" name="Gruppieren 200">
            <a:extLst>
              <a:ext uri="{FF2B5EF4-FFF2-40B4-BE49-F238E27FC236}">
                <a16:creationId xmlns:a16="http://schemas.microsoft.com/office/drawing/2014/main" id="{C4AB370A-4D64-620F-1235-ABF6890F360D}"/>
              </a:ext>
            </a:extLst>
          </p:cNvPr>
          <p:cNvGrpSpPr/>
          <p:nvPr/>
        </p:nvGrpSpPr>
        <p:grpSpPr>
          <a:xfrm>
            <a:off x="584181" y="1590675"/>
            <a:ext cx="4927422" cy="5267325"/>
            <a:chOff x="584181" y="1590675"/>
            <a:chExt cx="4927422" cy="5267325"/>
          </a:xfrm>
        </p:grpSpPr>
        <p:pic>
          <p:nvPicPr>
            <p:cNvPr id="5" name="Grafik 4" descr="Ein Bild, das Karte enthält.&#10;&#10;Automatisch generierte Beschreibung">
              <a:extLst>
                <a:ext uri="{FF2B5EF4-FFF2-40B4-BE49-F238E27FC236}">
                  <a16:creationId xmlns:a16="http://schemas.microsoft.com/office/drawing/2014/main" id="{571F83FD-3705-4FE5-B4B7-D1C63B8CFD40}"/>
                </a:ext>
              </a:extLst>
            </p:cNvPr>
            <p:cNvPicPr>
              <a:picLocks noChangeAspect="1"/>
            </p:cNvPicPr>
            <p:nvPr/>
          </p:nvPicPr>
          <p:blipFill>
            <a:blip r:embed="rId8"/>
            <a:stretch>
              <a:fillRect/>
            </a:stretch>
          </p:blipFill>
          <p:spPr>
            <a:xfrm>
              <a:off x="584181" y="1590675"/>
              <a:ext cx="4927422" cy="5267325"/>
            </a:xfrm>
            <a:prstGeom prst="rect">
              <a:avLst/>
            </a:prstGeom>
          </p:spPr>
        </p:pic>
        <p:pic>
          <p:nvPicPr>
            <p:cNvPr id="7" name="Grafik 6" descr="Lachendes Gesicht ohne Füllung">
              <a:extLst>
                <a:ext uri="{FF2B5EF4-FFF2-40B4-BE49-F238E27FC236}">
                  <a16:creationId xmlns:a16="http://schemas.microsoft.com/office/drawing/2014/main" id="{A0824579-7CF5-41EF-BBFF-D0F3D333451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628775" y="1657350"/>
              <a:ext cx="304800" cy="304800"/>
            </a:xfrm>
            <a:prstGeom prst="rect">
              <a:avLst/>
            </a:prstGeom>
          </p:spPr>
        </p:pic>
        <p:pic>
          <p:nvPicPr>
            <p:cNvPr id="10" name="Grafik 9" descr="Lachendes Gesicht ohne Füllung">
              <a:extLst>
                <a:ext uri="{FF2B5EF4-FFF2-40B4-BE49-F238E27FC236}">
                  <a16:creationId xmlns:a16="http://schemas.microsoft.com/office/drawing/2014/main" id="{53CF85AD-2847-458E-94FF-1EA12139B01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781175" y="1733550"/>
              <a:ext cx="304800" cy="304800"/>
            </a:xfrm>
            <a:prstGeom prst="rect">
              <a:avLst/>
            </a:prstGeom>
          </p:spPr>
        </p:pic>
        <p:pic>
          <p:nvPicPr>
            <p:cNvPr id="11" name="Grafik 10" descr="Lachendes Gesicht ohne Füllung">
              <a:extLst>
                <a:ext uri="{FF2B5EF4-FFF2-40B4-BE49-F238E27FC236}">
                  <a16:creationId xmlns:a16="http://schemas.microsoft.com/office/drawing/2014/main" id="{92E9030A-F2F9-4BE2-8190-85ECEF99FE3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657350" y="1809750"/>
              <a:ext cx="304800" cy="304800"/>
            </a:xfrm>
            <a:prstGeom prst="rect">
              <a:avLst/>
            </a:prstGeom>
          </p:spPr>
        </p:pic>
        <p:pic>
          <p:nvPicPr>
            <p:cNvPr id="12" name="Grafik 11" descr="Lachendes Gesicht ohne Füllung">
              <a:extLst>
                <a:ext uri="{FF2B5EF4-FFF2-40B4-BE49-F238E27FC236}">
                  <a16:creationId xmlns:a16="http://schemas.microsoft.com/office/drawing/2014/main" id="{D2300570-05D1-4BD1-8F94-550EF0096DA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038350" y="1895475"/>
              <a:ext cx="304800" cy="304800"/>
            </a:xfrm>
            <a:prstGeom prst="rect">
              <a:avLst/>
            </a:prstGeom>
          </p:spPr>
        </p:pic>
        <p:pic>
          <p:nvPicPr>
            <p:cNvPr id="13" name="Grafik 12" descr="Lachendes Gesicht ohne Füllung">
              <a:extLst>
                <a:ext uri="{FF2B5EF4-FFF2-40B4-BE49-F238E27FC236}">
                  <a16:creationId xmlns:a16="http://schemas.microsoft.com/office/drawing/2014/main" id="{01CCC7A0-539D-43B9-883F-ED56B1F5B79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419350" y="1981200"/>
              <a:ext cx="304800" cy="304800"/>
            </a:xfrm>
            <a:prstGeom prst="rect">
              <a:avLst/>
            </a:prstGeom>
          </p:spPr>
        </p:pic>
        <p:pic>
          <p:nvPicPr>
            <p:cNvPr id="15" name="Grafik 14" descr="Lachendes Gesicht ohne Füllung">
              <a:extLst>
                <a:ext uri="{FF2B5EF4-FFF2-40B4-BE49-F238E27FC236}">
                  <a16:creationId xmlns:a16="http://schemas.microsoft.com/office/drawing/2014/main" id="{9AF21A30-E2F1-4CD9-AE40-D7436AF6AFC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219325" y="2066925"/>
              <a:ext cx="304800" cy="304800"/>
            </a:xfrm>
            <a:prstGeom prst="rect">
              <a:avLst/>
            </a:prstGeom>
          </p:spPr>
        </p:pic>
        <p:pic>
          <p:nvPicPr>
            <p:cNvPr id="16" name="Grafik 15" descr="Lachendes Gesicht ohne Füllung">
              <a:extLst>
                <a:ext uri="{FF2B5EF4-FFF2-40B4-BE49-F238E27FC236}">
                  <a16:creationId xmlns:a16="http://schemas.microsoft.com/office/drawing/2014/main" id="{F4061B9E-DA66-4A23-9AE5-CA2F063B38BB}"/>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919288" y="2324100"/>
              <a:ext cx="304800" cy="304800"/>
            </a:xfrm>
            <a:prstGeom prst="rect">
              <a:avLst/>
            </a:prstGeom>
          </p:spPr>
        </p:pic>
        <p:pic>
          <p:nvPicPr>
            <p:cNvPr id="17" name="Grafik 16" descr="Lachendes Gesicht ohne Füllung">
              <a:extLst>
                <a:ext uri="{FF2B5EF4-FFF2-40B4-BE49-F238E27FC236}">
                  <a16:creationId xmlns:a16="http://schemas.microsoft.com/office/drawing/2014/main" id="{F8503130-6700-46C7-B2E9-246F47BB9B4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819275" y="2238375"/>
              <a:ext cx="304800" cy="304800"/>
            </a:xfrm>
            <a:prstGeom prst="rect">
              <a:avLst/>
            </a:prstGeom>
          </p:spPr>
        </p:pic>
        <p:pic>
          <p:nvPicPr>
            <p:cNvPr id="18" name="Grafik 17" descr="Lachendes Gesicht ohne Füllung">
              <a:extLst>
                <a:ext uri="{FF2B5EF4-FFF2-40B4-BE49-F238E27FC236}">
                  <a16:creationId xmlns:a16="http://schemas.microsoft.com/office/drawing/2014/main" id="{2DFFFFEB-D742-4305-9590-0ECCF2446A10}"/>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738313" y="2124075"/>
              <a:ext cx="304800" cy="304800"/>
            </a:xfrm>
            <a:prstGeom prst="rect">
              <a:avLst/>
            </a:prstGeom>
          </p:spPr>
        </p:pic>
        <p:pic>
          <p:nvPicPr>
            <p:cNvPr id="19" name="Grafik 18" descr="Lachendes Gesicht ohne Füllung">
              <a:extLst>
                <a:ext uri="{FF2B5EF4-FFF2-40B4-BE49-F238E27FC236}">
                  <a16:creationId xmlns:a16="http://schemas.microsoft.com/office/drawing/2014/main" id="{214BCDAF-462C-460E-8EA3-093B3B0FBD3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571750" y="2371725"/>
              <a:ext cx="304800" cy="304800"/>
            </a:xfrm>
            <a:prstGeom prst="rect">
              <a:avLst/>
            </a:prstGeom>
          </p:spPr>
        </p:pic>
        <p:pic>
          <p:nvPicPr>
            <p:cNvPr id="20" name="Grafik 19" descr="Lachendes Gesicht ohne Füllung">
              <a:extLst>
                <a:ext uri="{FF2B5EF4-FFF2-40B4-BE49-F238E27FC236}">
                  <a16:creationId xmlns:a16="http://schemas.microsoft.com/office/drawing/2014/main" id="{1472DABE-8521-4CFB-A00F-D1885E2655B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638301" y="2286000"/>
              <a:ext cx="304800" cy="304800"/>
            </a:xfrm>
            <a:prstGeom prst="rect">
              <a:avLst/>
            </a:prstGeom>
          </p:spPr>
        </p:pic>
        <p:pic>
          <p:nvPicPr>
            <p:cNvPr id="21" name="Grafik 20" descr="Lachendes Gesicht ohne Füllung">
              <a:extLst>
                <a:ext uri="{FF2B5EF4-FFF2-40B4-BE49-F238E27FC236}">
                  <a16:creationId xmlns:a16="http://schemas.microsoft.com/office/drawing/2014/main" id="{0F8C2D7B-DA6F-4046-9902-57382DCC5EB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538288" y="2114550"/>
              <a:ext cx="304800" cy="304800"/>
            </a:xfrm>
            <a:prstGeom prst="rect">
              <a:avLst/>
            </a:prstGeom>
          </p:spPr>
        </p:pic>
        <p:pic>
          <p:nvPicPr>
            <p:cNvPr id="22" name="Grafik 21" descr="Lachendes Gesicht ohne Füllung">
              <a:extLst>
                <a:ext uri="{FF2B5EF4-FFF2-40B4-BE49-F238E27FC236}">
                  <a16:creationId xmlns:a16="http://schemas.microsoft.com/office/drawing/2014/main" id="{201D2FA6-14C8-4FF7-8C9F-0E58C9C49B4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571750" y="2590800"/>
              <a:ext cx="304800" cy="304800"/>
            </a:xfrm>
            <a:prstGeom prst="rect">
              <a:avLst/>
            </a:prstGeom>
          </p:spPr>
        </p:pic>
        <p:pic>
          <p:nvPicPr>
            <p:cNvPr id="23" name="Grafik 22" descr="Lachendes Gesicht ohne Füllung">
              <a:extLst>
                <a:ext uri="{FF2B5EF4-FFF2-40B4-BE49-F238E27FC236}">
                  <a16:creationId xmlns:a16="http://schemas.microsoft.com/office/drawing/2014/main" id="{1A968484-A007-49F6-8701-79AB2F70547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705100" y="2600325"/>
              <a:ext cx="304800" cy="304800"/>
            </a:xfrm>
            <a:prstGeom prst="rect">
              <a:avLst/>
            </a:prstGeom>
          </p:spPr>
        </p:pic>
        <p:pic>
          <p:nvPicPr>
            <p:cNvPr id="24" name="Grafik 23" descr="Lachendes Gesicht ohne Füllung">
              <a:extLst>
                <a:ext uri="{FF2B5EF4-FFF2-40B4-BE49-F238E27FC236}">
                  <a16:creationId xmlns:a16="http://schemas.microsoft.com/office/drawing/2014/main" id="{0FB30C16-0B63-46A6-B2BC-746AFBAEC63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771775" y="2476500"/>
              <a:ext cx="304800" cy="304800"/>
            </a:xfrm>
            <a:prstGeom prst="rect">
              <a:avLst/>
            </a:prstGeom>
          </p:spPr>
        </p:pic>
        <p:pic>
          <p:nvPicPr>
            <p:cNvPr id="25" name="Grafik 24" descr="Lachendes Gesicht ohne Füllung">
              <a:extLst>
                <a:ext uri="{FF2B5EF4-FFF2-40B4-BE49-F238E27FC236}">
                  <a16:creationId xmlns:a16="http://schemas.microsoft.com/office/drawing/2014/main" id="{1F5E4994-7C35-425A-A025-4C7A5316BB5B}"/>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895600" y="2505075"/>
              <a:ext cx="304800" cy="304800"/>
            </a:xfrm>
            <a:prstGeom prst="rect">
              <a:avLst/>
            </a:prstGeom>
          </p:spPr>
        </p:pic>
        <p:pic>
          <p:nvPicPr>
            <p:cNvPr id="26" name="Grafik 25" descr="Lachendes Gesicht ohne Füllung">
              <a:extLst>
                <a:ext uri="{FF2B5EF4-FFF2-40B4-BE49-F238E27FC236}">
                  <a16:creationId xmlns:a16="http://schemas.microsoft.com/office/drawing/2014/main" id="{4F105572-4D9B-4411-859B-C89BBFC58F0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305175" y="2371725"/>
              <a:ext cx="304800" cy="304800"/>
            </a:xfrm>
            <a:prstGeom prst="rect">
              <a:avLst/>
            </a:prstGeom>
          </p:spPr>
        </p:pic>
        <p:pic>
          <p:nvPicPr>
            <p:cNvPr id="27" name="Grafik 26" descr="Lachendes Gesicht ohne Füllung">
              <a:extLst>
                <a:ext uri="{FF2B5EF4-FFF2-40B4-BE49-F238E27FC236}">
                  <a16:creationId xmlns:a16="http://schemas.microsoft.com/office/drawing/2014/main" id="{C7464C05-E052-4F00-AEB8-9F906CDF1AC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781425" y="2076450"/>
              <a:ext cx="304800" cy="304800"/>
            </a:xfrm>
            <a:prstGeom prst="rect">
              <a:avLst/>
            </a:prstGeom>
          </p:spPr>
        </p:pic>
        <p:pic>
          <p:nvPicPr>
            <p:cNvPr id="28" name="Grafik 27" descr="Lachendes Gesicht ohne Füllung">
              <a:extLst>
                <a:ext uri="{FF2B5EF4-FFF2-40B4-BE49-F238E27FC236}">
                  <a16:creationId xmlns:a16="http://schemas.microsoft.com/office/drawing/2014/main" id="{700C47B1-DFDD-4E1E-A8AC-003759FDCF4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886200" y="2171700"/>
              <a:ext cx="304800" cy="304800"/>
            </a:xfrm>
            <a:prstGeom prst="rect">
              <a:avLst/>
            </a:prstGeom>
          </p:spPr>
        </p:pic>
        <p:pic>
          <p:nvPicPr>
            <p:cNvPr id="29" name="Grafik 28" descr="Lachendes Gesicht ohne Füllung">
              <a:extLst>
                <a:ext uri="{FF2B5EF4-FFF2-40B4-BE49-F238E27FC236}">
                  <a16:creationId xmlns:a16="http://schemas.microsoft.com/office/drawing/2014/main" id="{411E967B-861E-4FF6-B69E-85DAC939F30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660198" y="2390775"/>
              <a:ext cx="304800" cy="304800"/>
            </a:xfrm>
            <a:prstGeom prst="rect">
              <a:avLst/>
            </a:prstGeom>
          </p:spPr>
        </p:pic>
        <p:pic>
          <p:nvPicPr>
            <p:cNvPr id="30" name="Grafik 29" descr="Lachendes Gesicht ohne Füllung">
              <a:extLst>
                <a:ext uri="{FF2B5EF4-FFF2-40B4-BE49-F238E27FC236}">
                  <a16:creationId xmlns:a16="http://schemas.microsoft.com/office/drawing/2014/main" id="{57D27C5D-AAC2-425A-B9DA-4EF9709B943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762774" y="2447925"/>
              <a:ext cx="304800" cy="304800"/>
            </a:xfrm>
            <a:prstGeom prst="rect">
              <a:avLst/>
            </a:prstGeom>
          </p:spPr>
        </p:pic>
        <p:pic>
          <p:nvPicPr>
            <p:cNvPr id="31" name="Grafik 30" descr="Lachendes Gesicht ohne Füllung">
              <a:extLst>
                <a:ext uri="{FF2B5EF4-FFF2-40B4-BE49-F238E27FC236}">
                  <a16:creationId xmlns:a16="http://schemas.microsoft.com/office/drawing/2014/main" id="{DDF09F4C-9261-4256-A843-E295AD46BFC0}"/>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607611" y="2505075"/>
              <a:ext cx="304800" cy="304800"/>
            </a:xfrm>
            <a:prstGeom prst="rect">
              <a:avLst/>
            </a:prstGeom>
          </p:spPr>
        </p:pic>
        <p:pic>
          <p:nvPicPr>
            <p:cNvPr id="32" name="Grafik 31" descr="Lachendes Gesicht ohne Füllung">
              <a:extLst>
                <a:ext uri="{FF2B5EF4-FFF2-40B4-BE49-F238E27FC236}">
                  <a16:creationId xmlns:a16="http://schemas.microsoft.com/office/drawing/2014/main" id="{F119BB2A-1E76-4D4E-ADE0-78C82006A83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595438" y="2543175"/>
              <a:ext cx="304800" cy="304800"/>
            </a:xfrm>
            <a:prstGeom prst="rect">
              <a:avLst/>
            </a:prstGeom>
          </p:spPr>
        </p:pic>
        <p:pic>
          <p:nvPicPr>
            <p:cNvPr id="33" name="Grafik 32" descr="Lachendes Gesicht ohne Füllung">
              <a:extLst>
                <a:ext uri="{FF2B5EF4-FFF2-40B4-BE49-F238E27FC236}">
                  <a16:creationId xmlns:a16="http://schemas.microsoft.com/office/drawing/2014/main" id="{1A2C9837-A7A2-4791-9BEA-F097B7BCD8C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200151" y="2219325"/>
              <a:ext cx="304800" cy="304800"/>
            </a:xfrm>
            <a:prstGeom prst="rect">
              <a:avLst/>
            </a:prstGeom>
          </p:spPr>
        </p:pic>
        <p:pic>
          <p:nvPicPr>
            <p:cNvPr id="34" name="Grafik 33" descr="Lachendes Gesicht ohne Füllung">
              <a:extLst>
                <a:ext uri="{FF2B5EF4-FFF2-40B4-BE49-F238E27FC236}">
                  <a16:creationId xmlns:a16="http://schemas.microsoft.com/office/drawing/2014/main" id="{647DE871-5744-45BE-B684-A5B1CF9A5B3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76326" y="2352675"/>
              <a:ext cx="304800" cy="304800"/>
            </a:xfrm>
            <a:prstGeom prst="rect">
              <a:avLst/>
            </a:prstGeom>
          </p:spPr>
        </p:pic>
        <p:pic>
          <p:nvPicPr>
            <p:cNvPr id="35" name="Grafik 34" descr="Lachendes Gesicht ohne Füllung">
              <a:extLst>
                <a:ext uri="{FF2B5EF4-FFF2-40B4-BE49-F238E27FC236}">
                  <a16:creationId xmlns:a16="http://schemas.microsoft.com/office/drawing/2014/main" id="{2C9B49AA-37AA-4E61-887E-611C6F1946B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381126" y="2381250"/>
              <a:ext cx="304800" cy="304800"/>
            </a:xfrm>
            <a:prstGeom prst="rect">
              <a:avLst/>
            </a:prstGeom>
          </p:spPr>
        </p:pic>
        <p:pic>
          <p:nvPicPr>
            <p:cNvPr id="36" name="Grafik 35" descr="Lachendes Gesicht ohne Füllung">
              <a:extLst>
                <a:ext uri="{FF2B5EF4-FFF2-40B4-BE49-F238E27FC236}">
                  <a16:creationId xmlns:a16="http://schemas.microsoft.com/office/drawing/2014/main" id="{74ED84EF-727B-4CC1-B442-691787C705C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698814" y="3057525"/>
              <a:ext cx="304800" cy="304800"/>
            </a:xfrm>
            <a:prstGeom prst="rect">
              <a:avLst/>
            </a:prstGeom>
          </p:spPr>
        </p:pic>
        <p:pic>
          <p:nvPicPr>
            <p:cNvPr id="37" name="Grafik 36" descr="Lachendes Gesicht ohne Füllung">
              <a:extLst>
                <a:ext uri="{FF2B5EF4-FFF2-40B4-BE49-F238E27FC236}">
                  <a16:creationId xmlns:a16="http://schemas.microsoft.com/office/drawing/2014/main" id="{AC32946B-F466-4AD9-9574-ECE82922D79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524000" y="3009900"/>
              <a:ext cx="304800" cy="304800"/>
            </a:xfrm>
            <a:prstGeom prst="rect">
              <a:avLst/>
            </a:prstGeom>
          </p:spPr>
        </p:pic>
        <p:pic>
          <p:nvPicPr>
            <p:cNvPr id="38" name="Grafik 37" descr="Lachendes Gesicht ohne Füllung">
              <a:extLst>
                <a:ext uri="{FF2B5EF4-FFF2-40B4-BE49-F238E27FC236}">
                  <a16:creationId xmlns:a16="http://schemas.microsoft.com/office/drawing/2014/main" id="{3AB2156D-B6F7-4431-B0C5-C9D4A74547B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007178" y="2876550"/>
              <a:ext cx="304800" cy="304800"/>
            </a:xfrm>
            <a:prstGeom prst="rect">
              <a:avLst/>
            </a:prstGeom>
          </p:spPr>
        </p:pic>
        <p:pic>
          <p:nvPicPr>
            <p:cNvPr id="39" name="Grafik 38" descr="Lachendes Gesicht ohne Füllung">
              <a:extLst>
                <a:ext uri="{FF2B5EF4-FFF2-40B4-BE49-F238E27FC236}">
                  <a16:creationId xmlns:a16="http://schemas.microsoft.com/office/drawing/2014/main" id="{DC2FAF60-8373-4F69-974F-20ED6097473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657350" y="2828925"/>
              <a:ext cx="304800" cy="304800"/>
            </a:xfrm>
            <a:prstGeom prst="rect">
              <a:avLst/>
            </a:prstGeom>
          </p:spPr>
        </p:pic>
        <p:pic>
          <p:nvPicPr>
            <p:cNvPr id="40" name="Grafik 39" descr="Lachendes Gesicht ohne Füllung">
              <a:extLst>
                <a:ext uri="{FF2B5EF4-FFF2-40B4-BE49-F238E27FC236}">
                  <a16:creationId xmlns:a16="http://schemas.microsoft.com/office/drawing/2014/main" id="{A45B6587-F30A-4076-83A3-7230ED14FCD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965714" y="2752725"/>
              <a:ext cx="304800" cy="304800"/>
            </a:xfrm>
            <a:prstGeom prst="rect">
              <a:avLst/>
            </a:prstGeom>
          </p:spPr>
        </p:pic>
        <p:pic>
          <p:nvPicPr>
            <p:cNvPr id="41" name="Grafik 40" descr="Lachendes Gesicht ohne Füllung">
              <a:extLst>
                <a:ext uri="{FF2B5EF4-FFF2-40B4-BE49-F238E27FC236}">
                  <a16:creationId xmlns:a16="http://schemas.microsoft.com/office/drawing/2014/main" id="{65B4F97F-205C-4944-855E-CD412F35B73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228726" y="2819400"/>
              <a:ext cx="304800" cy="304800"/>
            </a:xfrm>
            <a:prstGeom prst="rect">
              <a:avLst/>
            </a:prstGeom>
          </p:spPr>
        </p:pic>
        <p:pic>
          <p:nvPicPr>
            <p:cNvPr id="42" name="Grafik 41" descr="Lachendes Gesicht ohne Füllung">
              <a:extLst>
                <a:ext uri="{FF2B5EF4-FFF2-40B4-BE49-F238E27FC236}">
                  <a16:creationId xmlns:a16="http://schemas.microsoft.com/office/drawing/2014/main" id="{326CD172-149A-40E1-94B2-C69642E0360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897257" y="2905125"/>
              <a:ext cx="304800" cy="304800"/>
            </a:xfrm>
            <a:prstGeom prst="rect">
              <a:avLst/>
            </a:prstGeom>
          </p:spPr>
        </p:pic>
        <p:pic>
          <p:nvPicPr>
            <p:cNvPr id="43" name="Grafik 42" descr="Lachendes Gesicht ohne Füllung">
              <a:extLst>
                <a:ext uri="{FF2B5EF4-FFF2-40B4-BE49-F238E27FC236}">
                  <a16:creationId xmlns:a16="http://schemas.microsoft.com/office/drawing/2014/main" id="{E4BD2B00-B836-4608-97EA-287D8E5939C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821440" y="2790825"/>
              <a:ext cx="304800" cy="304800"/>
            </a:xfrm>
            <a:prstGeom prst="rect">
              <a:avLst/>
            </a:prstGeom>
          </p:spPr>
        </p:pic>
        <p:pic>
          <p:nvPicPr>
            <p:cNvPr id="44" name="Grafik 43" descr="Lachendes Gesicht ohne Füllung">
              <a:extLst>
                <a:ext uri="{FF2B5EF4-FFF2-40B4-BE49-F238E27FC236}">
                  <a16:creationId xmlns:a16="http://schemas.microsoft.com/office/drawing/2014/main" id="{C4A8914E-0FE3-4AAA-9396-E52326B4D67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531550" y="3076575"/>
              <a:ext cx="304800" cy="304800"/>
            </a:xfrm>
            <a:prstGeom prst="rect">
              <a:avLst/>
            </a:prstGeom>
          </p:spPr>
        </p:pic>
        <p:pic>
          <p:nvPicPr>
            <p:cNvPr id="45" name="Grafik 44" descr="Lachendes Gesicht ohne Füllung">
              <a:extLst>
                <a:ext uri="{FF2B5EF4-FFF2-40B4-BE49-F238E27FC236}">
                  <a16:creationId xmlns:a16="http://schemas.microsoft.com/office/drawing/2014/main" id="{DF6895D1-489B-48F7-8AE2-447CD5F5BB20}"/>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652013" y="2933700"/>
              <a:ext cx="304800" cy="304800"/>
            </a:xfrm>
            <a:prstGeom prst="rect">
              <a:avLst/>
            </a:prstGeom>
          </p:spPr>
        </p:pic>
        <p:pic>
          <p:nvPicPr>
            <p:cNvPr id="46" name="Grafik 45" descr="Lachendes Gesicht ohne Füllung">
              <a:extLst>
                <a:ext uri="{FF2B5EF4-FFF2-40B4-BE49-F238E27FC236}">
                  <a16:creationId xmlns:a16="http://schemas.microsoft.com/office/drawing/2014/main" id="{0C249125-AF54-4C41-BE24-402D20A053C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508421" y="2914650"/>
              <a:ext cx="304800" cy="304800"/>
            </a:xfrm>
            <a:prstGeom prst="rect">
              <a:avLst/>
            </a:prstGeom>
          </p:spPr>
        </p:pic>
        <p:pic>
          <p:nvPicPr>
            <p:cNvPr id="47" name="Grafik 46" descr="Lachendes Gesicht ohne Füllung">
              <a:extLst>
                <a:ext uri="{FF2B5EF4-FFF2-40B4-BE49-F238E27FC236}">
                  <a16:creationId xmlns:a16="http://schemas.microsoft.com/office/drawing/2014/main" id="{2685AC93-3CDC-4FE1-9B7B-7A27CE23299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571725" y="3152775"/>
              <a:ext cx="304800" cy="304800"/>
            </a:xfrm>
            <a:prstGeom prst="rect">
              <a:avLst/>
            </a:prstGeom>
          </p:spPr>
        </p:pic>
        <p:pic>
          <p:nvPicPr>
            <p:cNvPr id="48" name="Grafik 47" descr="Lachendes Gesicht ohne Füllung">
              <a:extLst>
                <a:ext uri="{FF2B5EF4-FFF2-40B4-BE49-F238E27FC236}">
                  <a16:creationId xmlns:a16="http://schemas.microsoft.com/office/drawing/2014/main" id="{1AF8F84A-4CD4-45A9-8CE3-DEE6E219B22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152233" y="2724150"/>
              <a:ext cx="304800" cy="304800"/>
            </a:xfrm>
            <a:prstGeom prst="rect">
              <a:avLst/>
            </a:prstGeom>
          </p:spPr>
        </p:pic>
        <p:pic>
          <p:nvPicPr>
            <p:cNvPr id="49" name="Grafik 48" descr="Lachendes Gesicht ohne Füllung">
              <a:extLst>
                <a:ext uri="{FF2B5EF4-FFF2-40B4-BE49-F238E27FC236}">
                  <a16:creationId xmlns:a16="http://schemas.microsoft.com/office/drawing/2014/main" id="{D9367DBC-91F2-4C4A-A40B-5BE7F3A66C5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408968" y="2762250"/>
              <a:ext cx="304800" cy="304800"/>
            </a:xfrm>
            <a:prstGeom prst="rect">
              <a:avLst/>
            </a:prstGeom>
          </p:spPr>
        </p:pic>
        <p:pic>
          <p:nvPicPr>
            <p:cNvPr id="50" name="Grafik 49" descr="Lachendes Gesicht ohne Füllung">
              <a:extLst>
                <a:ext uri="{FF2B5EF4-FFF2-40B4-BE49-F238E27FC236}">
                  <a16:creationId xmlns:a16="http://schemas.microsoft.com/office/drawing/2014/main" id="{EEA20C39-FAA6-47E7-B1D5-C9FECF04EB3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864609" y="3152775"/>
              <a:ext cx="304800" cy="304800"/>
            </a:xfrm>
            <a:prstGeom prst="rect">
              <a:avLst/>
            </a:prstGeom>
          </p:spPr>
        </p:pic>
        <p:pic>
          <p:nvPicPr>
            <p:cNvPr id="55" name="Grafik 54" descr="Lachendes Gesicht ohne Füllung">
              <a:extLst>
                <a:ext uri="{FF2B5EF4-FFF2-40B4-BE49-F238E27FC236}">
                  <a16:creationId xmlns:a16="http://schemas.microsoft.com/office/drawing/2014/main" id="{8ACEC04C-51E2-4CB8-AE90-53607C1C77E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964998" y="3419475"/>
              <a:ext cx="304800" cy="304800"/>
            </a:xfrm>
            <a:prstGeom prst="rect">
              <a:avLst/>
            </a:prstGeom>
          </p:spPr>
        </p:pic>
        <p:pic>
          <p:nvPicPr>
            <p:cNvPr id="56" name="Grafik 55" descr="Lachendes Gesicht ohne Füllung">
              <a:extLst>
                <a:ext uri="{FF2B5EF4-FFF2-40B4-BE49-F238E27FC236}">
                  <a16:creationId xmlns:a16="http://schemas.microsoft.com/office/drawing/2014/main" id="{2AE67AA1-25FD-451F-9CB3-12030A051370}"/>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812598" y="3571875"/>
              <a:ext cx="304800" cy="304800"/>
            </a:xfrm>
            <a:prstGeom prst="rect">
              <a:avLst/>
            </a:prstGeom>
          </p:spPr>
        </p:pic>
        <p:pic>
          <p:nvPicPr>
            <p:cNvPr id="57" name="Grafik 56" descr="Lachendes Gesicht ohne Füllung">
              <a:extLst>
                <a:ext uri="{FF2B5EF4-FFF2-40B4-BE49-F238E27FC236}">
                  <a16:creationId xmlns:a16="http://schemas.microsoft.com/office/drawing/2014/main" id="{493BFFC3-3EDB-401C-BE4E-0FFFF1A57FE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948546" y="3571875"/>
              <a:ext cx="304800" cy="304800"/>
            </a:xfrm>
            <a:prstGeom prst="rect">
              <a:avLst/>
            </a:prstGeom>
          </p:spPr>
        </p:pic>
        <p:pic>
          <p:nvPicPr>
            <p:cNvPr id="58" name="Grafik 57" descr="Lachendes Gesicht ohne Füllung">
              <a:extLst>
                <a:ext uri="{FF2B5EF4-FFF2-40B4-BE49-F238E27FC236}">
                  <a16:creationId xmlns:a16="http://schemas.microsoft.com/office/drawing/2014/main" id="{794EEFD8-FA61-470C-8305-1BD547853A1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886200" y="3724275"/>
              <a:ext cx="304800" cy="304800"/>
            </a:xfrm>
            <a:prstGeom prst="rect">
              <a:avLst/>
            </a:prstGeom>
          </p:spPr>
        </p:pic>
        <p:pic>
          <p:nvPicPr>
            <p:cNvPr id="59" name="Grafik 58" descr="Lachendes Gesicht ohne Füllung">
              <a:extLst>
                <a:ext uri="{FF2B5EF4-FFF2-40B4-BE49-F238E27FC236}">
                  <a16:creationId xmlns:a16="http://schemas.microsoft.com/office/drawing/2014/main" id="{3D12D951-515B-4AD4-9146-9D4CFE83AE7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052022" y="3643312"/>
              <a:ext cx="304800" cy="304800"/>
            </a:xfrm>
            <a:prstGeom prst="rect">
              <a:avLst/>
            </a:prstGeom>
          </p:spPr>
        </p:pic>
        <p:pic>
          <p:nvPicPr>
            <p:cNvPr id="60" name="Grafik 59" descr="Lachendes Gesicht ohne Füllung">
              <a:extLst>
                <a:ext uri="{FF2B5EF4-FFF2-40B4-BE49-F238E27FC236}">
                  <a16:creationId xmlns:a16="http://schemas.microsoft.com/office/drawing/2014/main" id="{28DCE84D-B594-45BF-88F9-4E41B8416510}"/>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711936" y="3474244"/>
              <a:ext cx="304800" cy="304800"/>
            </a:xfrm>
            <a:prstGeom prst="rect">
              <a:avLst/>
            </a:prstGeom>
          </p:spPr>
        </p:pic>
        <p:pic>
          <p:nvPicPr>
            <p:cNvPr id="61" name="Grafik 60" descr="Lachendes Gesicht ohne Füllung">
              <a:extLst>
                <a:ext uri="{FF2B5EF4-FFF2-40B4-BE49-F238E27FC236}">
                  <a16:creationId xmlns:a16="http://schemas.microsoft.com/office/drawing/2014/main" id="{4F388CDB-80D2-4B5B-B674-6C1654C1D10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506816" y="3102769"/>
              <a:ext cx="304800" cy="304800"/>
            </a:xfrm>
            <a:prstGeom prst="rect">
              <a:avLst/>
            </a:prstGeom>
          </p:spPr>
        </p:pic>
        <p:pic>
          <p:nvPicPr>
            <p:cNvPr id="62" name="Grafik 61" descr="Lachendes Gesicht ohne Füllung">
              <a:extLst>
                <a:ext uri="{FF2B5EF4-FFF2-40B4-BE49-F238E27FC236}">
                  <a16:creationId xmlns:a16="http://schemas.microsoft.com/office/drawing/2014/main" id="{15E0A85B-4A0C-4C58-812D-8ABA1DB44A0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093552" y="3640931"/>
              <a:ext cx="304800" cy="304800"/>
            </a:xfrm>
            <a:prstGeom prst="rect">
              <a:avLst/>
            </a:prstGeom>
          </p:spPr>
        </p:pic>
        <p:pic>
          <p:nvPicPr>
            <p:cNvPr id="63" name="Grafik 62" descr="Lachendes Gesicht ohne Füllung">
              <a:extLst>
                <a:ext uri="{FF2B5EF4-FFF2-40B4-BE49-F238E27FC236}">
                  <a16:creationId xmlns:a16="http://schemas.microsoft.com/office/drawing/2014/main" id="{6E6DFC8B-8F40-43FE-9932-57CFAB2597F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217935" y="3700463"/>
              <a:ext cx="304800" cy="304800"/>
            </a:xfrm>
            <a:prstGeom prst="rect">
              <a:avLst/>
            </a:prstGeom>
          </p:spPr>
        </p:pic>
        <p:pic>
          <p:nvPicPr>
            <p:cNvPr id="64" name="Grafik 63" descr="Lachendes Gesicht ohne Füllung">
              <a:extLst>
                <a:ext uri="{FF2B5EF4-FFF2-40B4-BE49-F238E27FC236}">
                  <a16:creationId xmlns:a16="http://schemas.microsoft.com/office/drawing/2014/main" id="{FE40095E-10A5-4C64-8027-57BDDD3520DB}"/>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047892" y="3786188"/>
              <a:ext cx="304800" cy="304800"/>
            </a:xfrm>
            <a:prstGeom prst="rect">
              <a:avLst/>
            </a:prstGeom>
          </p:spPr>
        </p:pic>
        <p:pic>
          <p:nvPicPr>
            <p:cNvPr id="65" name="Grafik 64" descr="Lachendes Gesicht ohne Füllung">
              <a:extLst>
                <a:ext uri="{FF2B5EF4-FFF2-40B4-BE49-F238E27FC236}">
                  <a16:creationId xmlns:a16="http://schemas.microsoft.com/office/drawing/2014/main" id="{98BB42F8-5E8E-4282-BD87-F1BEEB0E62E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705100" y="3971925"/>
              <a:ext cx="304800" cy="304800"/>
            </a:xfrm>
            <a:prstGeom prst="rect">
              <a:avLst/>
            </a:prstGeom>
          </p:spPr>
        </p:pic>
        <p:pic>
          <p:nvPicPr>
            <p:cNvPr id="66" name="Grafik 65" descr="Lachendes Gesicht ohne Füllung">
              <a:extLst>
                <a:ext uri="{FF2B5EF4-FFF2-40B4-BE49-F238E27FC236}">
                  <a16:creationId xmlns:a16="http://schemas.microsoft.com/office/drawing/2014/main" id="{B4731393-98EE-40A0-A252-08DEC6129A4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400300" y="3981450"/>
              <a:ext cx="304800" cy="304800"/>
            </a:xfrm>
            <a:prstGeom prst="rect">
              <a:avLst/>
            </a:prstGeom>
          </p:spPr>
        </p:pic>
        <p:pic>
          <p:nvPicPr>
            <p:cNvPr id="67" name="Grafik 66" descr="Lachendes Gesicht ohne Füllung">
              <a:extLst>
                <a:ext uri="{FF2B5EF4-FFF2-40B4-BE49-F238E27FC236}">
                  <a16:creationId xmlns:a16="http://schemas.microsoft.com/office/drawing/2014/main" id="{C5D5B92B-39AA-4F75-BEE4-6F638563B2D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095500" y="3990975"/>
              <a:ext cx="304800" cy="304800"/>
            </a:xfrm>
            <a:prstGeom prst="rect">
              <a:avLst/>
            </a:prstGeom>
          </p:spPr>
        </p:pic>
        <p:pic>
          <p:nvPicPr>
            <p:cNvPr id="68" name="Grafik 67" descr="Lachendes Gesicht ohne Füllung">
              <a:extLst>
                <a:ext uri="{FF2B5EF4-FFF2-40B4-BE49-F238E27FC236}">
                  <a16:creationId xmlns:a16="http://schemas.microsoft.com/office/drawing/2014/main" id="{5F963C82-34E7-4AFE-BB54-A448B9D1A7E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240157" y="4114800"/>
              <a:ext cx="304800" cy="304800"/>
            </a:xfrm>
            <a:prstGeom prst="rect">
              <a:avLst/>
            </a:prstGeom>
          </p:spPr>
        </p:pic>
        <p:pic>
          <p:nvPicPr>
            <p:cNvPr id="69" name="Grafik 68" descr="Lachendes Gesicht ohne Füllung">
              <a:extLst>
                <a:ext uri="{FF2B5EF4-FFF2-40B4-BE49-F238E27FC236}">
                  <a16:creationId xmlns:a16="http://schemas.microsoft.com/office/drawing/2014/main" id="{A64A5464-0AAF-40D5-A569-9765B3B03F3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240157" y="3867150"/>
              <a:ext cx="304800" cy="304800"/>
            </a:xfrm>
            <a:prstGeom prst="rect">
              <a:avLst/>
            </a:prstGeom>
          </p:spPr>
        </p:pic>
        <p:pic>
          <p:nvPicPr>
            <p:cNvPr id="70" name="Grafik 69" descr="Lachendes Gesicht ohne Füllung">
              <a:extLst>
                <a:ext uri="{FF2B5EF4-FFF2-40B4-BE49-F238E27FC236}">
                  <a16:creationId xmlns:a16="http://schemas.microsoft.com/office/drawing/2014/main" id="{DF488690-CD21-4923-913E-AAB11E49F2F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087757" y="3886200"/>
              <a:ext cx="304800" cy="304800"/>
            </a:xfrm>
            <a:prstGeom prst="rect">
              <a:avLst/>
            </a:prstGeom>
          </p:spPr>
        </p:pic>
        <p:pic>
          <p:nvPicPr>
            <p:cNvPr id="71" name="Grafik 70" descr="Lachendes Gesicht ohne Füllung">
              <a:extLst>
                <a:ext uri="{FF2B5EF4-FFF2-40B4-BE49-F238E27FC236}">
                  <a16:creationId xmlns:a16="http://schemas.microsoft.com/office/drawing/2014/main" id="{577F4094-AEC7-4C76-B43C-BCFAA1A258DB}"/>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057508" y="4191000"/>
              <a:ext cx="304800" cy="304800"/>
            </a:xfrm>
            <a:prstGeom prst="rect">
              <a:avLst/>
            </a:prstGeom>
          </p:spPr>
        </p:pic>
        <p:pic>
          <p:nvPicPr>
            <p:cNvPr id="72" name="Grafik 71" descr="Lachendes Gesicht ohne Füllung">
              <a:extLst>
                <a:ext uri="{FF2B5EF4-FFF2-40B4-BE49-F238E27FC236}">
                  <a16:creationId xmlns:a16="http://schemas.microsoft.com/office/drawing/2014/main" id="{F3D955D4-2D01-4341-A4A3-E9833102C1A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388178" y="4238625"/>
              <a:ext cx="304800" cy="304800"/>
            </a:xfrm>
            <a:prstGeom prst="rect">
              <a:avLst/>
            </a:prstGeom>
          </p:spPr>
        </p:pic>
        <p:pic>
          <p:nvPicPr>
            <p:cNvPr id="73" name="Grafik 72" descr="Lachendes Gesicht ohne Füllung">
              <a:extLst>
                <a:ext uri="{FF2B5EF4-FFF2-40B4-BE49-F238E27FC236}">
                  <a16:creationId xmlns:a16="http://schemas.microsoft.com/office/drawing/2014/main" id="{D62ACD50-C963-4096-9033-07514D69A15B}"/>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030489" y="3152775"/>
              <a:ext cx="304800" cy="304800"/>
            </a:xfrm>
            <a:prstGeom prst="rect">
              <a:avLst/>
            </a:prstGeom>
          </p:spPr>
        </p:pic>
        <p:pic>
          <p:nvPicPr>
            <p:cNvPr id="74" name="Grafik 73" descr="Lachendes Gesicht ohne Füllung">
              <a:extLst>
                <a:ext uri="{FF2B5EF4-FFF2-40B4-BE49-F238E27FC236}">
                  <a16:creationId xmlns:a16="http://schemas.microsoft.com/office/drawing/2014/main" id="{C14BD42D-27B0-4A21-9D3C-E577C1086AA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672800" y="2066925"/>
              <a:ext cx="304800" cy="304800"/>
            </a:xfrm>
            <a:prstGeom prst="rect">
              <a:avLst/>
            </a:prstGeom>
          </p:spPr>
        </p:pic>
        <p:pic>
          <p:nvPicPr>
            <p:cNvPr id="75" name="Grafik 74" descr="Lachendes Gesicht ohne Füllung">
              <a:extLst>
                <a:ext uri="{FF2B5EF4-FFF2-40B4-BE49-F238E27FC236}">
                  <a16:creationId xmlns:a16="http://schemas.microsoft.com/office/drawing/2014/main" id="{AF3EE6A4-FDCB-4CE9-9326-2F752F0E1DEB}"/>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985656" y="3429000"/>
              <a:ext cx="304800" cy="304800"/>
            </a:xfrm>
            <a:prstGeom prst="rect">
              <a:avLst/>
            </a:prstGeom>
          </p:spPr>
        </p:pic>
        <p:pic>
          <p:nvPicPr>
            <p:cNvPr id="76" name="Grafik 75" descr="Lachendes Gesicht ohne Füllung">
              <a:extLst>
                <a:ext uri="{FF2B5EF4-FFF2-40B4-BE49-F238E27FC236}">
                  <a16:creationId xmlns:a16="http://schemas.microsoft.com/office/drawing/2014/main" id="{98EC320F-F82D-46BF-877B-E334A0BB0A1B}"/>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834228" y="3467100"/>
              <a:ext cx="304800" cy="304800"/>
            </a:xfrm>
            <a:prstGeom prst="rect">
              <a:avLst/>
            </a:prstGeom>
          </p:spPr>
        </p:pic>
        <p:pic>
          <p:nvPicPr>
            <p:cNvPr id="77" name="Grafik 76" descr="Lachendes Gesicht ohne Füllung">
              <a:extLst>
                <a:ext uri="{FF2B5EF4-FFF2-40B4-BE49-F238E27FC236}">
                  <a16:creationId xmlns:a16="http://schemas.microsoft.com/office/drawing/2014/main" id="{93D043FD-BD53-4926-BAD5-64177471E0C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682800" y="3505200"/>
              <a:ext cx="304800" cy="304800"/>
            </a:xfrm>
            <a:prstGeom prst="rect">
              <a:avLst/>
            </a:prstGeom>
          </p:spPr>
        </p:pic>
        <p:pic>
          <p:nvPicPr>
            <p:cNvPr id="78" name="Grafik 77" descr="Lachendes Gesicht ohne Füllung">
              <a:extLst>
                <a:ext uri="{FF2B5EF4-FFF2-40B4-BE49-F238E27FC236}">
                  <a16:creationId xmlns:a16="http://schemas.microsoft.com/office/drawing/2014/main" id="{4E5409E7-807A-4911-811F-FA6D9198051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931948" y="3590925"/>
              <a:ext cx="304800" cy="304800"/>
            </a:xfrm>
            <a:prstGeom prst="rect">
              <a:avLst/>
            </a:prstGeom>
          </p:spPr>
        </p:pic>
        <p:pic>
          <p:nvPicPr>
            <p:cNvPr id="79" name="Grafik 78" descr="Lachendes Gesicht ohne Füllung">
              <a:extLst>
                <a:ext uri="{FF2B5EF4-FFF2-40B4-BE49-F238E27FC236}">
                  <a16:creationId xmlns:a16="http://schemas.microsoft.com/office/drawing/2014/main" id="{8CD53640-15D9-4FEF-9725-59068E3AEC8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788568" y="3648075"/>
              <a:ext cx="304800" cy="304800"/>
            </a:xfrm>
            <a:prstGeom prst="rect">
              <a:avLst/>
            </a:prstGeom>
          </p:spPr>
        </p:pic>
        <p:pic>
          <p:nvPicPr>
            <p:cNvPr id="80" name="Grafik 79" descr="Lachendes Gesicht ohne Füllung">
              <a:extLst>
                <a:ext uri="{FF2B5EF4-FFF2-40B4-BE49-F238E27FC236}">
                  <a16:creationId xmlns:a16="http://schemas.microsoft.com/office/drawing/2014/main" id="{C7FA4BE3-AB98-493C-8265-571D9F6AFE9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45878" y="3228975"/>
              <a:ext cx="304800" cy="304800"/>
            </a:xfrm>
            <a:prstGeom prst="rect">
              <a:avLst/>
            </a:prstGeom>
          </p:spPr>
        </p:pic>
        <p:pic>
          <p:nvPicPr>
            <p:cNvPr id="81" name="Grafik 80" descr="Lachendes Gesicht ohne Füllung">
              <a:extLst>
                <a:ext uri="{FF2B5EF4-FFF2-40B4-BE49-F238E27FC236}">
                  <a16:creationId xmlns:a16="http://schemas.microsoft.com/office/drawing/2014/main" id="{79D1B1FD-D79A-40C2-99BD-58534676C3A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628900" y="3733800"/>
              <a:ext cx="304800" cy="304800"/>
            </a:xfrm>
            <a:prstGeom prst="rect">
              <a:avLst/>
            </a:prstGeom>
          </p:spPr>
        </p:pic>
        <p:pic>
          <p:nvPicPr>
            <p:cNvPr id="82" name="Grafik 81" descr="Lachendes Gesicht ohne Füllung">
              <a:extLst>
                <a:ext uri="{FF2B5EF4-FFF2-40B4-BE49-F238E27FC236}">
                  <a16:creationId xmlns:a16="http://schemas.microsoft.com/office/drawing/2014/main" id="{450854E9-BAD1-4B2D-AC2E-4459A840C78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790592" y="3795713"/>
              <a:ext cx="304800" cy="304800"/>
            </a:xfrm>
            <a:prstGeom prst="rect">
              <a:avLst/>
            </a:prstGeom>
          </p:spPr>
        </p:pic>
        <p:pic>
          <p:nvPicPr>
            <p:cNvPr id="83" name="Grafik 82" descr="Lachendes Gesicht ohne Füllung">
              <a:extLst>
                <a:ext uri="{FF2B5EF4-FFF2-40B4-BE49-F238E27FC236}">
                  <a16:creationId xmlns:a16="http://schemas.microsoft.com/office/drawing/2014/main" id="{D31C18B1-745A-4297-AFDE-58500BE8AB9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447800" y="3981450"/>
              <a:ext cx="304800" cy="304800"/>
            </a:xfrm>
            <a:prstGeom prst="rect">
              <a:avLst/>
            </a:prstGeom>
          </p:spPr>
        </p:pic>
        <p:pic>
          <p:nvPicPr>
            <p:cNvPr id="84" name="Grafik 83" descr="Lachendes Gesicht ohne Füllung">
              <a:extLst>
                <a:ext uri="{FF2B5EF4-FFF2-40B4-BE49-F238E27FC236}">
                  <a16:creationId xmlns:a16="http://schemas.microsoft.com/office/drawing/2014/main" id="{E87CD21A-2E0E-47CD-9B65-03796A236D70}"/>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143000" y="3990975"/>
              <a:ext cx="304800" cy="304800"/>
            </a:xfrm>
            <a:prstGeom prst="rect">
              <a:avLst/>
            </a:prstGeom>
          </p:spPr>
        </p:pic>
        <p:pic>
          <p:nvPicPr>
            <p:cNvPr id="85" name="Grafik 84" descr="Lachendes Gesicht ohne Füllung">
              <a:extLst>
                <a:ext uri="{FF2B5EF4-FFF2-40B4-BE49-F238E27FC236}">
                  <a16:creationId xmlns:a16="http://schemas.microsoft.com/office/drawing/2014/main" id="{AE549665-C3B2-442D-9BC7-B2C4A3A8D13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38200" y="4000500"/>
              <a:ext cx="304800" cy="304800"/>
            </a:xfrm>
            <a:prstGeom prst="rect">
              <a:avLst/>
            </a:prstGeom>
          </p:spPr>
        </p:pic>
        <p:pic>
          <p:nvPicPr>
            <p:cNvPr id="86" name="Grafik 85" descr="Lachendes Gesicht ohne Füllung">
              <a:extLst>
                <a:ext uri="{FF2B5EF4-FFF2-40B4-BE49-F238E27FC236}">
                  <a16:creationId xmlns:a16="http://schemas.microsoft.com/office/drawing/2014/main" id="{4D04DFC5-321A-45EF-8AB0-00FA4EF4948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82857" y="4124325"/>
              <a:ext cx="304800" cy="304800"/>
            </a:xfrm>
            <a:prstGeom prst="rect">
              <a:avLst/>
            </a:prstGeom>
          </p:spPr>
        </p:pic>
        <p:pic>
          <p:nvPicPr>
            <p:cNvPr id="87" name="Grafik 86" descr="Lachendes Gesicht ohne Füllung">
              <a:extLst>
                <a:ext uri="{FF2B5EF4-FFF2-40B4-BE49-F238E27FC236}">
                  <a16:creationId xmlns:a16="http://schemas.microsoft.com/office/drawing/2014/main" id="{20EAD80A-1345-4A94-ADE6-D543549F408B}"/>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82857" y="3876675"/>
              <a:ext cx="304800" cy="304800"/>
            </a:xfrm>
            <a:prstGeom prst="rect">
              <a:avLst/>
            </a:prstGeom>
          </p:spPr>
        </p:pic>
        <p:pic>
          <p:nvPicPr>
            <p:cNvPr id="88" name="Grafik 87" descr="Lachendes Gesicht ohne Füllung">
              <a:extLst>
                <a:ext uri="{FF2B5EF4-FFF2-40B4-BE49-F238E27FC236}">
                  <a16:creationId xmlns:a16="http://schemas.microsoft.com/office/drawing/2014/main" id="{6EE970EC-8DE0-44D3-9261-AE83F012CA6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30457" y="3895725"/>
              <a:ext cx="304800" cy="304800"/>
            </a:xfrm>
            <a:prstGeom prst="rect">
              <a:avLst/>
            </a:prstGeom>
          </p:spPr>
        </p:pic>
        <p:pic>
          <p:nvPicPr>
            <p:cNvPr id="89" name="Grafik 88" descr="Lachendes Gesicht ohne Füllung">
              <a:extLst>
                <a:ext uri="{FF2B5EF4-FFF2-40B4-BE49-F238E27FC236}">
                  <a16:creationId xmlns:a16="http://schemas.microsoft.com/office/drawing/2014/main" id="{78BA32AB-071C-4FEE-9D65-A6B6950386E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00208" y="4200525"/>
              <a:ext cx="304800" cy="304800"/>
            </a:xfrm>
            <a:prstGeom prst="rect">
              <a:avLst/>
            </a:prstGeom>
          </p:spPr>
        </p:pic>
        <p:pic>
          <p:nvPicPr>
            <p:cNvPr id="90" name="Grafik 89" descr="Lachendes Gesicht ohne Füllung">
              <a:extLst>
                <a:ext uri="{FF2B5EF4-FFF2-40B4-BE49-F238E27FC236}">
                  <a16:creationId xmlns:a16="http://schemas.microsoft.com/office/drawing/2014/main" id="{B3F35ED3-B8C2-4613-824C-CF179F5D26BB}"/>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130878" y="4248150"/>
              <a:ext cx="304800" cy="304800"/>
            </a:xfrm>
            <a:prstGeom prst="rect">
              <a:avLst/>
            </a:prstGeom>
          </p:spPr>
        </p:pic>
        <p:pic>
          <p:nvPicPr>
            <p:cNvPr id="91" name="Grafik 90" descr="Lachendes Gesicht ohne Füllung">
              <a:extLst>
                <a:ext uri="{FF2B5EF4-FFF2-40B4-BE49-F238E27FC236}">
                  <a16:creationId xmlns:a16="http://schemas.microsoft.com/office/drawing/2014/main" id="{F840BF95-F421-4D16-95D6-82BD04BB672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198278" y="3381375"/>
              <a:ext cx="304800" cy="304800"/>
            </a:xfrm>
            <a:prstGeom prst="rect">
              <a:avLst/>
            </a:prstGeom>
          </p:spPr>
        </p:pic>
        <p:pic>
          <p:nvPicPr>
            <p:cNvPr id="92" name="Grafik 91" descr="Lachendes Gesicht ohne Füllung">
              <a:extLst>
                <a:ext uri="{FF2B5EF4-FFF2-40B4-BE49-F238E27FC236}">
                  <a16:creationId xmlns:a16="http://schemas.microsoft.com/office/drawing/2014/main" id="{F4A1B375-649B-48EA-9787-17BB74539F0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64928" y="3409950"/>
              <a:ext cx="304800" cy="304800"/>
            </a:xfrm>
            <a:prstGeom prst="rect">
              <a:avLst/>
            </a:prstGeom>
          </p:spPr>
        </p:pic>
        <p:pic>
          <p:nvPicPr>
            <p:cNvPr id="93" name="Grafik 92" descr="Lachendes Gesicht ohne Füllung">
              <a:extLst>
                <a:ext uri="{FF2B5EF4-FFF2-40B4-BE49-F238E27FC236}">
                  <a16:creationId xmlns:a16="http://schemas.microsoft.com/office/drawing/2014/main" id="{6AC81641-1DE9-4BD9-87BC-DE4CFEF89E1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31578" y="3457575"/>
              <a:ext cx="304800" cy="304800"/>
            </a:xfrm>
            <a:prstGeom prst="rect">
              <a:avLst/>
            </a:prstGeom>
          </p:spPr>
        </p:pic>
        <p:pic>
          <p:nvPicPr>
            <p:cNvPr id="94" name="Grafik 93" descr="Lachendes Gesicht ohne Füllung">
              <a:extLst>
                <a:ext uri="{FF2B5EF4-FFF2-40B4-BE49-F238E27FC236}">
                  <a16:creationId xmlns:a16="http://schemas.microsoft.com/office/drawing/2014/main" id="{9B10D18C-55FF-4ACB-A0BD-9177059562D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112553" y="3619500"/>
              <a:ext cx="304800" cy="304800"/>
            </a:xfrm>
            <a:prstGeom prst="rect">
              <a:avLst/>
            </a:prstGeom>
          </p:spPr>
        </p:pic>
        <p:pic>
          <p:nvPicPr>
            <p:cNvPr id="95" name="Grafik 94" descr="Lachendes Gesicht ohne Füllung">
              <a:extLst>
                <a:ext uri="{FF2B5EF4-FFF2-40B4-BE49-F238E27FC236}">
                  <a16:creationId xmlns:a16="http://schemas.microsoft.com/office/drawing/2014/main" id="{56D95511-5EED-4E27-A7C4-89B19888330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293528" y="3781425"/>
              <a:ext cx="304800" cy="304800"/>
            </a:xfrm>
            <a:prstGeom prst="rect">
              <a:avLst/>
            </a:prstGeom>
          </p:spPr>
        </p:pic>
        <p:pic>
          <p:nvPicPr>
            <p:cNvPr id="96" name="Grafik 95" descr="Lachendes Gesicht ohne Füllung">
              <a:extLst>
                <a:ext uri="{FF2B5EF4-FFF2-40B4-BE49-F238E27FC236}">
                  <a16:creationId xmlns:a16="http://schemas.microsoft.com/office/drawing/2014/main" id="{776D5BD4-A1E1-4C11-9D27-539E185DD08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474503" y="3876675"/>
              <a:ext cx="304800" cy="304800"/>
            </a:xfrm>
            <a:prstGeom prst="rect">
              <a:avLst/>
            </a:prstGeom>
          </p:spPr>
        </p:pic>
        <p:pic>
          <p:nvPicPr>
            <p:cNvPr id="97" name="Grafik 96" descr="Lachendes Gesicht ohne Füllung">
              <a:extLst>
                <a:ext uri="{FF2B5EF4-FFF2-40B4-BE49-F238E27FC236}">
                  <a16:creationId xmlns:a16="http://schemas.microsoft.com/office/drawing/2014/main" id="{A96B02D7-EB72-48A2-9348-210F838AB49B}"/>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55403" y="3771900"/>
              <a:ext cx="304800" cy="304800"/>
            </a:xfrm>
            <a:prstGeom prst="rect">
              <a:avLst/>
            </a:prstGeom>
          </p:spPr>
        </p:pic>
        <p:pic>
          <p:nvPicPr>
            <p:cNvPr id="98" name="Grafik 97" descr="Lachendes Gesicht ohne Füllung">
              <a:extLst>
                <a:ext uri="{FF2B5EF4-FFF2-40B4-BE49-F238E27FC236}">
                  <a16:creationId xmlns:a16="http://schemas.microsoft.com/office/drawing/2014/main" id="{9E70CC6D-B56F-49D8-8773-DEBCD95B4AF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532793" y="2847975"/>
              <a:ext cx="304800" cy="304800"/>
            </a:xfrm>
            <a:prstGeom prst="rect">
              <a:avLst/>
            </a:prstGeom>
          </p:spPr>
        </p:pic>
        <p:pic>
          <p:nvPicPr>
            <p:cNvPr id="99" name="Grafik 98" descr="Lachendes Gesicht ohne Füllung">
              <a:extLst>
                <a:ext uri="{FF2B5EF4-FFF2-40B4-BE49-F238E27FC236}">
                  <a16:creationId xmlns:a16="http://schemas.microsoft.com/office/drawing/2014/main" id="{86E8E387-1FD8-447B-A92C-0A4ADC53995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399443" y="2876550"/>
              <a:ext cx="304800" cy="304800"/>
            </a:xfrm>
            <a:prstGeom prst="rect">
              <a:avLst/>
            </a:prstGeom>
          </p:spPr>
        </p:pic>
        <p:pic>
          <p:nvPicPr>
            <p:cNvPr id="100" name="Grafik 99" descr="Lachendes Gesicht ohne Füllung">
              <a:extLst>
                <a:ext uri="{FF2B5EF4-FFF2-40B4-BE49-F238E27FC236}">
                  <a16:creationId xmlns:a16="http://schemas.microsoft.com/office/drawing/2014/main" id="{DE62AF85-0830-474C-8A6A-5E71F3AEF6B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266093" y="2905125"/>
              <a:ext cx="304800" cy="304800"/>
            </a:xfrm>
            <a:prstGeom prst="rect">
              <a:avLst/>
            </a:prstGeom>
          </p:spPr>
        </p:pic>
        <p:pic>
          <p:nvPicPr>
            <p:cNvPr id="101" name="Grafik 100" descr="Lachendes Gesicht ohne Füllung">
              <a:extLst>
                <a:ext uri="{FF2B5EF4-FFF2-40B4-BE49-F238E27FC236}">
                  <a16:creationId xmlns:a16="http://schemas.microsoft.com/office/drawing/2014/main" id="{CDDEA9C0-38AA-4C77-9690-3FEA1097754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984173" y="5429250"/>
              <a:ext cx="304800" cy="304800"/>
            </a:xfrm>
            <a:prstGeom prst="rect">
              <a:avLst/>
            </a:prstGeom>
          </p:spPr>
        </p:pic>
        <p:pic>
          <p:nvPicPr>
            <p:cNvPr id="102" name="Grafik 101" descr="Lachendes Gesicht ohne Füllung">
              <a:extLst>
                <a:ext uri="{FF2B5EF4-FFF2-40B4-BE49-F238E27FC236}">
                  <a16:creationId xmlns:a16="http://schemas.microsoft.com/office/drawing/2014/main" id="{9D1E5087-ACB1-4441-B2B9-4170F2CBD400}"/>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831773" y="5581650"/>
              <a:ext cx="304800" cy="304800"/>
            </a:xfrm>
            <a:prstGeom prst="rect">
              <a:avLst/>
            </a:prstGeom>
          </p:spPr>
        </p:pic>
        <p:pic>
          <p:nvPicPr>
            <p:cNvPr id="103" name="Grafik 102" descr="Lachendes Gesicht ohne Füllung">
              <a:extLst>
                <a:ext uri="{FF2B5EF4-FFF2-40B4-BE49-F238E27FC236}">
                  <a16:creationId xmlns:a16="http://schemas.microsoft.com/office/drawing/2014/main" id="{0F351C2D-821D-45D0-94D9-305B2E48F8F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967721" y="5581650"/>
              <a:ext cx="304800" cy="304800"/>
            </a:xfrm>
            <a:prstGeom prst="rect">
              <a:avLst/>
            </a:prstGeom>
          </p:spPr>
        </p:pic>
        <p:pic>
          <p:nvPicPr>
            <p:cNvPr id="104" name="Grafik 103" descr="Lachendes Gesicht ohne Füllung">
              <a:extLst>
                <a:ext uri="{FF2B5EF4-FFF2-40B4-BE49-F238E27FC236}">
                  <a16:creationId xmlns:a16="http://schemas.microsoft.com/office/drawing/2014/main" id="{2A65E603-031E-404B-B061-6E0B0BA990F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905375" y="5734050"/>
              <a:ext cx="304800" cy="304800"/>
            </a:xfrm>
            <a:prstGeom prst="rect">
              <a:avLst/>
            </a:prstGeom>
          </p:spPr>
        </p:pic>
        <p:pic>
          <p:nvPicPr>
            <p:cNvPr id="105" name="Grafik 104" descr="Lachendes Gesicht ohne Füllung">
              <a:extLst>
                <a:ext uri="{FF2B5EF4-FFF2-40B4-BE49-F238E27FC236}">
                  <a16:creationId xmlns:a16="http://schemas.microsoft.com/office/drawing/2014/main" id="{A8B9C905-5BEC-4884-B137-4AC60114DF7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071197" y="5653087"/>
              <a:ext cx="304800" cy="304800"/>
            </a:xfrm>
            <a:prstGeom prst="rect">
              <a:avLst/>
            </a:prstGeom>
          </p:spPr>
        </p:pic>
        <p:pic>
          <p:nvPicPr>
            <p:cNvPr id="106" name="Grafik 105" descr="Lachendes Gesicht ohne Füllung">
              <a:extLst>
                <a:ext uri="{FF2B5EF4-FFF2-40B4-BE49-F238E27FC236}">
                  <a16:creationId xmlns:a16="http://schemas.microsoft.com/office/drawing/2014/main" id="{D3BC697D-EF67-46FB-821A-C047FD66635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731111" y="5484019"/>
              <a:ext cx="304800" cy="304800"/>
            </a:xfrm>
            <a:prstGeom prst="rect">
              <a:avLst/>
            </a:prstGeom>
          </p:spPr>
        </p:pic>
        <p:pic>
          <p:nvPicPr>
            <p:cNvPr id="107" name="Grafik 106" descr="Lachendes Gesicht ohne Füllung">
              <a:extLst>
                <a:ext uri="{FF2B5EF4-FFF2-40B4-BE49-F238E27FC236}">
                  <a16:creationId xmlns:a16="http://schemas.microsoft.com/office/drawing/2014/main" id="{A88C56CB-21BF-4C5B-8D54-945D378A170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616686" y="5655469"/>
              <a:ext cx="304800" cy="304800"/>
            </a:xfrm>
            <a:prstGeom prst="rect">
              <a:avLst/>
            </a:prstGeom>
          </p:spPr>
        </p:pic>
        <p:pic>
          <p:nvPicPr>
            <p:cNvPr id="108" name="Grafik 107" descr="Lachendes Gesicht ohne Füllung">
              <a:extLst>
                <a:ext uri="{FF2B5EF4-FFF2-40B4-BE49-F238E27FC236}">
                  <a16:creationId xmlns:a16="http://schemas.microsoft.com/office/drawing/2014/main" id="{9EA27CC1-9853-4857-A441-78E85C60F7B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750036" y="5722144"/>
              <a:ext cx="304800" cy="304800"/>
            </a:xfrm>
            <a:prstGeom prst="rect">
              <a:avLst/>
            </a:prstGeom>
          </p:spPr>
        </p:pic>
        <p:pic>
          <p:nvPicPr>
            <p:cNvPr id="109" name="Grafik 108" descr="Lachendes Gesicht ohne Füllung">
              <a:extLst>
                <a:ext uri="{FF2B5EF4-FFF2-40B4-BE49-F238E27FC236}">
                  <a16:creationId xmlns:a16="http://schemas.microsoft.com/office/drawing/2014/main" id="{CAEA555F-6355-436B-A63B-7D14AF78AF3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664311" y="5788819"/>
              <a:ext cx="304800" cy="304800"/>
            </a:xfrm>
            <a:prstGeom prst="rect">
              <a:avLst/>
            </a:prstGeom>
          </p:spPr>
        </p:pic>
        <p:pic>
          <p:nvPicPr>
            <p:cNvPr id="110" name="Grafik 109" descr="Lachendes Gesicht ohne Füllung">
              <a:extLst>
                <a:ext uri="{FF2B5EF4-FFF2-40B4-BE49-F238E27FC236}">
                  <a16:creationId xmlns:a16="http://schemas.microsoft.com/office/drawing/2014/main" id="{0A9EDEA9-26A5-4A9C-B23A-29EF9669D5C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578586" y="5855494"/>
              <a:ext cx="304800" cy="304800"/>
            </a:xfrm>
            <a:prstGeom prst="rect">
              <a:avLst/>
            </a:prstGeom>
          </p:spPr>
        </p:pic>
        <p:pic>
          <p:nvPicPr>
            <p:cNvPr id="111" name="Grafik 110" descr="Lachendes Gesicht ohne Füllung">
              <a:extLst>
                <a:ext uri="{FF2B5EF4-FFF2-40B4-BE49-F238E27FC236}">
                  <a16:creationId xmlns:a16="http://schemas.microsoft.com/office/drawing/2014/main" id="{D80667E7-4E1F-4E6D-B725-6827F295C3C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502386" y="5807869"/>
              <a:ext cx="304800" cy="304800"/>
            </a:xfrm>
            <a:prstGeom prst="rect">
              <a:avLst/>
            </a:prstGeom>
          </p:spPr>
        </p:pic>
        <p:pic>
          <p:nvPicPr>
            <p:cNvPr id="112" name="Grafik 111" descr="Lachendes Gesicht ohne Füllung">
              <a:extLst>
                <a:ext uri="{FF2B5EF4-FFF2-40B4-BE49-F238E27FC236}">
                  <a16:creationId xmlns:a16="http://schemas.microsoft.com/office/drawing/2014/main" id="{1266AF19-D601-4405-90E9-99805F166160}"/>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426186" y="5769769"/>
              <a:ext cx="304800" cy="304800"/>
            </a:xfrm>
            <a:prstGeom prst="rect">
              <a:avLst/>
            </a:prstGeom>
          </p:spPr>
        </p:pic>
        <p:pic>
          <p:nvPicPr>
            <p:cNvPr id="113" name="Grafik 112" descr="Lachendes Gesicht ohne Füllung">
              <a:extLst>
                <a:ext uri="{FF2B5EF4-FFF2-40B4-BE49-F238E27FC236}">
                  <a16:creationId xmlns:a16="http://schemas.microsoft.com/office/drawing/2014/main" id="{27B598B0-E890-4804-849A-72E47CB8C2B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740511" y="5379244"/>
              <a:ext cx="304800" cy="304800"/>
            </a:xfrm>
            <a:prstGeom prst="rect">
              <a:avLst/>
            </a:prstGeom>
          </p:spPr>
        </p:pic>
        <p:pic>
          <p:nvPicPr>
            <p:cNvPr id="114" name="Grafik 113" descr="Lachendes Gesicht ohne Füllung">
              <a:extLst>
                <a:ext uri="{FF2B5EF4-FFF2-40B4-BE49-F238E27FC236}">
                  <a16:creationId xmlns:a16="http://schemas.microsoft.com/office/drawing/2014/main" id="{3D2BCEFC-4A4F-476D-8405-88B2BB94BDE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816711" y="5341144"/>
              <a:ext cx="304800" cy="304800"/>
            </a:xfrm>
            <a:prstGeom prst="rect">
              <a:avLst/>
            </a:prstGeom>
          </p:spPr>
        </p:pic>
        <p:pic>
          <p:nvPicPr>
            <p:cNvPr id="115" name="Grafik 114" descr="Lachendes Gesicht ohne Füllung">
              <a:extLst>
                <a:ext uri="{FF2B5EF4-FFF2-40B4-BE49-F238E27FC236}">
                  <a16:creationId xmlns:a16="http://schemas.microsoft.com/office/drawing/2014/main" id="{F5E43726-4A94-4ECD-ABCB-0C539E9BE4E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845286" y="5455444"/>
              <a:ext cx="304800" cy="304800"/>
            </a:xfrm>
            <a:prstGeom prst="rect">
              <a:avLst/>
            </a:prstGeom>
          </p:spPr>
        </p:pic>
        <p:pic>
          <p:nvPicPr>
            <p:cNvPr id="116" name="Grafik 115" descr="Lachendes Gesicht ohne Füllung">
              <a:extLst>
                <a:ext uri="{FF2B5EF4-FFF2-40B4-BE49-F238E27FC236}">
                  <a16:creationId xmlns:a16="http://schemas.microsoft.com/office/drawing/2014/main" id="{1A4FE85C-FCD2-4437-9132-DFCCCA8C3040}"/>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283278" y="4400550"/>
              <a:ext cx="304800" cy="304800"/>
            </a:xfrm>
            <a:prstGeom prst="rect">
              <a:avLst/>
            </a:prstGeom>
          </p:spPr>
        </p:pic>
        <p:pic>
          <p:nvPicPr>
            <p:cNvPr id="117" name="Grafik 116" descr="Lachendes Gesicht ohne Füllung">
              <a:extLst>
                <a:ext uri="{FF2B5EF4-FFF2-40B4-BE49-F238E27FC236}">
                  <a16:creationId xmlns:a16="http://schemas.microsoft.com/office/drawing/2014/main" id="{CCA64075-1640-4D58-803C-13F0DC0E693B}"/>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369728" y="4352925"/>
              <a:ext cx="304800" cy="304800"/>
            </a:xfrm>
            <a:prstGeom prst="rect">
              <a:avLst/>
            </a:prstGeom>
          </p:spPr>
        </p:pic>
        <p:pic>
          <p:nvPicPr>
            <p:cNvPr id="118" name="Grafik 117" descr="Lachendes Gesicht ohne Füllung">
              <a:extLst>
                <a:ext uri="{FF2B5EF4-FFF2-40B4-BE49-F238E27FC236}">
                  <a16:creationId xmlns:a16="http://schemas.microsoft.com/office/drawing/2014/main" id="{21ED2C1B-6FDC-4B4E-A171-527D7C399C00}"/>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454620" y="4572000"/>
              <a:ext cx="304800" cy="304800"/>
            </a:xfrm>
            <a:prstGeom prst="rect">
              <a:avLst/>
            </a:prstGeom>
          </p:spPr>
        </p:pic>
        <p:pic>
          <p:nvPicPr>
            <p:cNvPr id="119" name="Grafik 118" descr="Lachendes Gesicht ohne Füllung">
              <a:extLst>
                <a:ext uri="{FF2B5EF4-FFF2-40B4-BE49-F238E27FC236}">
                  <a16:creationId xmlns:a16="http://schemas.microsoft.com/office/drawing/2014/main" id="{0C390601-9B31-4F78-B0C7-45F53286405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561218" y="4333875"/>
              <a:ext cx="304800" cy="304800"/>
            </a:xfrm>
            <a:prstGeom prst="rect">
              <a:avLst/>
            </a:prstGeom>
          </p:spPr>
        </p:pic>
        <p:pic>
          <p:nvPicPr>
            <p:cNvPr id="120" name="Grafik 119" descr="Lachendes Gesicht ohne Füllung">
              <a:extLst>
                <a:ext uri="{FF2B5EF4-FFF2-40B4-BE49-F238E27FC236}">
                  <a16:creationId xmlns:a16="http://schemas.microsoft.com/office/drawing/2014/main" id="{4AFC55B6-853A-4647-811C-2B7B0277394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264336" y="4610100"/>
              <a:ext cx="304800" cy="304800"/>
            </a:xfrm>
            <a:prstGeom prst="rect">
              <a:avLst/>
            </a:prstGeom>
          </p:spPr>
        </p:pic>
        <p:pic>
          <p:nvPicPr>
            <p:cNvPr id="121" name="Grafik 120" descr="Lachendes Gesicht ohne Füllung">
              <a:extLst>
                <a:ext uri="{FF2B5EF4-FFF2-40B4-BE49-F238E27FC236}">
                  <a16:creationId xmlns:a16="http://schemas.microsoft.com/office/drawing/2014/main" id="{9FDED983-1006-4A70-9D5E-386E87ACD1A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692079" y="4514850"/>
              <a:ext cx="304800" cy="304800"/>
            </a:xfrm>
            <a:prstGeom prst="rect">
              <a:avLst/>
            </a:prstGeom>
          </p:spPr>
        </p:pic>
        <p:pic>
          <p:nvPicPr>
            <p:cNvPr id="122" name="Grafik 121" descr="Lachendes Gesicht ohne Füllung">
              <a:extLst>
                <a:ext uri="{FF2B5EF4-FFF2-40B4-BE49-F238E27FC236}">
                  <a16:creationId xmlns:a16="http://schemas.microsoft.com/office/drawing/2014/main" id="{9E3F3B03-8279-43CB-A061-51540566E17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797471" y="4638675"/>
              <a:ext cx="304800" cy="304800"/>
            </a:xfrm>
            <a:prstGeom prst="rect">
              <a:avLst/>
            </a:prstGeom>
          </p:spPr>
        </p:pic>
        <p:pic>
          <p:nvPicPr>
            <p:cNvPr id="123" name="Grafik 122" descr="Lachendes Gesicht ohne Füllung">
              <a:extLst>
                <a:ext uri="{FF2B5EF4-FFF2-40B4-BE49-F238E27FC236}">
                  <a16:creationId xmlns:a16="http://schemas.microsoft.com/office/drawing/2014/main" id="{229519BB-C42A-4AFF-9EFF-8A3CB2995E0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826113" y="4400550"/>
              <a:ext cx="304800" cy="304800"/>
            </a:xfrm>
            <a:prstGeom prst="rect">
              <a:avLst/>
            </a:prstGeom>
          </p:spPr>
        </p:pic>
        <p:pic>
          <p:nvPicPr>
            <p:cNvPr id="124" name="Grafik 123" descr="Lachendes Gesicht ohne Füllung">
              <a:extLst>
                <a:ext uri="{FF2B5EF4-FFF2-40B4-BE49-F238E27FC236}">
                  <a16:creationId xmlns:a16="http://schemas.microsoft.com/office/drawing/2014/main" id="{70B4A3D0-604A-48ED-8DF2-2A9E07B4F82B}"/>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595438" y="4743450"/>
              <a:ext cx="304800" cy="304800"/>
            </a:xfrm>
            <a:prstGeom prst="rect">
              <a:avLst/>
            </a:prstGeom>
          </p:spPr>
        </p:pic>
        <p:pic>
          <p:nvPicPr>
            <p:cNvPr id="125" name="Grafik 124" descr="Lachendes Gesicht ohne Füllung">
              <a:extLst>
                <a:ext uri="{FF2B5EF4-FFF2-40B4-BE49-F238E27FC236}">
                  <a16:creationId xmlns:a16="http://schemas.microsoft.com/office/drawing/2014/main" id="{DE76F77C-C169-418A-9D62-319E527E6AD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978513" y="4552950"/>
              <a:ext cx="304800" cy="304800"/>
            </a:xfrm>
            <a:prstGeom prst="rect">
              <a:avLst/>
            </a:prstGeom>
          </p:spPr>
        </p:pic>
        <p:pic>
          <p:nvPicPr>
            <p:cNvPr id="126" name="Grafik 125" descr="Lachendes Gesicht ohne Füllung">
              <a:extLst>
                <a:ext uri="{FF2B5EF4-FFF2-40B4-BE49-F238E27FC236}">
                  <a16:creationId xmlns:a16="http://schemas.microsoft.com/office/drawing/2014/main" id="{20FBCCD8-B5B2-49AD-AD82-090F47273520}"/>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444628" y="5607844"/>
              <a:ext cx="304800" cy="304800"/>
            </a:xfrm>
            <a:prstGeom prst="rect">
              <a:avLst/>
            </a:prstGeom>
          </p:spPr>
        </p:pic>
        <p:pic>
          <p:nvPicPr>
            <p:cNvPr id="127" name="Grafik 126" descr="Lachendes Gesicht ohne Füllung">
              <a:extLst>
                <a:ext uri="{FF2B5EF4-FFF2-40B4-BE49-F238E27FC236}">
                  <a16:creationId xmlns:a16="http://schemas.microsoft.com/office/drawing/2014/main" id="{EB7593D5-54BF-4FCB-9369-63F9949F8C3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168964" y="4629150"/>
              <a:ext cx="304800" cy="304800"/>
            </a:xfrm>
            <a:prstGeom prst="rect">
              <a:avLst/>
            </a:prstGeom>
          </p:spPr>
        </p:pic>
        <p:pic>
          <p:nvPicPr>
            <p:cNvPr id="128" name="Grafik 127" descr="Lachendes Gesicht ohne Füllung">
              <a:extLst>
                <a:ext uri="{FF2B5EF4-FFF2-40B4-BE49-F238E27FC236}">
                  <a16:creationId xmlns:a16="http://schemas.microsoft.com/office/drawing/2014/main" id="{D1ADB510-8F5B-43BF-9F1F-94EA54C86470}"/>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128760" y="5514975"/>
              <a:ext cx="304800" cy="304800"/>
            </a:xfrm>
            <a:prstGeom prst="rect">
              <a:avLst/>
            </a:prstGeom>
          </p:spPr>
        </p:pic>
        <p:pic>
          <p:nvPicPr>
            <p:cNvPr id="129" name="Grafik 128" descr="Lachendes Gesicht ohne Füllung">
              <a:extLst>
                <a:ext uri="{FF2B5EF4-FFF2-40B4-BE49-F238E27FC236}">
                  <a16:creationId xmlns:a16="http://schemas.microsoft.com/office/drawing/2014/main" id="{AAF2B147-A522-4999-8909-84AA16AA6E5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264136" y="5667375"/>
              <a:ext cx="304800" cy="304800"/>
            </a:xfrm>
            <a:prstGeom prst="rect">
              <a:avLst/>
            </a:prstGeom>
          </p:spPr>
        </p:pic>
        <p:pic>
          <p:nvPicPr>
            <p:cNvPr id="130" name="Grafik 129" descr="Lachendes Gesicht ohne Füllung">
              <a:extLst>
                <a:ext uri="{FF2B5EF4-FFF2-40B4-BE49-F238E27FC236}">
                  <a16:creationId xmlns:a16="http://schemas.microsoft.com/office/drawing/2014/main" id="{76864940-A872-45ED-A38A-793C96ADDC6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056100" y="5636419"/>
              <a:ext cx="304800" cy="304800"/>
            </a:xfrm>
            <a:prstGeom prst="rect">
              <a:avLst/>
            </a:prstGeom>
          </p:spPr>
        </p:pic>
        <p:pic>
          <p:nvPicPr>
            <p:cNvPr id="131" name="Grafik 130" descr="Lachendes Gesicht ohne Füllung">
              <a:extLst>
                <a:ext uri="{FF2B5EF4-FFF2-40B4-BE49-F238E27FC236}">
                  <a16:creationId xmlns:a16="http://schemas.microsoft.com/office/drawing/2014/main" id="{60D14B72-3729-4FE3-9842-EECDD4D0291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962150" y="5607844"/>
              <a:ext cx="304800" cy="304800"/>
            </a:xfrm>
            <a:prstGeom prst="rect">
              <a:avLst/>
            </a:prstGeom>
          </p:spPr>
        </p:pic>
        <p:pic>
          <p:nvPicPr>
            <p:cNvPr id="132" name="Grafik 131" descr="Lachendes Gesicht ohne Füllung">
              <a:extLst>
                <a:ext uri="{FF2B5EF4-FFF2-40B4-BE49-F238E27FC236}">
                  <a16:creationId xmlns:a16="http://schemas.microsoft.com/office/drawing/2014/main" id="{D977C408-18EE-4828-94FD-4CA03AB46DA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264136" y="4800600"/>
              <a:ext cx="304800" cy="304800"/>
            </a:xfrm>
            <a:prstGeom prst="rect">
              <a:avLst/>
            </a:prstGeom>
          </p:spPr>
        </p:pic>
        <p:pic>
          <p:nvPicPr>
            <p:cNvPr id="133" name="Grafik 132" descr="Lachendes Gesicht ohne Füllung">
              <a:extLst>
                <a:ext uri="{FF2B5EF4-FFF2-40B4-BE49-F238E27FC236}">
                  <a16:creationId xmlns:a16="http://schemas.microsoft.com/office/drawing/2014/main" id="{88194F12-664A-4E59-9CC2-6DB062D9459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778564" y="4762500"/>
              <a:ext cx="304800" cy="304800"/>
            </a:xfrm>
            <a:prstGeom prst="rect">
              <a:avLst/>
            </a:prstGeom>
          </p:spPr>
        </p:pic>
        <p:pic>
          <p:nvPicPr>
            <p:cNvPr id="134" name="Grafik 133" descr="Lachendes Gesicht ohne Füllung">
              <a:extLst>
                <a:ext uri="{FF2B5EF4-FFF2-40B4-BE49-F238E27FC236}">
                  <a16:creationId xmlns:a16="http://schemas.microsoft.com/office/drawing/2014/main" id="{26556D40-2C79-4FAB-A0A0-E29C2EE972BB}"/>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817284" y="4847035"/>
              <a:ext cx="304800" cy="304800"/>
            </a:xfrm>
            <a:prstGeom prst="rect">
              <a:avLst/>
            </a:prstGeom>
          </p:spPr>
        </p:pic>
        <p:pic>
          <p:nvPicPr>
            <p:cNvPr id="135" name="Grafik 134" descr="Lachendes Gesicht ohne Füllung">
              <a:extLst>
                <a:ext uri="{FF2B5EF4-FFF2-40B4-BE49-F238E27FC236}">
                  <a16:creationId xmlns:a16="http://schemas.microsoft.com/office/drawing/2014/main" id="{4A4C8869-5A1B-4060-917C-AC7741848D4B}"/>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913135" y="4755356"/>
              <a:ext cx="304800" cy="304800"/>
            </a:xfrm>
            <a:prstGeom prst="rect">
              <a:avLst/>
            </a:prstGeom>
          </p:spPr>
        </p:pic>
        <p:pic>
          <p:nvPicPr>
            <p:cNvPr id="136" name="Grafik 135" descr="Lachendes Gesicht ohne Füllung">
              <a:extLst>
                <a:ext uri="{FF2B5EF4-FFF2-40B4-BE49-F238E27FC236}">
                  <a16:creationId xmlns:a16="http://schemas.microsoft.com/office/drawing/2014/main" id="{53164637-707C-42C9-857F-37B1EDD4D38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017009" y="4962525"/>
              <a:ext cx="304800" cy="304800"/>
            </a:xfrm>
            <a:prstGeom prst="rect">
              <a:avLst/>
            </a:prstGeom>
          </p:spPr>
        </p:pic>
        <p:pic>
          <p:nvPicPr>
            <p:cNvPr id="137" name="Grafik 136" descr="Lachendes Gesicht ohne Füllung">
              <a:extLst>
                <a:ext uri="{FF2B5EF4-FFF2-40B4-BE49-F238E27FC236}">
                  <a16:creationId xmlns:a16="http://schemas.microsoft.com/office/drawing/2014/main" id="{12CD29E9-982A-4D51-A96C-A17E5B2FF1C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083364" y="5543550"/>
              <a:ext cx="304800" cy="304800"/>
            </a:xfrm>
            <a:prstGeom prst="rect">
              <a:avLst/>
            </a:prstGeom>
          </p:spPr>
        </p:pic>
        <p:pic>
          <p:nvPicPr>
            <p:cNvPr id="138" name="Grafik 137" descr="Lachendes Gesicht ohne Füllung">
              <a:extLst>
                <a:ext uri="{FF2B5EF4-FFF2-40B4-BE49-F238E27FC236}">
                  <a16:creationId xmlns:a16="http://schemas.microsoft.com/office/drawing/2014/main" id="{363CD8D7-848F-4868-94E5-CA7FCB0F30D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235764" y="5695950"/>
              <a:ext cx="304800" cy="304800"/>
            </a:xfrm>
            <a:prstGeom prst="rect">
              <a:avLst/>
            </a:prstGeom>
          </p:spPr>
        </p:pic>
        <p:pic>
          <p:nvPicPr>
            <p:cNvPr id="139" name="Grafik 138" descr="Lachendes Gesicht ohne Füllung">
              <a:extLst>
                <a:ext uri="{FF2B5EF4-FFF2-40B4-BE49-F238E27FC236}">
                  <a16:creationId xmlns:a16="http://schemas.microsoft.com/office/drawing/2014/main" id="{5B92B79D-676C-40C6-BBD0-480C5E4D8B7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159361" y="4953000"/>
              <a:ext cx="304800" cy="304800"/>
            </a:xfrm>
            <a:prstGeom prst="rect">
              <a:avLst/>
            </a:prstGeom>
          </p:spPr>
        </p:pic>
        <p:pic>
          <p:nvPicPr>
            <p:cNvPr id="140" name="Grafik 139" descr="Lachendes Gesicht ohne Füllung">
              <a:extLst>
                <a:ext uri="{FF2B5EF4-FFF2-40B4-BE49-F238E27FC236}">
                  <a16:creationId xmlns:a16="http://schemas.microsoft.com/office/drawing/2014/main" id="{071AE286-1185-49C7-B0C4-D4C49EBBD5C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054586" y="5105400"/>
              <a:ext cx="304800" cy="304800"/>
            </a:xfrm>
            <a:prstGeom prst="rect">
              <a:avLst/>
            </a:prstGeom>
          </p:spPr>
        </p:pic>
        <p:pic>
          <p:nvPicPr>
            <p:cNvPr id="141" name="Grafik 140" descr="Lachendes Gesicht ohne Füllung">
              <a:extLst>
                <a:ext uri="{FF2B5EF4-FFF2-40B4-BE49-F238E27FC236}">
                  <a16:creationId xmlns:a16="http://schemas.microsoft.com/office/drawing/2014/main" id="{C44E1430-B9DD-49CC-AFBC-67AD3895A72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949811" y="5257800"/>
              <a:ext cx="304800" cy="304800"/>
            </a:xfrm>
            <a:prstGeom prst="rect">
              <a:avLst/>
            </a:prstGeom>
          </p:spPr>
        </p:pic>
        <p:pic>
          <p:nvPicPr>
            <p:cNvPr id="142" name="Grafik 141" descr="Lachendes Gesicht ohne Füllung">
              <a:extLst>
                <a:ext uri="{FF2B5EF4-FFF2-40B4-BE49-F238E27FC236}">
                  <a16:creationId xmlns:a16="http://schemas.microsoft.com/office/drawing/2014/main" id="{1DF695D7-A54B-4A1C-AD1E-374FBDCDD1E0}"/>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845036" y="5410200"/>
              <a:ext cx="304800" cy="304800"/>
            </a:xfrm>
            <a:prstGeom prst="rect">
              <a:avLst/>
            </a:prstGeom>
          </p:spPr>
        </p:pic>
        <p:pic>
          <p:nvPicPr>
            <p:cNvPr id="143" name="Grafik 142" descr="Lachendes Gesicht ohne Füllung">
              <a:extLst>
                <a:ext uri="{FF2B5EF4-FFF2-40B4-BE49-F238E27FC236}">
                  <a16:creationId xmlns:a16="http://schemas.microsoft.com/office/drawing/2014/main" id="{073F8DF5-995E-4B39-863D-8E1A3C26B43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740261" y="5562600"/>
              <a:ext cx="304800" cy="304800"/>
            </a:xfrm>
            <a:prstGeom prst="rect">
              <a:avLst/>
            </a:prstGeom>
          </p:spPr>
        </p:pic>
        <p:pic>
          <p:nvPicPr>
            <p:cNvPr id="144" name="Grafik 143" descr="Lachendes Gesicht ohne Füllung">
              <a:extLst>
                <a:ext uri="{FF2B5EF4-FFF2-40B4-BE49-F238E27FC236}">
                  <a16:creationId xmlns:a16="http://schemas.microsoft.com/office/drawing/2014/main" id="{2EED66E2-2801-4DC0-A91B-B02B9DA2808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747838" y="4895850"/>
              <a:ext cx="304800" cy="304800"/>
            </a:xfrm>
            <a:prstGeom prst="rect">
              <a:avLst/>
            </a:prstGeom>
          </p:spPr>
        </p:pic>
        <p:pic>
          <p:nvPicPr>
            <p:cNvPr id="145" name="Grafik 144" descr="Lachendes Gesicht ohne Füllung">
              <a:extLst>
                <a:ext uri="{FF2B5EF4-FFF2-40B4-BE49-F238E27FC236}">
                  <a16:creationId xmlns:a16="http://schemas.microsoft.com/office/drawing/2014/main" id="{41866D68-D2F9-4F07-898D-7B6AC942277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709738" y="5048250"/>
              <a:ext cx="304800" cy="304800"/>
            </a:xfrm>
            <a:prstGeom prst="rect">
              <a:avLst/>
            </a:prstGeom>
          </p:spPr>
        </p:pic>
        <p:pic>
          <p:nvPicPr>
            <p:cNvPr id="146" name="Grafik 145" descr="Lachendes Gesicht ohne Füllung">
              <a:extLst>
                <a:ext uri="{FF2B5EF4-FFF2-40B4-BE49-F238E27FC236}">
                  <a16:creationId xmlns:a16="http://schemas.microsoft.com/office/drawing/2014/main" id="{FD9A99F2-83E5-4EB3-8116-E2C04BFBFC2B}"/>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671638" y="5200650"/>
              <a:ext cx="304800" cy="304800"/>
            </a:xfrm>
            <a:prstGeom prst="rect">
              <a:avLst/>
            </a:prstGeom>
          </p:spPr>
        </p:pic>
        <p:pic>
          <p:nvPicPr>
            <p:cNvPr id="147" name="Grafik 146" descr="Lachendes Gesicht ohne Füllung">
              <a:extLst>
                <a:ext uri="{FF2B5EF4-FFF2-40B4-BE49-F238E27FC236}">
                  <a16:creationId xmlns:a16="http://schemas.microsoft.com/office/drawing/2014/main" id="{4F784AFC-3477-456D-B1CB-829C69E908A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633538" y="5353050"/>
              <a:ext cx="304800" cy="304800"/>
            </a:xfrm>
            <a:prstGeom prst="rect">
              <a:avLst/>
            </a:prstGeom>
          </p:spPr>
        </p:pic>
        <p:pic>
          <p:nvPicPr>
            <p:cNvPr id="148" name="Grafik 147" descr="Lachendes Gesicht ohne Füllung">
              <a:extLst>
                <a:ext uri="{FF2B5EF4-FFF2-40B4-BE49-F238E27FC236}">
                  <a16:creationId xmlns:a16="http://schemas.microsoft.com/office/drawing/2014/main" id="{530DBE8E-ACCE-4DAF-AD7A-CDF67650E48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900238" y="5048250"/>
              <a:ext cx="304800" cy="304800"/>
            </a:xfrm>
            <a:prstGeom prst="rect">
              <a:avLst/>
            </a:prstGeom>
          </p:spPr>
        </p:pic>
        <p:pic>
          <p:nvPicPr>
            <p:cNvPr id="149" name="Grafik 148" descr="Lachendes Gesicht ohne Füllung">
              <a:extLst>
                <a:ext uri="{FF2B5EF4-FFF2-40B4-BE49-F238E27FC236}">
                  <a16:creationId xmlns:a16="http://schemas.microsoft.com/office/drawing/2014/main" id="{DF07D13D-B87B-489D-BB20-668933B8A1C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423988" y="5162550"/>
              <a:ext cx="304800" cy="304800"/>
            </a:xfrm>
            <a:prstGeom prst="rect">
              <a:avLst/>
            </a:prstGeom>
          </p:spPr>
        </p:pic>
        <p:pic>
          <p:nvPicPr>
            <p:cNvPr id="150" name="Grafik 149" descr="Lachendes Gesicht ohne Füllung">
              <a:extLst>
                <a:ext uri="{FF2B5EF4-FFF2-40B4-BE49-F238E27FC236}">
                  <a16:creationId xmlns:a16="http://schemas.microsoft.com/office/drawing/2014/main" id="{21BE8167-1F25-4737-96FD-A8B5B561B26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481138" y="5334000"/>
              <a:ext cx="304800" cy="304800"/>
            </a:xfrm>
            <a:prstGeom prst="rect">
              <a:avLst/>
            </a:prstGeom>
          </p:spPr>
        </p:pic>
        <p:pic>
          <p:nvPicPr>
            <p:cNvPr id="151" name="Grafik 150" descr="Lachendes Gesicht ohne Füllung">
              <a:extLst>
                <a:ext uri="{FF2B5EF4-FFF2-40B4-BE49-F238E27FC236}">
                  <a16:creationId xmlns:a16="http://schemas.microsoft.com/office/drawing/2014/main" id="{3DE7AA1D-A21B-4921-9434-1829EAE84D8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987911" y="4876800"/>
              <a:ext cx="304800" cy="304800"/>
            </a:xfrm>
            <a:prstGeom prst="rect">
              <a:avLst/>
            </a:prstGeom>
          </p:spPr>
        </p:pic>
        <p:pic>
          <p:nvPicPr>
            <p:cNvPr id="152" name="Grafik 151" descr="Lachendes Gesicht ohne Füllung">
              <a:extLst>
                <a:ext uri="{FF2B5EF4-FFF2-40B4-BE49-F238E27FC236}">
                  <a16:creationId xmlns:a16="http://schemas.microsoft.com/office/drawing/2014/main" id="{894D7EDE-E16E-4220-A803-F41491C5072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206986" y="5257800"/>
              <a:ext cx="304800" cy="304800"/>
            </a:xfrm>
            <a:prstGeom prst="rect">
              <a:avLst/>
            </a:prstGeom>
          </p:spPr>
        </p:pic>
        <p:pic>
          <p:nvPicPr>
            <p:cNvPr id="153" name="Grafik 152" descr="Lachendes Gesicht ohne Füllung">
              <a:extLst>
                <a:ext uri="{FF2B5EF4-FFF2-40B4-BE49-F238E27FC236}">
                  <a16:creationId xmlns:a16="http://schemas.microsoft.com/office/drawing/2014/main" id="{9025CE02-F411-440C-9213-32C3BEF763F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483211" y="5572125"/>
              <a:ext cx="304800" cy="304800"/>
            </a:xfrm>
            <a:prstGeom prst="rect">
              <a:avLst/>
            </a:prstGeom>
          </p:spPr>
        </p:pic>
        <p:pic>
          <p:nvPicPr>
            <p:cNvPr id="154" name="Grafik 153" descr="Lachendes Gesicht ohne Füllung">
              <a:extLst>
                <a:ext uri="{FF2B5EF4-FFF2-40B4-BE49-F238E27FC236}">
                  <a16:creationId xmlns:a16="http://schemas.microsoft.com/office/drawing/2014/main" id="{ED1F492A-130F-4790-8007-7230C6CDE0C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453662" y="5438775"/>
              <a:ext cx="304800" cy="304800"/>
            </a:xfrm>
            <a:prstGeom prst="rect">
              <a:avLst/>
            </a:prstGeom>
          </p:spPr>
        </p:pic>
        <p:pic>
          <p:nvPicPr>
            <p:cNvPr id="155" name="Grafik 154" descr="Lachendes Gesicht ohne Füllung">
              <a:extLst>
                <a:ext uri="{FF2B5EF4-FFF2-40B4-BE49-F238E27FC236}">
                  <a16:creationId xmlns:a16="http://schemas.microsoft.com/office/drawing/2014/main" id="{B0871129-FDF8-4770-B70C-92D4BF0CD24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616113" y="5438775"/>
              <a:ext cx="304800" cy="304800"/>
            </a:xfrm>
            <a:prstGeom prst="rect">
              <a:avLst/>
            </a:prstGeom>
          </p:spPr>
        </p:pic>
        <p:pic>
          <p:nvPicPr>
            <p:cNvPr id="156" name="Grafik 155" descr="Lachendes Gesicht ohne Füllung">
              <a:extLst>
                <a:ext uri="{FF2B5EF4-FFF2-40B4-BE49-F238E27FC236}">
                  <a16:creationId xmlns:a16="http://schemas.microsoft.com/office/drawing/2014/main" id="{BBE26213-EB70-4ABE-922F-5BAA2208B7C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680422" y="5591175"/>
              <a:ext cx="304800" cy="304800"/>
            </a:xfrm>
            <a:prstGeom prst="rect">
              <a:avLst/>
            </a:prstGeom>
          </p:spPr>
        </p:pic>
        <p:pic>
          <p:nvPicPr>
            <p:cNvPr id="157" name="Grafik 156" descr="Lachendes Gesicht ohne Füllung">
              <a:extLst>
                <a:ext uri="{FF2B5EF4-FFF2-40B4-BE49-F238E27FC236}">
                  <a16:creationId xmlns:a16="http://schemas.microsoft.com/office/drawing/2014/main" id="{90E2E9B1-A6EC-4BED-B18E-3B7BFA9E1D5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169409" y="5114925"/>
              <a:ext cx="304800" cy="304800"/>
            </a:xfrm>
            <a:prstGeom prst="rect">
              <a:avLst/>
            </a:prstGeom>
          </p:spPr>
        </p:pic>
        <p:pic>
          <p:nvPicPr>
            <p:cNvPr id="158" name="Grafik 157" descr="Lachendes Gesicht ohne Füllung">
              <a:extLst>
                <a:ext uri="{FF2B5EF4-FFF2-40B4-BE49-F238E27FC236}">
                  <a16:creationId xmlns:a16="http://schemas.microsoft.com/office/drawing/2014/main" id="{9D57406A-58B2-467F-8114-37BBAF1E976B}"/>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321809" y="5267325"/>
              <a:ext cx="304800" cy="304800"/>
            </a:xfrm>
            <a:prstGeom prst="rect">
              <a:avLst/>
            </a:prstGeom>
          </p:spPr>
        </p:pic>
        <p:pic>
          <p:nvPicPr>
            <p:cNvPr id="159" name="Grafik 158" descr="Lachendes Gesicht ohne Füllung">
              <a:extLst>
                <a:ext uri="{FF2B5EF4-FFF2-40B4-BE49-F238E27FC236}">
                  <a16:creationId xmlns:a16="http://schemas.microsoft.com/office/drawing/2014/main" id="{F57E6696-503F-4E83-BF27-DD8254CE9D2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807186" y="5091113"/>
              <a:ext cx="304800" cy="304800"/>
            </a:xfrm>
            <a:prstGeom prst="rect">
              <a:avLst/>
            </a:prstGeom>
          </p:spPr>
        </p:pic>
        <p:pic>
          <p:nvPicPr>
            <p:cNvPr id="160" name="Grafik 159" descr="Lachendes Gesicht ohne Füllung">
              <a:extLst>
                <a:ext uri="{FF2B5EF4-FFF2-40B4-BE49-F238E27FC236}">
                  <a16:creationId xmlns:a16="http://schemas.microsoft.com/office/drawing/2014/main" id="{D7DFBB1F-8EF1-448A-8076-EAF5C988115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502386" y="4953000"/>
              <a:ext cx="304800" cy="304800"/>
            </a:xfrm>
            <a:prstGeom prst="rect">
              <a:avLst/>
            </a:prstGeom>
          </p:spPr>
        </p:pic>
        <p:pic>
          <p:nvPicPr>
            <p:cNvPr id="161" name="Grafik 160" descr="Lachendes Gesicht ohne Füllung">
              <a:extLst>
                <a:ext uri="{FF2B5EF4-FFF2-40B4-BE49-F238E27FC236}">
                  <a16:creationId xmlns:a16="http://schemas.microsoft.com/office/drawing/2014/main" id="{BB024776-EB22-4166-AB7E-CC3331DDFA3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197586" y="4814887"/>
              <a:ext cx="304800" cy="304800"/>
            </a:xfrm>
            <a:prstGeom prst="rect">
              <a:avLst/>
            </a:prstGeom>
          </p:spPr>
        </p:pic>
        <p:pic>
          <p:nvPicPr>
            <p:cNvPr id="162" name="Grafik 161" descr="Lachendes Gesicht ohne Füllung">
              <a:extLst>
                <a:ext uri="{FF2B5EF4-FFF2-40B4-BE49-F238E27FC236}">
                  <a16:creationId xmlns:a16="http://schemas.microsoft.com/office/drawing/2014/main" id="{48EC6B6F-5ED5-40CB-9F6B-EF7C53B1450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349986" y="4800600"/>
              <a:ext cx="304800" cy="304800"/>
            </a:xfrm>
            <a:prstGeom prst="rect">
              <a:avLst/>
            </a:prstGeom>
          </p:spPr>
        </p:pic>
        <p:pic>
          <p:nvPicPr>
            <p:cNvPr id="163" name="Grafik 162" descr="Lachendes Gesicht ohne Füllung">
              <a:extLst>
                <a:ext uri="{FF2B5EF4-FFF2-40B4-BE49-F238E27FC236}">
                  <a16:creationId xmlns:a16="http://schemas.microsoft.com/office/drawing/2014/main" id="{BBE0A7BB-5F1B-4B43-9965-4F1F9F23E9F0}"/>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453628" y="5105400"/>
              <a:ext cx="304800" cy="304800"/>
            </a:xfrm>
            <a:prstGeom prst="rect">
              <a:avLst/>
            </a:prstGeom>
          </p:spPr>
        </p:pic>
        <p:pic>
          <p:nvPicPr>
            <p:cNvPr id="164" name="Grafik 163" descr="Lachendes Gesicht ohne Füllung">
              <a:extLst>
                <a:ext uri="{FF2B5EF4-FFF2-40B4-BE49-F238E27FC236}">
                  <a16:creationId xmlns:a16="http://schemas.microsoft.com/office/drawing/2014/main" id="{2237E0DD-600E-4F36-8340-F3C90F8B6D7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700270" y="4953000"/>
              <a:ext cx="304800" cy="304800"/>
            </a:xfrm>
            <a:prstGeom prst="rect">
              <a:avLst/>
            </a:prstGeom>
          </p:spPr>
        </p:pic>
        <p:pic>
          <p:nvPicPr>
            <p:cNvPr id="165" name="Grafik 164" descr="Lachendes Gesicht ohne Füllung">
              <a:extLst>
                <a:ext uri="{FF2B5EF4-FFF2-40B4-BE49-F238E27FC236}">
                  <a16:creationId xmlns:a16="http://schemas.microsoft.com/office/drawing/2014/main" id="{E11453D2-A2B3-482C-BBE3-A47A70092E2B}"/>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738078" y="5248275"/>
              <a:ext cx="304800" cy="304800"/>
            </a:xfrm>
            <a:prstGeom prst="rect">
              <a:avLst/>
            </a:prstGeom>
          </p:spPr>
        </p:pic>
        <p:pic>
          <p:nvPicPr>
            <p:cNvPr id="166" name="Grafik 165" descr="Lachendes Gesicht ohne Füllung">
              <a:extLst>
                <a:ext uri="{FF2B5EF4-FFF2-40B4-BE49-F238E27FC236}">
                  <a16:creationId xmlns:a16="http://schemas.microsoft.com/office/drawing/2014/main" id="{F4489CC2-47AA-40CC-82D3-7F25B7A91E3B}"/>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857500" y="4124325"/>
              <a:ext cx="304800" cy="304800"/>
            </a:xfrm>
            <a:prstGeom prst="rect">
              <a:avLst/>
            </a:prstGeom>
          </p:spPr>
        </p:pic>
        <p:pic>
          <p:nvPicPr>
            <p:cNvPr id="167" name="Grafik 166" descr="Lachendes Gesicht ohne Füllung">
              <a:extLst>
                <a:ext uri="{FF2B5EF4-FFF2-40B4-BE49-F238E27FC236}">
                  <a16:creationId xmlns:a16="http://schemas.microsoft.com/office/drawing/2014/main" id="{F3AF8337-DF08-4411-90BC-9E97F986006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008408" y="4562475"/>
              <a:ext cx="304800" cy="304800"/>
            </a:xfrm>
            <a:prstGeom prst="rect">
              <a:avLst/>
            </a:prstGeom>
          </p:spPr>
        </p:pic>
        <p:pic>
          <p:nvPicPr>
            <p:cNvPr id="168" name="Grafik 167" descr="Lachendes Gesicht ohne Füllung">
              <a:extLst>
                <a:ext uri="{FF2B5EF4-FFF2-40B4-BE49-F238E27FC236}">
                  <a16:creationId xmlns:a16="http://schemas.microsoft.com/office/drawing/2014/main" id="{DFE54096-D84C-41B9-9B0D-8818F542E54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806049" y="4572000"/>
              <a:ext cx="304800" cy="304800"/>
            </a:xfrm>
            <a:prstGeom prst="rect">
              <a:avLst/>
            </a:prstGeom>
          </p:spPr>
        </p:pic>
        <p:pic>
          <p:nvPicPr>
            <p:cNvPr id="169" name="Grafik 168" descr="Lachendes Gesicht ohne Füllung">
              <a:extLst>
                <a:ext uri="{FF2B5EF4-FFF2-40B4-BE49-F238E27FC236}">
                  <a16:creationId xmlns:a16="http://schemas.microsoft.com/office/drawing/2014/main" id="{9EF3F2FD-A226-4D44-B492-B7B4CF3E95C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597113" y="4636293"/>
              <a:ext cx="304800" cy="304800"/>
            </a:xfrm>
            <a:prstGeom prst="rect">
              <a:avLst/>
            </a:prstGeom>
          </p:spPr>
        </p:pic>
        <p:pic>
          <p:nvPicPr>
            <p:cNvPr id="170" name="Grafik 169" descr="Lachendes Gesicht ohne Füllung">
              <a:extLst>
                <a:ext uri="{FF2B5EF4-FFF2-40B4-BE49-F238E27FC236}">
                  <a16:creationId xmlns:a16="http://schemas.microsoft.com/office/drawing/2014/main" id="{A1B686F8-E58D-44F8-AD59-4557115CE67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017009" y="3305175"/>
              <a:ext cx="304800" cy="304800"/>
            </a:xfrm>
            <a:prstGeom prst="rect">
              <a:avLst/>
            </a:prstGeom>
          </p:spPr>
        </p:pic>
        <p:pic>
          <p:nvPicPr>
            <p:cNvPr id="171" name="Grafik 170" descr="Lachendes Gesicht ohne Füllung">
              <a:extLst>
                <a:ext uri="{FF2B5EF4-FFF2-40B4-BE49-F238E27FC236}">
                  <a16:creationId xmlns:a16="http://schemas.microsoft.com/office/drawing/2014/main" id="{C1562CE1-7028-488F-A75C-B161A559F76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169409" y="3276600"/>
              <a:ext cx="304800" cy="304800"/>
            </a:xfrm>
            <a:prstGeom prst="rect">
              <a:avLst/>
            </a:prstGeom>
          </p:spPr>
        </p:pic>
        <p:pic>
          <p:nvPicPr>
            <p:cNvPr id="172" name="Grafik 171" descr="Lachendes Gesicht ohne Füllung">
              <a:extLst>
                <a:ext uri="{FF2B5EF4-FFF2-40B4-BE49-F238E27FC236}">
                  <a16:creationId xmlns:a16="http://schemas.microsoft.com/office/drawing/2014/main" id="{868D3F63-0DE7-4422-A74A-501D41D81A5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368192" y="3417094"/>
              <a:ext cx="304800" cy="304800"/>
            </a:xfrm>
            <a:prstGeom prst="rect">
              <a:avLst/>
            </a:prstGeom>
          </p:spPr>
        </p:pic>
        <p:pic>
          <p:nvPicPr>
            <p:cNvPr id="173" name="Grafik 172" descr="Lachendes Gesicht ohne Füllung">
              <a:extLst>
                <a:ext uri="{FF2B5EF4-FFF2-40B4-BE49-F238E27FC236}">
                  <a16:creationId xmlns:a16="http://schemas.microsoft.com/office/drawing/2014/main" id="{06F561DD-588C-41FC-8595-9B9B655CD4B0}"/>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511379" y="3414713"/>
              <a:ext cx="304800" cy="304800"/>
            </a:xfrm>
            <a:prstGeom prst="rect">
              <a:avLst/>
            </a:prstGeom>
          </p:spPr>
        </p:pic>
        <p:pic>
          <p:nvPicPr>
            <p:cNvPr id="174" name="Grafik 173" descr="Lachendes Gesicht ohne Füllung">
              <a:extLst>
                <a:ext uri="{FF2B5EF4-FFF2-40B4-BE49-F238E27FC236}">
                  <a16:creationId xmlns:a16="http://schemas.microsoft.com/office/drawing/2014/main" id="{4527C235-CFF6-4CAF-9671-EB9A5E25E06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454541" y="3526632"/>
              <a:ext cx="304800" cy="304800"/>
            </a:xfrm>
            <a:prstGeom prst="rect">
              <a:avLst/>
            </a:prstGeom>
          </p:spPr>
        </p:pic>
        <p:pic>
          <p:nvPicPr>
            <p:cNvPr id="175" name="Grafik 174" descr="Lachendes Gesicht ohne Füllung">
              <a:extLst>
                <a:ext uri="{FF2B5EF4-FFF2-40B4-BE49-F238E27FC236}">
                  <a16:creationId xmlns:a16="http://schemas.microsoft.com/office/drawing/2014/main" id="{A0A47500-3031-42E8-9D3B-07DD9AD8716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74604" y="4657725"/>
              <a:ext cx="304800" cy="304800"/>
            </a:xfrm>
            <a:prstGeom prst="rect">
              <a:avLst/>
            </a:prstGeom>
          </p:spPr>
        </p:pic>
        <p:pic>
          <p:nvPicPr>
            <p:cNvPr id="176" name="Grafik 175" descr="Lachendes Gesicht ohne Füllung">
              <a:extLst>
                <a:ext uri="{FF2B5EF4-FFF2-40B4-BE49-F238E27FC236}">
                  <a16:creationId xmlns:a16="http://schemas.microsoft.com/office/drawing/2014/main" id="{D0FE5494-FA73-484E-8C29-1A849DB357A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724125" y="3305175"/>
              <a:ext cx="304800" cy="304800"/>
            </a:xfrm>
            <a:prstGeom prst="rect">
              <a:avLst/>
            </a:prstGeom>
          </p:spPr>
        </p:pic>
        <p:pic>
          <p:nvPicPr>
            <p:cNvPr id="177" name="Grafik 176" descr="Lachendes Gesicht ohne Füllung">
              <a:extLst>
                <a:ext uri="{FF2B5EF4-FFF2-40B4-BE49-F238E27FC236}">
                  <a16:creationId xmlns:a16="http://schemas.microsoft.com/office/drawing/2014/main" id="{6B035E2E-72DF-4E28-8E44-89CB8C52D0C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285513" y="3045619"/>
              <a:ext cx="304800" cy="304800"/>
            </a:xfrm>
            <a:prstGeom prst="rect">
              <a:avLst/>
            </a:prstGeom>
          </p:spPr>
        </p:pic>
        <p:pic>
          <p:nvPicPr>
            <p:cNvPr id="178" name="Grafik 177" descr="Lachendes Gesicht ohne Füllung">
              <a:extLst>
                <a:ext uri="{FF2B5EF4-FFF2-40B4-BE49-F238E27FC236}">
                  <a16:creationId xmlns:a16="http://schemas.microsoft.com/office/drawing/2014/main" id="{701763C3-27A8-44EB-BA55-036814774EE0}"/>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654212" y="5955506"/>
              <a:ext cx="304800" cy="304800"/>
            </a:xfrm>
            <a:prstGeom prst="rect">
              <a:avLst/>
            </a:prstGeom>
          </p:spPr>
        </p:pic>
        <p:pic>
          <p:nvPicPr>
            <p:cNvPr id="179" name="Grafik 178" descr="Lachendes Gesicht ohne Füllung">
              <a:extLst>
                <a:ext uri="{FF2B5EF4-FFF2-40B4-BE49-F238E27FC236}">
                  <a16:creationId xmlns:a16="http://schemas.microsoft.com/office/drawing/2014/main" id="{4B8A6311-27F5-43F6-9F1E-F7A629E3DD5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997034" y="6074569"/>
              <a:ext cx="304800" cy="304800"/>
            </a:xfrm>
            <a:prstGeom prst="rect">
              <a:avLst/>
            </a:prstGeom>
          </p:spPr>
        </p:pic>
        <p:pic>
          <p:nvPicPr>
            <p:cNvPr id="180" name="Grafik 179" descr="Lachendes Gesicht ohne Füllung">
              <a:extLst>
                <a:ext uri="{FF2B5EF4-FFF2-40B4-BE49-F238E27FC236}">
                  <a16:creationId xmlns:a16="http://schemas.microsoft.com/office/drawing/2014/main" id="{F594A3A6-10C3-4F31-9D9A-FDAA332E3F8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519314" y="5967413"/>
              <a:ext cx="304800" cy="304800"/>
            </a:xfrm>
            <a:prstGeom prst="rect">
              <a:avLst/>
            </a:prstGeom>
          </p:spPr>
        </p:pic>
        <p:pic>
          <p:nvPicPr>
            <p:cNvPr id="181" name="Grafik 180" descr="Lachendes Gesicht ohne Füllung">
              <a:extLst>
                <a:ext uri="{FF2B5EF4-FFF2-40B4-BE49-F238E27FC236}">
                  <a16:creationId xmlns:a16="http://schemas.microsoft.com/office/drawing/2014/main" id="{C00E471C-72D1-4A7F-9C9D-41508804441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91958" y="6072188"/>
              <a:ext cx="304800" cy="304800"/>
            </a:xfrm>
            <a:prstGeom prst="rect">
              <a:avLst/>
            </a:prstGeom>
          </p:spPr>
        </p:pic>
        <p:pic>
          <p:nvPicPr>
            <p:cNvPr id="182" name="Grafik 181" descr="Lachendes Gesicht ohne Füllung">
              <a:extLst>
                <a:ext uri="{FF2B5EF4-FFF2-40B4-BE49-F238E27FC236}">
                  <a16:creationId xmlns:a16="http://schemas.microsoft.com/office/drawing/2014/main" id="{DBD66AB5-C8E5-4C87-BE34-D123C31B19B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387670" y="5986463"/>
              <a:ext cx="304800" cy="304800"/>
            </a:xfrm>
            <a:prstGeom prst="rect">
              <a:avLst/>
            </a:prstGeom>
          </p:spPr>
        </p:pic>
        <p:pic>
          <p:nvPicPr>
            <p:cNvPr id="183" name="Grafik 182" descr="Lachendes Gesicht ohne Füllung">
              <a:extLst>
                <a:ext uri="{FF2B5EF4-FFF2-40B4-BE49-F238E27FC236}">
                  <a16:creationId xmlns:a16="http://schemas.microsoft.com/office/drawing/2014/main" id="{8550799D-8E4D-4F05-850C-FB814E73ABF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454620" y="6129338"/>
              <a:ext cx="304800" cy="304800"/>
            </a:xfrm>
            <a:prstGeom prst="rect">
              <a:avLst/>
            </a:prstGeom>
          </p:spPr>
        </p:pic>
        <p:pic>
          <p:nvPicPr>
            <p:cNvPr id="184" name="Grafik 183" descr="Lachendes Gesicht ohne Füllung">
              <a:extLst>
                <a:ext uri="{FF2B5EF4-FFF2-40B4-BE49-F238E27FC236}">
                  <a16:creationId xmlns:a16="http://schemas.microsoft.com/office/drawing/2014/main" id="{FD4F360A-5AEB-4AD6-8B8B-87000E35490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806612" y="5900737"/>
              <a:ext cx="304800" cy="304800"/>
            </a:xfrm>
            <a:prstGeom prst="rect">
              <a:avLst/>
            </a:prstGeom>
          </p:spPr>
        </p:pic>
        <p:pic>
          <p:nvPicPr>
            <p:cNvPr id="185" name="Grafik 184" descr="Lachendes Gesicht ohne Füllung">
              <a:extLst>
                <a:ext uri="{FF2B5EF4-FFF2-40B4-BE49-F238E27FC236}">
                  <a16:creationId xmlns:a16="http://schemas.microsoft.com/office/drawing/2014/main" id="{798E9C71-8B3E-4975-B2F9-C0E3BF11738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606028" y="5257800"/>
              <a:ext cx="304800" cy="304800"/>
            </a:xfrm>
            <a:prstGeom prst="rect">
              <a:avLst/>
            </a:prstGeom>
          </p:spPr>
        </p:pic>
        <p:pic>
          <p:nvPicPr>
            <p:cNvPr id="186" name="Grafik 185" descr="Lachendes Gesicht ohne Füllung">
              <a:extLst>
                <a:ext uri="{FF2B5EF4-FFF2-40B4-BE49-F238E27FC236}">
                  <a16:creationId xmlns:a16="http://schemas.microsoft.com/office/drawing/2014/main" id="{66277F4D-4E04-4F67-863F-59E2404CD6C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453628" y="4876800"/>
              <a:ext cx="304800" cy="304800"/>
            </a:xfrm>
            <a:prstGeom prst="rect">
              <a:avLst/>
            </a:prstGeom>
          </p:spPr>
        </p:pic>
        <p:pic>
          <p:nvPicPr>
            <p:cNvPr id="187" name="Grafik 186" descr="Lachendes Gesicht ohne Füllung">
              <a:extLst>
                <a:ext uri="{FF2B5EF4-FFF2-40B4-BE49-F238E27FC236}">
                  <a16:creationId xmlns:a16="http://schemas.microsoft.com/office/drawing/2014/main" id="{160E16BB-18AB-421D-BAB1-52938D20A50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890478" y="5400675"/>
              <a:ext cx="304800" cy="304800"/>
            </a:xfrm>
            <a:prstGeom prst="rect">
              <a:avLst/>
            </a:prstGeom>
          </p:spPr>
        </p:pic>
        <p:pic>
          <p:nvPicPr>
            <p:cNvPr id="188" name="Grafik 187" descr="Lachendes Gesicht ohne Füllung">
              <a:extLst>
                <a:ext uri="{FF2B5EF4-FFF2-40B4-BE49-F238E27FC236}">
                  <a16:creationId xmlns:a16="http://schemas.microsoft.com/office/drawing/2014/main" id="{A98BB470-2F42-43B6-914E-7225BDA79E0B}"/>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987695" y="5248275"/>
              <a:ext cx="304800" cy="304800"/>
            </a:xfrm>
            <a:prstGeom prst="rect">
              <a:avLst/>
            </a:prstGeom>
          </p:spPr>
        </p:pic>
        <p:pic>
          <p:nvPicPr>
            <p:cNvPr id="189" name="Grafik 188" descr="Lachendes Gesicht ohne Füllung">
              <a:extLst>
                <a:ext uri="{FF2B5EF4-FFF2-40B4-BE49-F238E27FC236}">
                  <a16:creationId xmlns:a16="http://schemas.microsoft.com/office/drawing/2014/main" id="{9CBD0D75-ABE8-4557-ABF6-DD181FE2432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370335" y="3852863"/>
              <a:ext cx="304800" cy="304800"/>
            </a:xfrm>
            <a:prstGeom prst="rect">
              <a:avLst/>
            </a:prstGeom>
          </p:spPr>
        </p:pic>
        <p:pic>
          <p:nvPicPr>
            <p:cNvPr id="190" name="Grafik 189" descr="Lachendes Gesicht ohne Füllung">
              <a:extLst>
                <a:ext uri="{FF2B5EF4-FFF2-40B4-BE49-F238E27FC236}">
                  <a16:creationId xmlns:a16="http://schemas.microsoft.com/office/drawing/2014/main" id="{71FAC10E-4F40-4A86-898F-9E676F2B904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408435" y="3683794"/>
              <a:ext cx="304800" cy="304800"/>
            </a:xfrm>
            <a:prstGeom prst="rect">
              <a:avLst/>
            </a:prstGeom>
          </p:spPr>
        </p:pic>
        <p:pic>
          <p:nvPicPr>
            <p:cNvPr id="191" name="Grafik 190" descr="Lachendes Gesicht ohne Füllung">
              <a:extLst>
                <a:ext uri="{FF2B5EF4-FFF2-40B4-BE49-F238E27FC236}">
                  <a16:creationId xmlns:a16="http://schemas.microsoft.com/office/drawing/2014/main" id="{E04DF840-7357-437D-85B7-190F2E641DA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457575" y="2524125"/>
              <a:ext cx="304800" cy="304800"/>
            </a:xfrm>
            <a:prstGeom prst="rect">
              <a:avLst/>
            </a:prstGeom>
          </p:spPr>
        </p:pic>
        <p:pic>
          <p:nvPicPr>
            <p:cNvPr id="192" name="Grafik 191" descr="Lachendes Gesicht ohne Füllung">
              <a:extLst>
                <a:ext uri="{FF2B5EF4-FFF2-40B4-BE49-F238E27FC236}">
                  <a16:creationId xmlns:a16="http://schemas.microsoft.com/office/drawing/2014/main" id="{C1A4A832-E0CA-48D4-A16D-73F64105B21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266093" y="2590800"/>
              <a:ext cx="304800" cy="304800"/>
            </a:xfrm>
            <a:prstGeom prst="rect">
              <a:avLst/>
            </a:prstGeom>
          </p:spPr>
        </p:pic>
        <p:pic>
          <p:nvPicPr>
            <p:cNvPr id="193" name="Grafik 192" descr="Lachendes Gesicht ohne Füllung">
              <a:extLst>
                <a:ext uri="{FF2B5EF4-FFF2-40B4-BE49-F238E27FC236}">
                  <a16:creationId xmlns:a16="http://schemas.microsoft.com/office/drawing/2014/main" id="{4AAF5588-3912-4BAA-A48C-ED9B9D0E0FB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048000" y="2657475"/>
              <a:ext cx="304800" cy="304800"/>
            </a:xfrm>
            <a:prstGeom prst="rect">
              <a:avLst/>
            </a:prstGeom>
          </p:spPr>
        </p:pic>
        <p:pic>
          <p:nvPicPr>
            <p:cNvPr id="4" name="Grafik 3" descr="Lachendes Gesicht ohne Füllung">
              <a:extLst>
                <a:ext uri="{FF2B5EF4-FFF2-40B4-BE49-F238E27FC236}">
                  <a16:creationId xmlns:a16="http://schemas.microsoft.com/office/drawing/2014/main" id="{D96A49EB-CC28-C2BC-16F9-F2D1C0C4AB7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100946" y="3724275"/>
              <a:ext cx="304800" cy="304800"/>
            </a:xfrm>
            <a:prstGeom prst="rect">
              <a:avLst/>
            </a:prstGeom>
          </p:spPr>
        </p:pic>
        <p:pic>
          <p:nvPicPr>
            <p:cNvPr id="6" name="Grafik 5" descr="Lachendes Gesicht ohne Füllung">
              <a:extLst>
                <a:ext uri="{FF2B5EF4-FFF2-40B4-BE49-F238E27FC236}">
                  <a16:creationId xmlns:a16="http://schemas.microsoft.com/office/drawing/2014/main" id="{5E176DA2-6E13-425B-000D-F022F2B98AA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685193" y="3000375"/>
              <a:ext cx="304800" cy="304800"/>
            </a:xfrm>
            <a:prstGeom prst="rect">
              <a:avLst/>
            </a:prstGeom>
          </p:spPr>
        </p:pic>
        <p:pic>
          <p:nvPicPr>
            <p:cNvPr id="51" name="Grafik 50" descr="Lachendes Gesicht ohne Füllung">
              <a:extLst>
                <a:ext uri="{FF2B5EF4-FFF2-40B4-BE49-F238E27FC236}">
                  <a16:creationId xmlns:a16="http://schemas.microsoft.com/office/drawing/2014/main" id="{8A97F17B-241D-2440-0CCE-0A0B55718DC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837593" y="3152775"/>
              <a:ext cx="304800" cy="304800"/>
            </a:xfrm>
            <a:prstGeom prst="rect">
              <a:avLst/>
            </a:prstGeom>
          </p:spPr>
        </p:pic>
        <p:pic>
          <p:nvPicPr>
            <p:cNvPr id="52" name="Grafik 51" descr="Lachendes Gesicht ohne Füllung">
              <a:extLst>
                <a:ext uri="{FF2B5EF4-FFF2-40B4-BE49-F238E27FC236}">
                  <a16:creationId xmlns:a16="http://schemas.microsoft.com/office/drawing/2014/main" id="{EBE6A615-3438-9332-8212-1D60FE38FDC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071688" y="2476500"/>
              <a:ext cx="304800" cy="304800"/>
            </a:xfrm>
            <a:prstGeom prst="rect">
              <a:avLst/>
            </a:prstGeom>
          </p:spPr>
        </p:pic>
        <p:pic>
          <p:nvPicPr>
            <p:cNvPr id="53" name="Grafik 52" descr="Lachendes Gesicht ohne Füllung">
              <a:extLst>
                <a:ext uri="{FF2B5EF4-FFF2-40B4-BE49-F238E27FC236}">
                  <a16:creationId xmlns:a16="http://schemas.microsoft.com/office/drawing/2014/main" id="{79DB6795-507D-32E6-BF82-A4052830551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224088" y="2628900"/>
              <a:ext cx="304800" cy="304800"/>
            </a:xfrm>
            <a:prstGeom prst="rect">
              <a:avLst/>
            </a:prstGeom>
          </p:spPr>
        </p:pic>
        <p:pic>
          <p:nvPicPr>
            <p:cNvPr id="194" name="Grafik 193" descr="Lachendes Gesicht ohne Füllung">
              <a:extLst>
                <a:ext uri="{FF2B5EF4-FFF2-40B4-BE49-F238E27FC236}">
                  <a16:creationId xmlns:a16="http://schemas.microsoft.com/office/drawing/2014/main" id="{0087C477-17C1-9A6C-A3EE-71F55D455D0B}"/>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376488" y="2452829"/>
              <a:ext cx="304800" cy="304800"/>
            </a:xfrm>
            <a:prstGeom prst="rect">
              <a:avLst/>
            </a:prstGeom>
          </p:spPr>
        </p:pic>
        <p:pic>
          <p:nvPicPr>
            <p:cNvPr id="195" name="Grafik 194" descr="Lachendes Gesicht ohne Füllung">
              <a:extLst>
                <a:ext uri="{FF2B5EF4-FFF2-40B4-BE49-F238E27FC236}">
                  <a16:creationId xmlns:a16="http://schemas.microsoft.com/office/drawing/2014/main" id="{EE7EF7D3-C24C-D447-5F0E-943106854C3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942992" y="3948113"/>
              <a:ext cx="304800" cy="304800"/>
            </a:xfrm>
            <a:prstGeom prst="rect">
              <a:avLst/>
            </a:prstGeom>
          </p:spPr>
        </p:pic>
        <p:pic>
          <p:nvPicPr>
            <p:cNvPr id="196" name="Grafik 195" descr="Lachendes Gesicht ohne Füllung">
              <a:extLst>
                <a:ext uri="{FF2B5EF4-FFF2-40B4-BE49-F238E27FC236}">
                  <a16:creationId xmlns:a16="http://schemas.microsoft.com/office/drawing/2014/main" id="{CC3BCCB4-5D25-CBD6-FF6B-0E49D68DFCC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730921" y="4117044"/>
              <a:ext cx="304800" cy="304800"/>
            </a:xfrm>
            <a:prstGeom prst="rect">
              <a:avLst/>
            </a:prstGeom>
          </p:spPr>
        </p:pic>
        <p:pic>
          <p:nvPicPr>
            <p:cNvPr id="197" name="Grafik 196" descr="Lachendes Gesicht ohne Füllung">
              <a:extLst>
                <a:ext uri="{FF2B5EF4-FFF2-40B4-BE49-F238E27FC236}">
                  <a16:creationId xmlns:a16="http://schemas.microsoft.com/office/drawing/2014/main" id="{7CC53955-B006-B95F-254A-26D02C2B523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540578" y="4391025"/>
              <a:ext cx="304800" cy="304800"/>
            </a:xfrm>
            <a:prstGeom prst="rect">
              <a:avLst/>
            </a:prstGeom>
          </p:spPr>
        </p:pic>
        <p:pic>
          <p:nvPicPr>
            <p:cNvPr id="198" name="Grafik 197" descr="Lachendes Gesicht ohne Füllung">
              <a:extLst>
                <a:ext uri="{FF2B5EF4-FFF2-40B4-BE49-F238E27FC236}">
                  <a16:creationId xmlns:a16="http://schemas.microsoft.com/office/drawing/2014/main" id="{60554096-F8FE-01C9-ACF6-11662D0E85D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692978" y="4543425"/>
              <a:ext cx="304800" cy="304800"/>
            </a:xfrm>
            <a:prstGeom prst="rect">
              <a:avLst/>
            </a:prstGeom>
          </p:spPr>
        </p:pic>
        <p:pic>
          <p:nvPicPr>
            <p:cNvPr id="199" name="Grafik 198" descr="Lachendes Gesicht ohne Füllung">
              <a:extLst>
                <a:ext uri="{FF2B5EF4-FFF2-40B4-BE49-F238E27FC236}">
                  <a16:creationId xmlns:a16="http://schemas.microsoft.com/office/drawing/2014/main" id="{25E4A334-5878-3C57-ED46-14063387DE9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552700" y="4133850"/>
              <a:ext cx="304800" cy="304800"/>
            </a:xfrm>
            <a:prstGeom prst="rect">
              <a:avLst/>
            </a:prstGeom>
          </p:spPr>
        </p:pic>
        <p:pic>
          <p:nvPicPr>
            <p:cNvPr id="200" name="Grafik 199" descr="Lachendes Gesicht ohne Füllung">
              <a:extLst>
                <a:ext uri="{FF2B5EF4-FFF2-40B4-BE49-F238E27FC236}">
                  <a16:creationId xmlns:a16="http://schemas.microsoft.com/office/drawing/2014/main" id="{3C499C59-F1DB-6902-CD55-CBB6003FDBE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705100" y="4286250"/>
              <a:ext cx="304800" cy="304800"/>
            </a:xfrm>
            <a:prstGeom prst="rect">
              <a:avLst/>
            </a:prstGeom>
          </p:spPr>
        </p:pic>
      </p:grpSp>
    </p:spTree>
    <p:extLst>
      <p:ext uri="{BB962C8B-B14F-4D97-AF65-F5344CB8AC3E}">
        <p14:creationId xmlns:p14="http://schemas.microsoft.com/office/powerpoint/2010/main" val="1623334673"/>
      </p:ext>
    </p:extLst>
  </p:cSld>
  <p:clrMapOvr>
    <a:masterClrMapping/>
  </p:clrMapOvr>
  <mc:AlternateContent xmlns:mc="http://schemas.openxmlformats.org/markup-compatibility/2006" xmlns:p14="http://schemas.microsoft.com/office/powerpoint/2010/main">
    <mc:Choice Requires="p14">
      <p:transition spd="slow" p14:dur="1250">
        <p14:reveal/>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38623552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7" name="think-cell Slide" r:id="rId5" imgW="353" imgH="318" progId="TCLayout.ActiveDocument.1">
                  <p:embed/>
                </p:oleObj>
              </mc:Choice>
              <mc:Fallback>
                <p:oleObj name="think-cell Slide" r:id="rId5" imgW="353" imgH="318" progId="TCLayout.ActiveDocument.1">
                  <p:embed/>
                  <p:pic>
                    <p:nvPicPr>
                      <p:cNvPr id="14" name="Object 1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ctrTitle"/>
          </p:nvPr>
        </p:nvSpPr>
        <p:spPr/>
        <p:txBody>
          <a:bodyPr vert="horz"/>
          <a:lstStyle/>
          <a:p>
            <a:r>
              <a:rPr lang="en-GB" dirty="0">
                <a:latin typeface="Calibri"/>
                <a:cs typeface="Calibri"/>
              </a:rPr>
              <a:t>We are </a:t>
            </a:r>
            <a:r>
              <a:rPr lang="en-GB" dirty="0" err="1">
                <a:latin typeface="Calibri"/>
                <a:cs typeface="Calibri"/>
              </a:rPr>
              <a:t>HYDMedia</a:t>
            </a:r>
            <a:r>
              <a:rPr lang="en-GB" dirty="0">
                <a:latin typeface="Calibri"/>
                <a:cs typeface="Calibri"/>
              </a:rPr>
              <a:t> and we are top – 600+ customers</a:t>
            </a:r>
            <a:endParaRPr lang="en-US" dirty="0">
              <a:latin typeface="Calibri"/>
              <a:cs typeface="Calibri"/>
            </a:endParaRPr>
          </a:p>
        </p:txBody>
      </p:sp>
      <p:sp>
        <p:nvSpPr>
          <p:cNvPr id="54" name="AutoShape 14" descr="group people icon 643326 Vector Art at Vecteezy"/>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alibri"/>
              <a:cs typeface="Calibri"/>
            </a:endParaRPr>
          </a:p>
        </p:txBody>
      </p:sp>
      <p:sp>
        <p:nvSpPr>
          <p:cNvPr id="9" name="Segnaposto testo 3">
            <a:extLst>
              <a:ext uri="{FF2B5EF4-FFF2-40B4-BE49-F238E27FC236}">
                <a16:creationId xmlns:a16="http://schemas.microsoft.com/office/drawing/2014/main" id="{9977A32E-62C3-4005-86AF-8609EF3B8D26}"/>
              </a:ext>
            </a:extLst>
          </p:cNvPr>
          <p:cNvSpPr txBox="1">
            <a:spLocks/>
          </p:cNvSpPr>
          <p:nvPr/>
        </p:nvSpPr>
        <p:spPr>
          <a:xfrm>
            <a:off x="500063" y="2178659"/>
            <a:ext cx="11096192" cy="4572000"/>
          </a:xfrm>
          <a:prstGeom prst="rect">
            <a:avLst/>
          </a:prstGeom>
        </p:spPr>
        <p:txBody>
          <a:bodyPr>
            <a:normAutofit/>
          </a:bodyPr>
          <a:lstStyle>
            <a:lvl1pPr marL="228600" indent="-228600" algn="l" rtl="0" eaLnBrk="1" fontAlgn="base" hangingPunct="1">
              <a:lnSpc>
                <a:spcPct val="90000"/>
              </a:lnSpc>
              <a:spcBef>
                <a:spcPts val="1000"/>
              </a:spcBef>
              <a:spcAft>
                <a:spcPct val="0"/>
              </a:spcAft>
              <a:buFont typeface="Arial" panose="020B0604020202020204" pitchFamily="34" charset="0"/>
              <a:buChar char="•"/>
              <a:defRPr sz="2000" b="1" i="0" kern="1200">
                <a:solidFill>
                  <a:schemeClr val="tx2"/>
                </a:solidFill>
                <a:latin typeface="Montserrat SemiBold" pitchFamily="2" charset="77"/>
                <a:ea typeface="+mn-ea"/>
                <a:cs typeface="+mn-cs"/>
              </a:defRPr>
            </a:lvl1pPr>
            <a:lvl2pPr marL="685800" indent="-228600" algn="l" rtl="0" eaLnBrk="1" fontAlgn="base" hangingPunct="1">
              <a:lnSpc>
                <a:spcPct val="90000"/>
              </a:lnSpc>
              <a:spcBef>
                <a:spcPts val="500"/>
              </a:spcBef>
              <a:spcAft>
                <a:spcPct val="0"/>
              </a:spcAft>
              <a:buFont typeface="Arial" panose="020B0604020202020204" pitchFamily="34" charset="0"/>
              <a:buChar char="•"/>
              <a:defRPr sz="1800" kern="1200">
                <a:solidFill>
                  <a:schemeClr val="tx2"/>
                </a:solidFill>
                <a:latin typeface="Montserrat" pitchFamily="2" charset="77"/>
                <a:ea typeface="+mn-ea"/>
                <a:cs typeface="+mn-cs"/>
              </a:defRPr>
            </a:lvl2pPr>
            <a:lvl3pPr marL="1143000" indent="-228600" algn="l" rtl="0" eaLnBrk="1" fontAlgn="base" hangingPunct="1">
              <a:lnSpc>
                <a:spcPct val="90000"/>
              </a:lnSpc>
              <a:spcBef>
                <a:spcPts val="500"/>
              </a:spcBef>
              <a:spcAft>
                <a:spcPct val="0"/>
              </a:spcAft>
              <a:buFont typeface="Arial" panose="020B0604020202020204" pitchFamily="34" charset="0"/>
              <a:buChar char="•"/>
              <a:defRPr sz="1600" kern="1200">
                <a:solidFill>
                  <a:schemeClr val="tx2"/>
                </a:solidFill>
                <a:latin typeface="Montserrat" pitchFamily="2" charset="77"/>
                <a:ea typeface="+mn-ea"/>
                <a:cs typeface="+mn-cs"/>
              </a:defRPr>
            </a:lvl3pPr>
            <a:lvl4pPr marL="1600200" indent="-228600" algn="l" rtl="0" eaLnBrk="1" fontAlgn="base" hangingPunct="1">
              <a:lnSpc>
                <a:spcPct val="90000"/>
              </a:lnSpc>
              <a:spcBef>
                <a:spcPts val="500"/>
              </a:spcBef>
              <a:spcAft>
                <a:spcPct val="0"/>
              </a:spcAft>
              <a:buFont typeface="Arial" panose="020B0604020202020204" pitchFamily="34" charset="0"/>
              <a:buChar char="•"/>
              <a:defRPr kern="1200">
                <a:solidFill>
                  <a:schemeClr val="tx1"/>
                </a:solidFill>
                <a:latin typeface="Montserrat" pitchFamily="2" charset="77"/>
                <a:ea typeface="+mn-ea"/>
                <a:cs typeface="+mn-cs"/>
              </a:defRPr>
            </a:lvl4pPr>
            <a:lvl5pPr marL="2057400" indent="-228600" algn="l" rtl="0" eaLnBrk="1" fontAlgn="base" hangingPunct="1">
              <a:lnSpc>
                <a:spcPct val="90000"/>
              </a:lnSpc>
              <a:spcBef>
                <a:spcPts val="500"/>
              </a:spcBef>
              <a:spcAft>
                <a:spcPct val="0"/>
              </a:spcAft>
              <a:buFont typeface="Arial" panose="020B0604020202020204" pitchFamily="34" charset="0"/>
              <a:buChar char="•"/>
              <a:defRPr kern="1200">
                <a:solidFill>
                  <a:schemeClr val="tx1"/>
                </a:solidFill>
                <a:latin typeface="Montserra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it-IT">
              <a:latin typeface="Calibri"/>
              <a:cs typeface="Calibri"/>
            </a:endParaRPr>
          </a:p>
        </p:txBody>
      </p:sp>
      <p:grpSp>
        <p:nvGrpSpPr>
          <p:cNvPr id="10" name="Gruppieren 9">
            <a:extLst>
              <a:ext uri="{FF2B5EF4-FFF2-40B4-BE49-F238E27FC236}">
                <a16:creationId xmlns:a16="http://schemas.microsoft.com/office/drawing/2014/main" id="{9E7D9ADF-249F-4981-BA43-956D8CE45003}"/>
              </a:ext>
            </a:extLst>
          </p:cNvPr>
          <p:cNvGrpSpPr/>
          <p:nvPr/>
        </p:nvGrpSpPr>
        <p:grpSpPr>
          <a:xfrm>
            <a:off x="1316773" y="1330513"/>
            <a:ext cx="9696766" cy="5674705"/>
            <a:chOff x="1316773" y="691316"/>
            <a:chExt cx="9696766" cy="5674705"/>
          </a:xfrm>
          <a:solidFill>
            <a:srgbClr val="125092"/>
          </a:solidFill>
        </p:grpSpPr>
        <p:pic>
          <p:nvPicPr>
            <p:cNvPr id="11" name="Grafik 10" descr="Nordamerika">
              <a:extLst>
                <a:ext uri="{FF2B5EF4-FFF2-40B4-BE49-F238E27FC236}">
                  <a16:creationId xmlns:a16="http://schemas.microsoft.com/office/drawing/2014/main" id="{1CF03AF8-6E69-4371-B7F9-F61DB4ADC47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316773" y="994994"/>
              <a:ext cx="4008964" cy="4008964"/>
            </a:xfrm>
            <a:prstGeom prst="rect">
              <a:avLst/>
            </a:prstGeom>
          </p:spPr>
        </p:pic>
        <p:pic>
          <p:nvPicPr>
            <p:cNvPr id="12" name="Grafik 11" descr="Südamerika">
              <a:extLst>
                <a:ext uri="{FF2B5EF4-FFF2-40B4-BE49-F238E27FC236}">
                  <a16:creationId xmlns:a16="http://schemas.microsoft.com/office/drawing/2014/main" id="{43134E54-A325-4470-9C28-0BC5018B6D57}"/>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872612" y="3912896"/>
              <a:ext cx="2453125" cy="2453125"/>
            </a:xfrm>
            <a:prstGeom prst="rect">
              <a:avLst/>
            </a:prstGeom>
          </p:spPr>
        </p:pic>
        <p:pic>
          <p:nvPicPr>
            <p:cNvPr id="13" name="Grafik 12" descr="Asien">
              <a:extLst>
                <a:ext uri="{FF2B5EF4-FFF2-40B4-BE49-F238E27FC236}">
                  <a16:creationId xmlns:a16="http://schemas.microsoft.com/office/drawing/2014/main" id="{D04C5E4C-AC52-46B1-A5CF-735B50DCF359}"/>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221994" y="691316"/>
              <a:ext cx="4791545" cy="4541520"/>
            </a:xfrm>
            <a:prstGeom prst="rect">
              <a:avLst/>
            </a:prstGeom>
          </p:spPr>
        </p:pic>
        <p:pic>
          <p:nvPicPr>
            <p:cNvPr id="15" name="Grafik 14" descr="Australien">
              <a:extLst>
                <a:ext uri="{FF2B5EF4-FFF2-40B4-BE49-F238E27FC236}">
                  <a16:creationId xmlns:a16="http://schemas.microsoft.com/office/drawing/2014/main" id="{E297D43F-DE54-4C8C-8D94-29E5525AEC67}"/>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723493" y="4143814"/>
              <a:ext cx="2118155" cy="2118155"/>
            </a:xfrm>
            <a:prstGeom prst="rect">
              <a:avLst/>
            </a:prstGeom>
          </p:spPr>
        </p:pic>
        <p:pic>
          <p:nvPicPr>
            <p:cNvPr id="16" name="Grafik 15" descr="Afrika">
              <a:extLst>
                <a:ext uri="{FF2B5EF4-FFF2-40B4-BE49-F238E27FC236}">
                  <a16:creationId xmlns:a16="http://schemas.microsoft.com/office/drawing/2014/main" id="{4B9763E7-4B4E-46D7-88A5-0D8E15D2DC6B}"/>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4825319" y="3056379"/>
              <a:ext cx="2653006" cy="2653006"/>
            </a:xfrm>
            <a:prstGeom prst="rect">
              <a:avLst/>
            </a:prstGeom>
          </p:spPr>
        </p:pic>
        <p:pic>
          <p:nvPicPr>
            <p:cNvPr id="17" name="Grafik 16" descr="Europa">
              <a:extLst>
                <a:ext uri="{FF2B5EF4-FFF2-40B4-BE49-F238E27FC236}">
                  <a16:creationId xmlns:a16="http://schemas.microsoft.com/office/drawing/2014/main" id="{31F1B710-5B59-4900-BAE0-0B904B8525C5}"/>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4915558" y="969801"/>
              <a:ext cx="2749031" cy="2749031"/>
            </a:xfrm>
            <a:prstGeom prst="rect">
              <a:avLst/>
            </a:prstGeom>
          </p:spPr>
        </p:pic>
      </p:grpSp>
      <p:sp>
        <p:nvSpPr>
          <p:cNvPr id="18" name="Textfeld 17">
            <a:extLst>
              <a:ext uri="{FF2B5EF4-FFF2-40B4-BE49-F238E27FC236}">
                <a16:creationId xmlns:a16="http://schemas.microsoft.com/office/drawing/2014/main" id="{835FCD06-5E76-4460-AA7C-082D61CD3C38}"/>
              </a:ext>
            </a:extLst>
          </p:cNvPr>
          <p:cNvSpPr txBox="1"/>
          <p:nvPr/>
        </p:nvSpPr>
        <p:spPr>
          <a:xfrm>
            <a:off x="4560723" y="5582235"/>
            <a:ext cx="1081226" cy="369332"/>
          </a:xfrm>
          <a:prstGeom prst="rect">
            <a:avLst/>
          </a:prstGeom>
          <a:noFill/>
        </p:spPr>
        <p:txBody>
          <a:bodyPr wrap="square" lIns="91440" tIns="45720" rIns="91440" bIns="45720" rtlCol="0" anchor="t">
            <a:spAutoFit/>
          </a:bodyPr>
          <a:lstStyle>
            <a:defPPr>
              <a:defRPr lang="it-IT"/>
            </a:defPPr>
            <a:lvl1pPr defTabSz="914159">
              <a:defRPr b="1">
                <a:solidFill>
                  <a:srgbClr val="144F91"/>
                </a:solidFill>
                <a:latin typeface="Calibri"/>
                <a:ea typeface="Roboto Light"/>
                <a:cs typeface="Calibri"/>
              </a:defRPr>
            </a:lvl1pPr>
          </a:lstStyle>
          <a:p>
            <a:r>
              <a:rPr lang="de-DE"/>
              <a:t>Brazil</a:t>
            </a:r>
          </a:p>
        </p:txBody>
      </p:sp>
      <p:sp>
        <p:nvSpPr>
          <p:cNvPr id="19" name="Textfeld 18">
            <a:extLst>
              <a:ext uri="{FF2B5EF4-FFF2-40B4-BE49-F238E27FC236}">
                <a16:creationId xmlns:a16="http://schemas.microsoft.com/office/drawing/2014/main" id="{198510F4-2A10-492E-87D9-1F034C54DFF5}"/>
              </a:ext>
            </a:extLst>
          </p:cNvPr>
          <p:cNvSpPr txBox="1"/>
          <p:nvPr/>
        </p:nvSpPr>
        <p:spPr>
          <a:xfrm>
            <a:off x="7166906" y="3766600"/>
            <a:ext cx="1782928" cy="369332"/>
          </a:xfrm>
          <a:prstGeom prst="rect">
            <a:avLst/>
          </a:prstGeom>
          <a:noFill/>
        </p:spPr>
        <p:txBody>
          <a:bodyPr wrap="square" rtlCol="0">
            <a:spAutoFit/>
          </a:bodyPr>
          <a:lstStyle/>
          <a:p>
            <a:pPr defTabSz="914159"/>
            <a:r>
              <a:rPr lang="de-DE">
                <a:solidFill>
                  <a:schemeClr val="bg1"/>
                </a:solidFill>
                <a:latin typeface="Calibri" panose="020F0502020204030204" pitchFamily="34" charset="0"/>
                <a:ea typeface="Roboto Light" panose="02000000000000000000" pitchFamily="2" charset="0"/>
                <a:cs typeface="Calibri" panose="020F0502020204030204" pitchFamily="34" charset="0"/>
              </a:rPr>
              <a:t>Saudi Arabia</a:t>
            </a:r>
            <a:endParaRPr lang="de-DE">
              <a:solidFill>
                <a:schemeClr val="bg1"/>
              </a:solidFill>
              <a:latin typeface="Calibri" panose="020F0502020204030204" pitchFamily="34" charset="0"/>
              <a:cs typeface="Calibri" panose="020F0502020204030204" pitchFamily="34" charset="0"/>
            </a:endParaRPr>
          </a:p>
        </p:txBody>
      </p:sp>
      <p:sp>
        <p:nvSpPr>
          <p:cNvPr id="20" name="Textfeld 19">
            <a:extLst>
              <a:ext uri="{FF2B5EF4-FFF2-40B4-BE49-F238E27FC236}">
                <a16:creationId xmlns:a16="http://schemas.microsoft.com/office/drawing/2014/main" id="{354122A0-B61E-4446-A26E-44E358E44D21}"/>
              </a:ext>
            </a:extLst>
          </p:cNvPr>
          <p:cNvSpPr txBox="1"/>
          <p:nvPr/>
        </p:nvSpPr>
        <p:spPr>
          <a:xfrm>
            <a:off x="4812949" y="3321452"/>
            <a:ext cx="1463371" cy="369332"/>
          </a:xfrm>
          <a:prstGeom prst="rect">
            <a:avLst/>
          </a:prstGeom>
          <a:noFill/>
        </p:spPr>
        <p:txBody>
          <a:bodyPr wrap="square" lIns="91440" tIns="45720" rIns="91440" bIns="45720" rtlCol="0" anchor="t">
            <a:spAutoFit/>
          </a:bodyPr>
          <a:lstStyle>
            <a:defPPr>
              <a:defRPr lang="it-IT"/>
            </a:defPPr>
            <a:lvl1pPr defTabSz="914159">
              <a:defRPr b="1">
                <a:solidFill>
                  <a:srgbClr val="144F91"/>
                </a:solidFill>
                <a:latin typeface="Calibri"/>
                <a:ea typeface="Roboto Light"/>
                <a:cs typeface="Calibri"/>
              </a:defRPr>
            </a:lvl1pPr>
          </a:lstStyle>
          <a:p>
            <a:r>
              <a:rPr lang="de-DE"/>
              <a:t>France</a:t>
            </a:r>
          </a:p>
        </p:txBody>
      </p:sp>
      <p:sp>
        <p:nvSpPr>
          <p:cNvPr id="21" name="Textfeld 20">
            <a:extLst>
              <a:ext uri="{FF2B5EF4-FFF2-40B4-BE49-F238E27FC236}">
                <a16:creationId xmlns:a16="http://schemas.microsoft.com/office/drawing/2014/main" id="{777517DC-44C7-4114-9822-847DF5ABA185}"/>
              </a:ext>
            </a:extLst>
          </p:cNvPr>
          <p:cNvSpPr txBox="1"/>
          <p:nvPr/>
        </p:nvSpPr>
        <p:spPr>
          <a:xfrm>
            <a:off x="890823" y="3959181"/>
            <a:ext cx="1790792" cy="369332"/>
          </a:xfrm>
          <a:prstGeom prst="rect">
            <a:avLst/>
          </a:prstGeom>
          <a:noFill/>
        </p:spPr>
        <p:txBody>
          <a:bodyPr wrap="square" lIns="91440" tIns="45720" rIns="91440" bIns="45720" rtlCol="0" anchor="t">
            <a:spAutoFit/>
          </a:bodyPr>
          <a:lstStyle/>
          <a:p>
            <a:pPr defTabSz="914159"/>
            <a:r>
              <a:rPr lang="de-DE" b="1">
                <a:solidFill>
                  <a:srgbClr val="144F91"/>
                </a:solidFill>
                <a:latin typeface="Calibri"/>
                <a:ea typeface="Roboto Light"/>
                <a:cs typeface="Calibri"/>
              </a:rPr>
              <a:t>North America</a:t>
            </a:r>
            <a:endParaRPr lang="de-DE" b="1">
              <a:solidFill>
                <a:srgbClr val="144F91"/>
              </a:solidFill>
              <a:latin typeface="Calibri"/>
              <a:cs typeface="Calibri"/>
            </a:endParaRPr>
          </a:p>
        </p:txBody>
      </p:sp>
      <p:pic>
        <p:nvPicPr>
          <p:cNvPr id="22" name="Grafik 21" descr="Markierung">
            <a:extLst>
              <a:ext uri="{FF2B5EF4-FFF2-40B4-BE49-F238E27FC236}">
                <a16:creationId xmlns:a16="http://schemas.microsoft.com/office/drawing/2014/main" id="{221A53B3-ECE5-43D8-9325-CD192934AF94}"/>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2613846" y="3165244"/>
            <a:ext cx="914400" cy="914400"/>
          </a:xfrm>
          <a:prstGeom prst="rect">
            <a:avLst/>
          </a:prstGeom>
        </p:spPr>
      </p:pic>
      <p:pic>
        <p:nvPicPr>
          <p:cNvPr id="23" name="Grafik 22" descr="Markierung">
            <a:extLst>
              <a:ext uri="{FF2B5EF4-FFF2-40B4-BE49-F238E27FC236}">
                <a16:creationId xmlns:a16="http://schemas.microsoft.com/office/drawing/2014/main" id="{B9FBC130-D128-4DB0-84CE-D25BA16E8B93}"/>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3210162" y="3019914"/>
            <a:ext cx="914400" cy="914400"/>
          </a:xfrm>
          <a:prstGeom prst="rect">
            <a:avLst/>
          </a:prstGeom>
        </p:spPr>
      </p:pic>
      <p:pic>
        <p:nvPicPr>
          <p:cNvPr id="24" name="Grafik 23" descr="Markierung">
            <a:extLst>
              <a:ext uri="{FF2B5EF4-FFF2-40B4-BE49-F238E27FC236}">
                <a16:creationId xmlns:a16="http://schemas.microsoft.com/office/drawing/2014/main" id="{53702D31-98AE-474E-93D1-2D8A4BA14C57}"/>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4080494" y="4727529"/>
            <a:ext cx="914400" cy="914400"/>
          </a:xfrm>
          <a:prstGeom prst="rect">
            <a:avLst/>
          </a:prstGeom>
        </p:spPr>
      </p:pic>
      <p:pic>
        <p:nvPicPr>
          <p:cNvPr id="25" name="Grafik 24" descr="Markierung">
            <a:extLst>
              <a:ext uri="{FF2B5EF4-FFF2-40B4-BE49-F238E27FC236}">
                <a16:creationId xmlns:a16="http://schemas.microsoft.com/office/drawing/2014/main" id="{60633E3A-E065-40C3-AA65-38BF5366E0B4}"/>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3761005" y="4859731"/>
            <a:ext cx="914400" cy="914400"/>
          </a:xfrm>
          <a:prstGeom prst="rect">
            <a:avLst/>
          </a:prstGeom>
        </p:spPr>
      </p:pic>
      <p:pic>
        <p:nvPicPr>
          <p:cNvPr id="26" name="Grafik 25" descr="Markierung">
            <a:extLst>
              <a:ext uri="{FF2B5EF4-FFF2-40B4-BE49-F238E27FC236}">
                <a16:creationId xmlns:a16="http://schemas.microsoft.com/office/drawing/2014/main" id="{15D288B3-D0CF-4A97-8C92-D09F50FF4A54}"/>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3970326" y="5002951"/>
            <a:ext cx="914400" cy="914400"/>
          </a:xfrm>
          <a:prstGeom prst="rect">
            <a:avLst/>
          </a:prstGeom>
        </p:spPr>
      </p:pic>
      <p:pic>
        <p:nvPicPr>
          <p:cNvPr id="27" name="Grafik 26" descr="Markierung">
            <a:extLst>
              <a:ext uri="{FF2B5EF4-FFF2-40B4-BE49-F238E27FC236}">
                <a16:creationId xmlns:a16="http://schemas.microsoft.com/office/drawing/2014/main" id="{5EE17F1E-970F-46A6-BD74-1B3C11ECF32C}"/>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5336417" y="2843644"/>
            <a:ext cx="914400" cy="914400"/>
          </a:xfrm>
          <a:prstGeom prst="rect">
            <a:avLst/>
          </a:prstGeom>
        </p:spPr>
      </p:pic>
      <p:pic>
        <p:nvPicPr>
          <p:cNvPr id="28" name="Grafik 27" descr="Markierung">
            <a:extLst>
              <a:ext uri="{FF2B5EF4-FFF2-40B4-BE49-F238E27FC236}">
                <a16:creationId xmlns:a16="http://schemas.microsoft.com/office/drawing/2014/main" id="{925D7D14-3100-4CB7-82CA-D16DF87EB93D}"/>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6471154" y="3526690"/>
            <a:ext cx="914400" cy="914400"/>
          </a:xfrm>
          <a:prstGeom prst="rect">
            <a:avLst/>
          </a:prstGeom>
        </p:spPr>
      </p:pic>
      <p:sp>
        <p:nvSpPr>
          <p:cNvPr id="29" name="Textfeld 28">
            <a:extLst>
              <a:ext uri="{FF2B5EF4-FFF2-40B4-BE49-F238E27FC236}">
                <a16:creationId xmlns:a16="http://schemas.microsoft.com/office/drawing/2014/main" id="{9367472B-3668-4380-A6A8-FE10D0FC90E8}"/>
              </a:ext>
            </a:extLst>
          </p:cNvPr>
          <p:cNvSpPr txBox="1"/>
          <p:nvPr/>
        </p:nvSpPr>
        <p:spPr>
          <a:xfrm>
            <a:off x="278151" y="4113050"/>
            <a:ext cx="4702226" cy="2631490"/>
          </a:xfrm>
          <a:prstGeom prst="rect">
            <a:avLst/>
          </a:prstGeom>
          <a:noFill/>
        </p:spPr>
        <p:txBody>
          <a:bodyPr wrap="square" rtlCol="0">
            <a:spAutoFit/>
          </a:bodyPr>
          <a:lstStyle/>
          <a:p>
            <a:pPr lvl="0"/>
            <a:r>
              <a:rPr lang="en-US" sz="1100" b="1" u="sng" dirty="0">
                <a:solidFill>
                  <a:schemeClr val="tx2"/>
                </a:solidFill>
                <a:latin typeface="Calibri"/>
                <a:cs typeface="Calibri"/>
              </a:rPr>
              <a:t>Brazil:</a:t>
            </a:r>
            <a:endParaRPr lang="de-DE" sz="1100" b="1" u="sng" dirty="0">
              <a:solidFill>
                <a:schemeClr val="tx2"/>
              </a:solidFill>
              <a:latin typeface="Calibri"/>
              <a:cs typeface="Calibri"/>
            </a:endParaRPr>
          </a:p>
          <a:p>
            <a:pPr marL="85725" lvl="1"/>
            <a:r>
              <a:rPr lang="en-US" sz="1100" dirty="0">
                <a:solidFill>
                  <a:schemeClr val="tx2"/>
                </a:solidFill>
                <a:latin typeface="Calibri"/>
                <a:cs typeface="Calibri"/>
              </a:rPr>
              <a:t>Hospital de Bahia</a:t>
            </a:r>
            <a:endParaRPr lang="de-DE" sz="1100" dirty="0">
              <a:solidFill>
                <a:schemeClr val="tx2"/>
              </a:solidFill>
              <a:latin typeface="Calibri"/>
              <a:cs typeface="Calibri"/>
            </a:endParaRPr>
          </a:p>
          <a:p>
            <a:pPr marL="85725" lvl="1"/>
            <a:r>
              <a:rPr lang="en-US" sz="1100" dirty="0">
                <a:solidFill>
                  <a:schemeClr val="tx2"/>
                </a:solidFill>
                <a:latin typeface="Calibri"/>
                <a:cs typeface="Calibri"/>
              </a:rPr>
              <a:t>HUGO (</a:t>
            </a:r>
            <a:r>
              <a:rPr lang="pt-BR" sz="1100" dirty="0">
                <a:solidFill>
                  <a:schemeClr val="tx2"/>
                </a:solidFill>
                <a:latin typeface="Calibri"/>
                <a:cs typeface="Calibri"/>
              </a:rPr>
              <a:t>Hospital de Urgências de Goiânia)</a:t>
            </a:r>
            <a:endParaRPr lang="de-DE" sz="1100" dirty="0">
              <a:solidFill>
                <a:schemeClr val="tx2"/>
              </a:solidFill>
              <a:latin typeface="Calibri"/>
              <a:cs typeface="Calibri"/>
            </a:endParaRPr>
          </a:p>
          <a:p>
            <a:pPr marL="85725" lvl="1"/>
            <a:r>
              <a:rPr lang="en-US" sz="1100" dirty="0" err="1">
                <a:solidFill>
                  <a:schemeClr val="tx2"/>
                </a:solidFill>
                <a:latin typeface="Calibri"/>
                <a:cs typeface="Calibri"/>
              </a:rPr>
              <a:t>Unimed</a:t>
            </a:r>
            <a:r>
              <a:rPr lang="en-US" sz="1100" dirty="0">
                <a:solidFill>
                  <a:schemeClr val="tx2"/>
                </a:solidFill>
                <a:latin typeface="Calibri"/>
                <a:cs typeface="Calibri"/>
              </a:rPr>
              <a:t> Caxias do Sul</a:t>
            </a:r>
            <a:endParaRPr lang="de-DE" sz="1100" dirty="0">
              <a:solidFill>
                <a:schemeClr val="tx2"/>
              </a:solidFill>
              <a:latin typeface="Calibri"/>
              <a:cs typeface="Calibri"/>
            </a:endParaRPr>
          </a:p>
          <a:p>
            <a:pPr marL="85725" lvl="1"/>
            <a:r>
              <a:rPr lang="en-US" sz="1100" dirty="0">
                <a:solidFill>
                  <a:schemeClr val="tx2"/>
                </a:solidFill>
                <a:latin typeface="Calibri"/>
                <a:cs typeface="Calibri"/>
              </a:rPr>
              <a:t>IGESP</a:t>
            </a:r>
          </a:p>
          <a:p>
            <a:pPr lvl="1"/>
            <a:endParaRPr lang="de-DE" sz="1100" dirty="0">
              <a:solidFill>
                <a:schemeClr val="tx2"/>
              </a:solidFill>
              <a:latin typeface="Calibri"/>
              <a:cs typeface="Calibri"/>
            </a:endParaRPr>
          </a:p>
          <a:p>
            <a:pPr lvl="0"/>
            <a:r>
              <a:rPr lang="en-US" sz="1100" b="1" u="sng" dirty="0">
                <a:solidFill>
                  <a:schemeClr val="tx2"/>
                </a:solidFill>
                <a:latin typeface="Calibri"/>
                <a:cs typeface="Calibri"/>
              </a:rPr>
              <a:t>Canada:</a:t>
            </a:r>
            <a:endParaRPr lang="de-DE" sz="1100" b="1" u="sng" dirty="0">
              <a:solidFill>
                <a:schemeClr val="tx2"/>
              </a:solidFill>
              <a:latin typeface="Calibri"/>
              <a:cs typeface="Calibri"/>
            </a:endParaRPr>
          </a:p>
          <a:p>
            <a:pPr marL="85725" lvl="1"/>
            <a:r>
              <a:rPr lang="en-US" sz="1100" dirty="0">
                <a:solidFill>
                  <a:schemeClr val="tx2"/>
                </a:solidFill>
                <a:latin typeface="Calibri"/>
                <a:cs typeface="Calibri"/>
              </a:rPr>
              <a:t>Quinte General Hospital</a:t>
            </a:r>
            <a:endParaRPr lang="de-DE" sz="1100" dirty="0">
              <a:solidFill>
                <a:schemeClr val="tx2"/>
              </a:solidFill>
              <a:latin typeface="Calibri"/>
              <a:cs typeface="Calibri"/>
            </a:endParaRPr>
          </a:p>
          <a:p>
            <a:pPr marL="85725" lvl="1"/>
            <a:r>
              <a:rPr lang="en-US" sz="1100" dirty="0">
                <a:solidFill>
                  <a:schemeClr val="tx2"/>
                </a:solidFill>
                <a:latin typeface="Calibri"/>
                <a:cs typeface="Calibri"/>
              </a:rPr>
              <a:t>Lennox and Addington General Hospital</a:t>
            </a:r>
          </a:p>
          <a:p>
            <a:pPr lvl="1"/>
            <a:endParaRPr lang="de-DE" sz="1100" dirty="0">
              <a:solidFill>
                <a:schemeClr val="tx2"/>
              </a:solidFill>
              <a:latin typeface="Calibri"/>
              <a:cs typeface="Calibri"/>
            </a:endParaRPr>
          </a:p>
          <a:p>
            <a:pPr lvl="0"/>
            <a:r>
              <a:rPr lang="en-US" sz="1100" b="1" u="sng" dirty="0">
                <a:solidFill>
                  <a:schemeClr val="tx2"/>
                </a:solidFill>
                <a:latin typeface="Calibri"/>
                <a:cs typeface="Calibri"/>
              </a:rPr>
              <a:t>Saudi Arabia:</a:t>
            </a:r>
            <a:endParaRPr lang="de-DE" sz="1100" b="1" u="sng" dirty="0">
              <a:solidFill>
                <a:schemeClr val="tx2"/>
              </a:solidFill>
              <a:latin typeface="Calibri"/>
              <a:cs typeface="Calibri"/>
            </a:endParaRPr>
          </a:p>
          <a:p>
            <a:pPr marL="85725" lvl="1"/>
            <a:r>
              <a:rPr lang="en-US" sz="1100" dirty="0">
                <a:solidFill>
                  <a:schemeClr val="tx2"/>
                </a:solidFill>
                <a:latin typeface="Calibri"/>
                <a:cs typeface="Calibri"/>
              </a:rPr>
              <a:t>King Fahad University Hospital</a:t>
            </a:r>
            <a:endParaRPr lang="de-DE" sz="1100" dirty="0">
              <a:solidFill>
                <a:schemeClr val="tx2"/>
              </a:solidFill>
              <a:latin typeface="Calibri"/>
              <a:cs typeface="Calibri"/>
            </a:endParaRPr>
          </a:p>
          <a:p>
            <a:endParaRPr lang="de-DE" sz="1100" dirty="0">
              <a:latin typeface="Calibri"/>
              <a:cs typeface="Calibri"/>
            </a:endParaRPr>
          </a:p>
          <a:p>
            <a:pPr lvl="0"/>
            <a:r>
              <a:rPr lang="en-US" sz="1100" b="1" u="sng" dirty="0">
                <a:solidFill>
                  <a:schemeClr val="tx2"/>
                </a:solidFill>
                <a:latin typeface="Calibri"/>
                <a:cs typeface="Calibri"/>
              </a:rPr>
              <a:t>Chile:</a:t>
            </a:r>
            <a:endParaRPr lang="de-DE" sz="1100" b="1" u="sng" dirty="0">
              <a:solidFill>
                <a:schemeClr val="tx2"/>
              </a:solidFill>
              <a:latin typeface="Calibri"/>
              <a:cs typeface="Calibri"/>
            </a:endParaRPr>
          </a:p>
          <a:p>
            <a:pPr marL="85725" lvl="1"/>
            <a:r>
              <a:rPr lang="es-ES" sz="1100" dirty="0">
                <a:latin typeface="+mn-lt"/>
              </a:rPr>
              <a:t>Clínica Universidad de los Andes</a:t>
            </a:r>
            <a:endParaRPr lang="de-DE" dirty="0">
              <a:latin typeface="+mn-lt"/>
              <a:cs typeface="Calibri"/>
            </a:endParaRPr>
          </a:p>
        </p:txBody>
      </p:sp>
      <p:sp>
        <p:nvSpPr>
          <p:cNvPr id="30" name="Textfeld 29">
            <a:extLst>
              <a:ext uri="{FF2B5EF4-FFF2-40B4-BE49-F238E27FC236}">
                <a16:creationId xmlns:a16="http://schemas.microsoft.com/office/drawing/2014/main" id="{6274CE48-053A-4D5D-A1A6-0ACD545AE5A7}"/>
              </a:ext>
            </a:extLst>
          </p:cNvPr>
          <p:cNvSpPr txBox="1"/>
          <p:nvPr/>
        </p:nvSpPr>
        <p:spPr>
          <a:xfrm>
            <a:off x="9962460" y="3458299"/>
            <a:ext cx="1462260" cy="3570208"/>
          </a:xfrm>
          <a:prstGeom prst="rect">
            <a:avLst/>
          </a:prstGeom>
          <a:noFill/>
        </p:spPr>
        <p:txBody>
          <a:bodyPr wrap="none" rtlCol="0">
            <a:spAutoFit/>
          </a:bodyPr>
          <a:lstStyle/>
          <a:p>
            <a:pPr lvl="0"/>
            <a:r>
              <a:rPr lang="en-US" sz="1100" b="1" u="sng" dirty="0">
                <a:solidFill>
                  <a:schemeClr val="tx2"/>
                </a:solidFill>
                <a:latin typeface="Calibri"/>
                <a:cs typeface="Calibri"/>
              </a:rPr>
              <a:t>France: </a:t>
            </a:r>
            <a:endParaRPr lang="de-DE" sz="1100" b="1" u="sng" dirty="0">
              <a:solidFill>
                <a:schemeClr val="tx2"/>
              </a:solidFill>
              <a:latin typeface="Calibri"/>
              <a:cs typeface="Calibri"/>
            </a:endParaRPr>
          </a:p>
          <a:p>
            <a:pPr marL="85725" lvl="1"/>
            <a:r>
              <a:rPr lang="en-US" sz="1100" dirty="0">
                <a:solidFill>
                  <a:schemeClr val="tx2"/>
                </a:solidFill>
                <a:latin typeface="Calibri"/>
                <a:cs typeface="Calibri"/>
              </a:rPr>
              <a:t>CH St Lô/</a:t>
            </a:r>
            <a:r>
              <a:rPr lang="en-US" sz="1100" dirty="0" err="1">
                <a:solidFill>
                  <a:schemeClr val="tx2"/>
                </a:solidFill>
                <a:latin typeface="Calibri"/>
                <a:cs typeface="Calibri"/>
              </a:rPr>
              <a:t>Coutances</a:t>
            </a:r>
            <a:endParaRPr lang="en-US" sz="1100" dirty="0">
              <a:solidFill>
                <a:schemeClr val="tx2"/>
              </a:solidFill>
              <a:latin typeface="Calibri"/>
              <a:cs typeface="Calibri"/>
            </a:endParaRPr>
          </a:p>
          <a:p>
            <a:pPr marL="85725" lvl="1"/>
            <a:r>
              <a:rPr lang="en-US" sz="1100" dirty="0">
                <a:solidFill>
                  <a:schemeClr val="tx2"/>
                </a:solidFill>
                <a:latin typeface="Calibri"/>
                <a:cs typeface="Calibri"/>
              </a:rPr>
              <a:t>CH </a:t>
            </a:r>
            <a:r>
              <a:rPr lang="en-US" sz="1100" dirty="0" err="1">
                <a:solidFill>
                  <a:schemeClr val="tx2"/>
                </a:solidFill>
                <a:latin typeface="Calibri"/>
                <a:cs typeface="Calibri"/>
              </a:rPr>
              <a:t>Epinal</a:t>
            </a:r>
            <a:r>
              <a:rPr lang="en-US" sz="1100" dirty="0">
                <a:solidFill>
                  <a:schemeClr val="tx2"/>
                </a:solidFill>
                <a:latin typeface="Calibri"/>
                <a:cs typeface="Calibri"/>
              </a:rPr>
              <a:t> </a:t>
            </a:r>
          </a:p>
          <a:p>
            <a:pPr marL="85725" lvl="1"/>
            <a:r>
              <a:rPr lang="en-US" sz="1100" dirty="0">
                <a:solidFill>
                  <a:schemeClr val="tx2"/>
                </a:solidFill>
                <a:latin typeface="Calibri"/>
                <a:cs typeface="Calibri"/>
              </a:rPr>
              <a:t>CH Ales</a:t>
            </a:r>
          </a:p>
          <a:p>
            <a:pPr marL="85725" lvl="1"/>
            <a:r>
              <a:rPr lang="en-US" sz="1100" dirty="0">
                <a:solidFill>
                  <a:schemeClr val="tx2"/>
                </a:solidFill>
                <a:latin typeface="Calibri"/>
                <a:cs typeface="Calibri"/>
              </a:rPr>
              <a:t>CH Le Mans</a:t>
            </a:r>
          </a:p>
          <a:p>
            <a:pPr marL="85725" lvl="1"/>
            <a:r>
              <a:rPr lang="en-US" sz="1100" dirty="0">
                <a:solidFill>
                  <a:schemeClr val="tx2"/>
                </a:solidFill>
                <a:latin typeface="Calibri"/>
                <a:cs typeface="Calibri"/>
              </a:rPr>
              <a:t>CH </a:t>
            </a:r>
            <a:r>
              <a:rPr lang="en-US" sz="1100" dirty="0" err="1">
                <a:solidFill>
                  <a:schemeClr val="tx2"/>
                </a:solidFill>
                <a:latin typeface="Calibri"/>
                <a:cs typeface="Calibri"/>
              </a:rPr>
              <a:t>Annemasse</a:t>
            </a:r>
            <a:endParaRPr lang="de-DE" sz="1100" dirty="0">
              <a:solidFill>
                <a:schemeClr val="tx2"/>
              </a:solidFill>
              <a:latin typeface="Calibri"/>
              <a:cs typeface="Calibri"/>
            </a:endParaRPr>
          </a:p>
          <a:p>
            <a:pPr marL="85725" lvl="1"/>
            <a:r>
              <a:rPr lang="en-US" sz="1100" dirty="0">
                <a:solidFill>
                  <a:schemeClr val="tx2"/>
                </a:solidFill>
                <a:latin typeface="Calibri"/>
                <a:cs typeface="Calibri"/>
              </a:rPr>
              <a:t>CHU Nice</a:t>
            </a:r>
          </a:p>
          <a:p>
            <a:pPr marL="85725" lvl="1"/>
            <a:r>
              <a:rPr lang="en-US" sz="1100" dirty="0">
                <a:solidFill>
                  <a:schemeClr val="tx2"/>
                </a:solidFill>
                <a:latin typeface="Calibri"/>
                <a:cs typeface="Calibri"/>
              </a:rPr>
              <a:t>CH </a:t>
            </a:r>
            <a:r>
              <a:rPr lang="en-US" sz="1100" dirty="0" err="1">
                <a:solidFill>
                  <a:schemeClr val="tx2"/>
                </a:solidFill>
                <a:latin typeface="Calibri"/>
                <a:cs typeface="Calibri"/>
              </a:rPr>
              <a:t>Parthenay</a:t>
            </a:r>
            <a:endParaRPr lang="en-US" sz="1100" dirty="0">
              <a:solidFill>
                <a:schemeClr val="tx2"/>
              </a:solidFill>
              <a:latin typeface="Calibri"/>
              <a:cs typeface="Calibri"/>
            </a:endParaRPr>
          </a:p>
          <a:p>
            <a:pPr marL="85725" lvl="1"/>
            <a:r>
              <a:rPr lang="en-US" sz="1100" dirty="0">
                <a:solidFill>
                  <a:schemeClr val="tx2"/>
                </a:solidFill>
                <a:latin typeface="Calibri"/>
                <a:cs typeface="Calibri"/>
              </a:rPr>
              <a:t>CH Lisieux</a:t>
            </a:r>
          </a:p>
          <a:p>
            <a:pPr marL="85725" lvl="1"/>
            <a:r>
              <a:rPr lang="en-US" sz="1100" dirty="0">
                <a:solidFill>
                  <a:schemeClr val="tx2"/>
                </a:solidFill>
                <a:latin typeface="Calibri"/>
                <a:cs typeface="Calibri"/>
              </a:rPr>
              <a:t>CH Cahors</a:t>
            </a:r>
          </a:p>
          <a:p>
            <a:pPr marL="85725" lvl="1"/>
            <a:r>
              <a:rPr lang="en-US" sz="1100" dirty="0">
                <a:solidFill>
                  <a:schemeClr val="tx2"/>
                </a:solidFill>
                <a:latin typeface="Calibri"/>
                <a:cs typeface="Calibri"/>
              </a:rPr>
              <a:t>CH </a:t>
            </a:r>
            <a:r>
              <a:rPr lang="en-US" sz="1100" dirty="0" err="1">
                <a:solidFill>
                  <a:schemeClr val="tx2"/>
                </a:solidFill>
                <a:latin typeface="Calibri"/>
                <a:cs typeface="Calibri"/>
              </a:rPr>
              <a:t>Montluçon</a:t>
            </a:r>
            <a:endParaRPr lang="en-US" sz="1100" dirty="0">
              <a:solidFill>
                <a:schemeClr val="tx2"/>
              </a:solidFill>
              <a:latin typeface="Calibri"/>
              <a:cs typeface="Calibri"/>
            </a:endParaRPr>
          </a:p>
          <a:p>
            <a:pPr marL="85725" lvl="1"/>
            <a:r>
              <a:rPr lang="en-US" sz="1100" dirty="0">
                <a:solidFill>
                  <a:schemeClr val="tx2"/>
                </a:solidFill>
                <a:latin typeface="Calibri"/>
                <a:cs typeface="Calibri"/>
              </a:rPr>
              <a:t>CH 4 </a:t>
            </a:r>
            <a:r>
              <a:rPr lang="en-US" sz="1100" dirty="0" err="1">
                <a:solidFill>
                  <a:schemeClr val="tx2"/>
                </a:solidFill>
                <a:latin typeface="Calibri"/>
                <a:cs typeface="Calibri"/>
              </a:rPr>
              <a:t>Villes</a:t>
            </a:r>
            <a:r>
              <a:rPr lang="en-US" sz="1100" dirty="0">
                <a:solidFill>
                  <a:schemeClr val="tx2"/>
                </a:solidFill>
                <a:latin typeface="Calibri"/>
                <a:cs typeface="Calibri"/>
              </a:rPr>
              <a:t> (St Cloud)</a:t>
            </a:r>
          </a:p>
          <a:p>
            <a:pPr marL="85725" lvl="1"/>
            <a:r>
              <a:rPr lang="en-US" sz="1100" dirty="0">
                <a:solidFill>
                  <a:schemeClr val="tx2"/>
                </a:solidFill>
                <a:latin typeface="Calibri"/>
                <a:cs typeface="Calibri"/>
              </a:rPr>
              <a:t>CH </a:t>
            </a:r>
            <a:r>
              <a:rPr lang="en-US" sz="1100" dirty="0" err="1">
                <a:solidFill>
                  <a:schemeClr val="tx2"/>
                </a:solidFill>
                <a:latin typeface="Calibri"/>
                <a:cs typeface="Calibri"/>
              </a:rPr>
              <a:t>Pontivy</a:t>
            </a:r>
            <a:endParaRPr lang="de-DE" sz="1100" dirty="0">
              <a:solidFill>
                <a:schemeClr val="tx2"/>
              </a:solidFill>
              <a:latin typeface="Calibri"/>
              <a:cs typeface="Calibri"/>
            </a:endParaRPr>
          </a:p>
          <a:p>
            <a:pPr marL="85725" lvl="1"/>
            <a:r>
              <a:rPr lang="en-US" sz="1100" dirty="0">
                <a:solidFill>
                  <a:schemeClr val="tx2"/>
                </a:solidFill>
                <a:latin typeface="Calibri"/>
                <a:cs typeface="Calibri"/>
              </a:rPr>
              <a:t>CH </a:t>
            </a:r>
            <a:r>
              <a:rPr lang="en-US" sz="1100" dirty="0" err="1">
                <a:solidFill>
                  <a:schemeClr val="tx2"/>
                </a:solidFill>
                <a:latin typeface="Calibri"/>
                <a:cs typeface="Calibri"/>
              </a:rPr>
              <a:t>Montargis</a:t>
            </a:r>
            <a:endParaRPr lang="en-US" sz="1100" dirty="0">
              <a:solidFill>
                <a:schemeClr val="tx2"/>
              </a:solidFill>
              <a:latin typeface="Calibri"/>
              <a:cs typeface="Calibri"/>
            </a:endParaRPr>
          </a:p>
          <a:p>
            <a:pPr marL="85725" lvl="1"/>
            <a:r>
              <a:rPr lang="en-US" sz="1100" dirty="0">
                <a:solidFill>
                  <a:schemeClr val="tx2"/>
                </a:solidFill>
                <a:latin typeface="Calibri"/>
                <a:cs typeface="Calibri"/>
              </a:rPr>
              <a:t>CHU Amiens</a:t>
            </a:r>
          </a:p>
          <a:p>
            <a:pPr marL="85725" lvl="1"/>
            <a:r>
              <a:rPr lang="en-US" sz="1100" dirty="0" err="1">
                <a:solidFill>
                  <a:schemeClr val="tx2"/>
                </a:solidFill>
                <a:latin typeface="Calibri"/>
                <a:cs typeface="Calibri"/>
              </a:rPr>
              <a:t>Fondation</a:t>
            </a:r>
            <a:r>
              <a:rPr lang="en-US" sz="1100" dirty="0">
                <a:solidFill>
                  <a:schemeClr val="tx2"/>
                </a:solidFill>
                <a:latin typeface="Calibri"/>
                <a:cs typeface="Calibri"/>
              </a:rPr>
              <a:t> </a:t>
            </a:r>
            <a:r>
              <a:rPr lang="en-US" sz="1100" dirty="0" err="1">
                <a:solidFill>
                  <a:schemeClr val="tx2"/>
                </a:solidFill>
                <a:latin typeface="Calibri"/>
                <a:cs typeface="Calibri"/>
              </a:rPr>
              <a:t>Lenval</a:t>
            </a:r>
            <a:endParaRPr lang="en-US" sz="1100" dirty="0">
              <a:solidFill>
                <a:schemeClr val="tx2"/>
              </a:solidFill>
              <a:latin typeface="Calibri"/>
              <a:cs typeface="Calibri"/>
            </a:endParaRPr>
          </a:p>
          <a:p>
            <a:pPr marL="85725" lvl="1"/>
            <a:r>
              <a:rPr lang="en-US" sz="1100" dirty="0">
                <a:solidFill>
                  <a:schemeClr val="tx2"/>
                </a:solidFill>
                <a:latin typeface="Calibri"/>
                <a:cs typeface="Calibri"/>
              </a:rPr>
              <a:t>CH </a:t>
            </a:r>
            <a:r>
              <a:rPr lang="en-US" sz="1100" dirty="0" err="1">
                <a:solidFill>
                  <a:schemeClr val="tx2"/>
                </a:solidFill>
                <a:latin typeface="Calibri"/>
                <a:cs typeface="Calibri"/>
              </a:rPr>
              <a:t>Mayote</a:t>
            </a:r>
            <a:endParaRPr lang="en-US" sz="1100" dirty="0">
              <a:solidFill>
                <a:schemeClr val="tx2"/>
              </a:solidFill>
              <a:latin typeface="Calibri"/>
              <a:cs typeface="Calibri"/>
            </a:endParaRPr>
          </a:p>
          <a:p>
            <a:pPr marL="85725" lvl="1"/>
            <a:r>
              <a:rPr lang="en-US" sz="1100" dirty="0">
                <a:solidFill>
                  <a:schemeClr val="tx2"/>
                </a:solidFill>
                <a:latin typeface="Calibri"/>
                <a:cs typeface="Calibri"/>
              </a:rPr>
              <a:t>………</a:t>
            </a:r>
            <a:endParaRPr lang="de-DE" sz="1100" dirty="0">
              <a:solidFill>
                <a:schemeClr val="tx2"/>
              </a:solidFill>
              <a:latin typeface="Calibri"/>
              <a:cs typeface="Calibri"/>
            </a:endParaRPr>
          </a:p>
          <a:p>
            <a:endParaRPr lang="de-DE" sz="2800" dirty="0">
              <a:solidFill>
                <a:schemeClr val="tx2"/>
              </a:solidFill>
              <a:latin typeface="Calibri"/>
              <a:cs typeface="Calibri"/>
            </a:endParaRPr>
          </a:p>
        </p:txBody>
      </p:sp>
      <p:grpSp>
        <p:nvGrpSpPr>
          <p:cNvPr id="6" name="Gruppieren 5">
            <a:extLst>
              <a:ext uri="{FF2B5EF4-FFF2-40B4-BE49-F238E27FC236}">
                <a16:creationId xmlns:a16="http://schemas.microsoft.com/office/drawing/2014/main" id="{1845657C-815A-BFB6-DE7C-78F582DF950F}"/>
              </a:ext>
            </a:extLst>
          </p:cNvPr>
          <p:cNvGrpSpPr/>
          <p:nvPr/>
        </p:nvGrpSpPr>
        <p:grpSpPr>
          <a:xfrm>
            <a:off x="321225" y="673561"/>
            <a:ext cx="3439275" cy="1730282"/>
            <a:chOff x="276835" y="673561"/>
            <a:chExt cx="3439275" cy="1730282"/>
          </a:xfrm>
        </p:grpSpPr>
        <p:pic>
          <p:nvPicPr>
            <p:cNvPr id="31" name="Grafik 30">
              <a:extLst>
                <a:ext uri="{FF2B5EF4-FFF2-40B4-BE49-F238E27FC236}">
                  <a16:creationId xmlns:a16="http://schemas.microsoft.com/office/drawing/2014/main" id="{BCE13DB7-0392-4466-88C5-AEE1490481A8}"/>
                </a:ext>
              </a:extLst>
            </p:cNvPr>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2180242" y="673561"/>
              <a:ext cx="1535868" cy="1730282"/>
            </a:xfrm>
            <a:prstGeom prst="rect">
              <a:avLst/>
            </a:prstGeom>
          </p:spPr>
        </p:pic>
        <p:pic>
          <p:nvPicPr>
            <p:cNvPr id="32" name="Grafik 31" descr="Markierung">
              <a:extLst>
                <a:ext uri="{FF2B5EF4-FFF2-40B4-BE49-F238E27FC236}">
                  <a16:creationId xmlns:a16="http://schemas.microsoft.com/office/drawing/2014/main" id="{703CCA82-1CE1-4B2A-9C44-CBB364DAB2C9}"/>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2434075" y="918539"/>
              <a:ext cx="914400" cy="914400"/>
            </a:xfrm>
            <a:prstGeom prst="rect">
              <a:avLst/>
            </a:prstGeom>
          </p:spPr>
        </p:pic>
        <p:sp>
          <p:nvSpPr>
            <p:cNvPr id="33" name="Textfeld 32">
              <a:extLst>
                <a:ext uri="{FF2B5EF4-FFF2-40B4-BE49-F238E27FC236}">
                  <a16:creationId xmlns:a16="http://schemas.microsoft.com/office/drawing/2014/main" id="{A5531D9A-0B39-49F6-86B1-79F202D56B29}"/>
                </a:ext>
              </a:extLst>
            </p:cNvPr>
            <p:cNvSpPr txBox="1"/>
            <p:nvPr/>
          </p:nvSpPr>
          <p:spPr>
            <a:xfrm>
              <a:off x="276835" y="833025"/>
              <a:ext cx="2542509" cy="369332"/>
            </a:xfrm>
            <a:prstGeom prst="rect">
              <a:avLst/>
            </a:prstGeom>
            <a:noFill/>
          </p:spPr>
          <p:txBody>
            <a:bodyPr wrap="square" lIns="91440" tIns="45720" rIns="91440" bIns="45720" rtlCol="0" anchor="t">
              <a:spAutoFit/>
            </a:bodyPr>
            <a:lstStyle>
              <a:defPPr>
                <a:defRPr lang="it-IT"/>
              </a:defPPr>
              <a:lvl1pPr defTabSz="914159">
                <a:defRPr b="1">
                  <a:solidFill>
                    <a:srgbClr val="144F91"/>
                  </a:solidFill>
                  <a:latin typeface="Calibri"/>
                  <a:ea typeface="Roboto Light"/>
                  <a:cs typeface="Calibri"/>
                </a:defRPr>
              </a:lvl1pPr>
            </a:lstStyle>
            <a:p>
              <a:r>
                <a:rPr lang="de-DE" dirty="0"/>
                <a:t>600+ Hospitals in DACH</a:t>
              </a:r>
            </a:p>
          </p:txBody>
        </p:sp>
      </p:grpSp>
      <p:sp>
        <p:nvSpPr>
          <p:cNvPr id="34" name="Textfeld 28">
            <a:extLst>
              <a:ext uri="{FF2B5EF4-FFF2-40B4-BE49-F238E27FC236}">
                <a16:creationId xmlns:a16="http://schemas.microsoft.com/office/drawing/2014/main" id="{5B9DC5C2-DFD3-433A-9DD2-88B6EF146ACB}"/>
              </a:ext>
            </a:extLst>
          </p:cNvPr>
          <p:cNvSpPr txBox="1"/>
          <p:nvPr/>
        </p:nvSpPr>
        <p:spPr>
          <a:xfrm>
            <a:off x="4650667" y="1538702"/>
            <a:ext cx="1787531" cy="1277273"/>
          </a:xfrm>
          <a:prstGeom prst="rect">
            <a:avLst/>
          </a:prstGeom>
          <a:noFill/>
        </p:spPr>
        <p:txBody>
          <a:bodyPr wrap="square" lIns="91440" tIns="45720" rIns="91440" bIns="45720" rtlCol="0" anchor="t">
            <a:spAutoFit/>
          </a:bodyPr>
          <a:lstStyle/>
          <a:p>
            <a:pPr lvl="0"/>
            <a:r>
              <a:rPr lang="en-US" sz="1100" b="1" u="sng">
                <a:solidFill>
                  <a:schemeClr val="tx2"/>
                </a:solidFill>
                <a:latin typeface="Calibri"/>
                <a:cs typeface="Calibri"/>
              </a:rPr>
              <a:t>Luxemburg:</a:t>
            </a:r>
            <a:endParaRPr lang="de-DE" sz="1100" b="1" u="sng">
              <a:solidFill>
                <a:schemeClr val="tx2"/>
              </a:solidFill>
              <a:latin typeface="Calibri"/>
              <a:cs typeface="Calibri"/>
            </a:endParaRPr>
          </a:p>
          <a:p>
            <a:pPr marL="85725" lvl="1"/>
            <a:r>
              <a:rPr lang="en-US" sz="1100">
                <a:solidFill>
                  <a:schemeClr val="tx2"/>
                </a:solidFill>
                <a:latin typeface="Calibri"/>
                <a:cs typeface="Calibri"/>
              </a:rPr>
              <a:t>CH Emil </a:t>
            </a:r>
            <a:r>
              <a:rPr lang="en-US" sz="1100" err="1">
                <a:solidFill>
                  <a:schemeClr val="tx2"/>
                </a:solidFill>
                <a:latin typeface="Calibri"/>
                <a:cs typeface="Calibri"/>
              </a:rPr>
              <a:t>Mayrisch</a:t>
            </a:r>
            <a:r>
              <a:rPr lang="en-US" sz="1100">
                <a:solidFill>
                  <a:schemeClr val="tx2"/>
                </a:solidFill>
                <a:latin typeface="Calibri"/>
                <a:cs typeface="Calibri"/>
              </a:rPr>
              <a:t> (3 sites)</a:t>
            </a:r>
          </a:p>
          <a:p>
            <a:pPr marL="85725" lvl="1"/>
            <a:r>
              <a:rPr lang="en-US" sz="1100">
                <a:solidFill>
                  <a:schemeClr val="tx2"/>
                </a:solidFill>
                <a:latin typeface="Calibri"/>
                <a:cs typeface="Calibri"/>
              </a:rPr>
              <a:t>CH de Luxembourg</a:t>
            </a:r>
          </a:p>
          <a:p>
            <a:pPr marL="85725" lvl="1"/>
            <a:r>
              <a:rPr lang="en-US" sz="1100" err="1">
                <a:solidFill>
                  <a:schemeClr val="tx2"/>
                </a:solidFill>
                <a:latin typeface="Calibri"/>
                <a:cs typeface="Calibri"/>
              </a:rPr>
              <a:t>Hôpital</a:t>
            </a:r>
            <a:r>
              <a:rPr lang="en-US" sz="1100">
                <a:solidFill>
                  <a:schemeClr val="tx2"/>
                </a:solidFill>
                <a:latin typeface="Calibri"/>
                <a:cs typeface="Calibri"/>
              </a:rPr>
              <a:t> </a:t>
            </a:r>
            <a:r>
              <a:rPr lang="en-US" sz="1100" err="1">
                <a:solidFill>
                  <a:schemeClr val="tx2"/>
                </a:solidFill>
                <a:latin typeface="Calibri"/>
                <a:cs typeface="Calibri"/>
              </a:rPr>
              <a:t>Kirchberg</a:t>
            </a:r>
            <a:endParaRPr lang="en-US" sz="1100">
              <a:solidFill>
                <a:schemeClr val="tx2"/>
              </a:solidFill>
              <a:latin typeface="Calibri"/>
              <a:cs typeface="Calibri"/>
            </a:endParaRPr>
          </a:p>
          <a:p>
            <a:pPr marL="85725" lvl="1"/>
            <a:r>
              <a:rPr lang="en-US" sz="1100">
                <a:solidFill>
                  <a:schemeClr val="tx2"/>
                </a:solidFill>
                <a:latin typeface="Calibri"/>
                <a:cs typeface="Calibri"/>
              </a:rPr>
              <a:t>ZITHA clinics</a:t>
            </a:r>
          </a:p>
          <a:p>
            <a:pPr lvl="1"/>
            <a:endParaRPr lang="en-US" sz="1100">
              <a:solidFill>
                <a:schemeClr val="tx2"/>
              </a:solidFill>
              <a:latin typeface="Calibri"/>
              <a:cs typeface="Calibri"/>
            </a:endParaRPr>
          </a:p>
          <a:p>
            <a:endParaRPr lang="de-DE" sz="1100">
              <a:solidFill>
                <a:schemeClr val="tx2"/>
              </a:solidFill>
              <a:latin typeface="Calibri"/>
              <a:cs typeface="Calibri"/>
            </a:endParaRPr>
          </a:p>
        </p:txBody>
      </p:sp>
      <p:pic>
        <p:nvPicPr>
          <p:cNvPr id="2" name="Grafik 1" descr="Markierung">
            <a:extLst>
              <a:ext uri="{FF2B5EF4-FFF2-40B4-BE49-F238E27FC236}">
                <a16:creationId xmlns:a16="http://schemas.microsoft.com/office/drawing/2014/main" id="{21F3368B-60A7-2CE3-1743-78510CE73EF4}"/>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6312316" y="4990683"/>
            <a:ext cx="914400" cy="914400"/>
          </a:xfrm>
          <a:prstGeom prst="rect">
            <a:avLst/>
          </a:prstGeom>
        </p:spPr>
      </p:pic>
      <p:pic>
        <p:nvPicPr>
          <p:cNvPr id="4" name="Grafik 3" descr="Markierung">
            <a:extLst>
              <a:ext uri="{FF2B5EF4-FFF2-40B4-BE49-F238E27FC236}">
                <a16:creationId xmlns:a16="http://schemas.microsoft.com/office/drawing/2014/main" id="{EED6F079-19D9-52D7-BA47-F065CED3D5E7}"/>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3284984" y="5155524"/>
            <a:ext cx="914400" cy="914400"/>
          </a:xfrm>
          <a:prstGeom prst="rect">
            <a:avLst/>
          </a:prstGeom>
        </p:spPr>
      </p:pic>
    </p:spTree>
    <p:extLst>
      <p:ext uri="{BB962C8B-B14F-4D97-AF65-F5344CB8AC3E}">
        <p14:creationId xmlns:p14="http://schemas.microsoft.com/office/powerpoint/2010/main" val="3521972326"/>
      </p:ext>
    </p:extLst>
  </p:cSld>
  <p:clrMapOvr>
    <a:masterClrMapping/>
  </p:clrMapOvr>
  <mc:AlternateContent xmlns:mc="http://schemas.openxmlformats.org/markup-compatibility/2006" xmlns:p14="http://schemas.microsoft.com/office/powerpoint/2010/main">
    <mc:Choice Requires="p14">
      <p:transition spd="slow" p14:dur="1250">
        <p14:reveal/>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1" name="think-cell Slide" r:id="rId5" imgW="353" imgH="318" progId="TCLayout.ActiveDocument.1">
                  <p:embed/>
                </p:oleObj>
              </mc:Choice>
              <mc:Fallback>
                <p:oleObj name="think-cell Slide" r:id="rId5" imgW="353" imgH="318" progId="TCLayout.ActiveDocument.1">
                  <p:embed/>
                  <p:pic>
                    <p:nvPicPr>
                      <p:cNvPr id="14" name="Object 1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ctrTitle"/>
          </p:nvPr>
        </p:nvSpPr>
        <p:spPr/>
        <p:txBody>
          <a:bodyPr vert="horz"/>
          <a:lstStyle/>
          <a:p>
            <a:r>
              <a:rPr lang="en-GB">
                <a:latin typeface="Calibri"/>
                <a:cs typeface="Calibri"/>
              </a:rPr>
              <a:t>University Hospitals using </a:t>
            </a:r>
            <a:r>
              <a:rPr lang="en-GB" err="1">
                <a:latin typeface="Calibri"/>
                <a:cs typeface="Calibri"/>
              </a:rPr>
              <a:t>HYDMedia</a:t>
            </a:r>
            <a:endParaRPr lang="en-US">
              <a:latin typeface="Calibri"/>
              <a:cs typeface="Calibri"/>
            </a:endParaRPr>
          </a:p>
        </p:txBody>
      </p:sp>
      <p:sp>
        <p:nvSpPr>
          <p:cNvPr id="5" name="Rectangle 4">
            <a:extLst>
              <a:ext uri="{FF2B5EF4-FFF2-40B4-BE49-F238E27FC236}">
                <a16:creationId xmlns:a16="http://schemas.microsoft.com/office/drawing/2014/main" id="{DFE57110-0876-46BB-9D8D-8BF25C68EB37}"/>
              </a:ext>
            </a:extLst>
          </p:cNvPr>
          <p:cNvSpPr/>
          <p:nvPr/>
        </p:nvSpPr>
        <p:spPr>
          <a:xfrm>
            <a:off x="277289" y="1828663"/>
            <a:ext cx="4847161" cy="44478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500" b="1">
                <a:solidFill>
                  <a:srgbClr val="1D3266"/>
                </a:solidFill>
                <a:latin typeface="Calibri"/>
                <a:cs typeface="Calibri"/>
              </a:rPr>
              <a:t>University Hospital Heidelberg (Germany)</a:t>
            </a:r>
          </a:p>
          <a:p>
            <a:endParaRPr lang="en-US" sz="1500">
              <a:solidFill>
                <a:srgbClr val="1D3266"/>
              </a:solidFill>
              <a:latin typeface="Calibri"/>
              <a:cs typeface="Calibri"/>
            </a:endParaRPr>
          </a:p>
          <a:p>
            <a:r>
              <a:rPr lang="en-US" sz="1500" b="1">
                <a:solidFill>
                  <a:srgbClr val="1D3266"/>
                </a:solidFill>
                <a:latin typeface="Calibri"/>
                <a:cs typeface="Calibri"/>
              </a:rPr>
              <a:t>University Hospital Dresden (Germany)</a:t>
            </a:r>
          </a:p>
          <a:p>
            <a:endParaRPr lang="en-US" sz="1500" b="1">
              <a:solidFill>
                <a:srgbClr val="1D3266"/>
              </a:solidFill>
              <a:latin typeface="Calibri"/>
              <a:cs typeface="Calibri"/>
            </a:endParaRPr>
          </a:p>
          <a:p>
            <a:r>
              <a:rPr lang="en-US" sz="1500" b="1">
                <a:solidFill>
                  <a:srgbClr val="1D3266"/>
                </a:solidFill>
                <a:latin typeface="Calibri"/>
                <a:cs typeface="Calibri"/>
              </a:rPr>
              <a:t>University Hospital Leipzig (Germany)</a:t>
            </a:r>
          </a:p>
          <a:p>
            <a:endParaRPr lang="en-US" sz="1500" b="1">
              <a:solidFill>
                <a:srgbClr val="1D3266"/>
              </a:solidFill>
              <a:latin typeface="Calibri"/>
              <a:cs typeface="Calibri"/>
            </a:endParaRPr>
          </a:p>
          <a:p>
            <a:r>
              <a:rPr lang="en-US" sz="1500" b="1">
                <a:solidFill>
                  <a:srgbClr val="1D3266"/>
                </a:solidFill>
                <a:latin typeface="Calibri"/>
                <a:cs typeface="Calibri"/>
              </a:rPr>
              <a:t>University Hospital Bonn (Germany)</a:t>
            </a:r>
          </a:p>
          <a:p>
            <a:endParaRPr lang="en-US" sz="1500" b="1">
              <a:solidFill>
                <a:srgbClr val="1D3266"/>
              </a:solidFill>
              <a:latin typeface="Calibri"/>
              <a:cs typeface="Calibri"/>
            </a:endParaRPr>
          </a:p>
          <a:p>
            <a:r>
              <a:rPr lang="en-US" sz="1500" b="1">
                <a:solidFill>
                  <a:srgbClr val="1D3266"/>
                </a:solidFill>
                <a:latin typeface="Calibri"/>
                <a:cs typeface="Calibri"/>
              </a:rPr>
              <a:t>University Hospital Cologne (Germany)</a:t>
            </a:r>
          </a:p>
          <a:p>
            <a:endParaRPr lang="en-US" sz="1500" b="1">
              <a:solidFill>
                <a:srgbClr val="1D3266"/>
              </a:solidFill>
              <a:latin typeface="Calibri"/>
              <a:cs typeface="Calibri"/>
            </a:endParaRPr>
          </a:p>
          <a:p>
            <a:r>
              <a:rPr lang="en-US" sz="1500" b="1">
                <a:solidFill>
                  <a:srgbClr val="1D3266"/>
                </a:solidFill>
                <a:latin typeface="Calibri"/>
                <a:cs typeface="Calibri"/>
              </a:rPr>
              <a:t>University Hospital München </a:t>
            </a:r>
            <a:r>
              <a:rPr lang="en-US" sz="1500" b="1" err="1">
                <a:solidFill>
                  <a:srgbClr val="1D3266"/>
                </a:solidFill>
                <a:latin typeface="Calibri"/>
                <a:cs typeface="Calibri"/>
              </a:rPr>
              <a:t>rechts</a:t>
            </a:r>
            <a:r>
              <a:rPr lang="en-US" sz="1500" b="1">
                <a:solidFill>
                  <a:srgbClr val="1D3266"/>
                </a:solidFill>
                <a:latin typeface="Calibri"/>
                <a:cs typeface="Calibri"/>
              </a:rPr>
              <a:t> der </a:t>
            </a:r>
            <a:r>
              <a:rPr lang="en-US" sz="1500" b="1" err="1">
                <a:solidFill>
                  <a:srgbClr val="1D3266"/>
                </a:solidFill>
                <a:latin typeface="Calibri"/>
                <a:cs typeface="Calibri"/>
              </a:rPr>
              <a:t>Isar</a:t>
            </a:r>
            <a:r>
              <a:rPr lang="en-US" sz="1500" b="1">
                <a:solidFill>
                  <a:srgbClr val="1D3266"/>
                </a:solidFill>
                <a:latin typeface="Calibri"/>
                <a:cs typeface="Calibri"/>
              </a:rPr>
              <a:t> (Germany)</a:t>
            </a:r>
          </a:p>
          <a:p>
            <a:endParaRPr lang="en-US" sz="1500" b="1">
              <a:solidFill>
                <a:srgbClr val="1D3266"/>
              </a:solidFill>
              <a:latin typeface="Calibri"/>
              <a:cs typeface="Calibri"/>
            </a:endParaRPr>
          </a:p>
          <a:p>
            <a:r>
              <a:rPr lang="en-US" sz="1500" b="1">
                <a:solidFill>
                  <a:srgbClr val="1D3266"/>
                </a:solidFill>
                <a:latin typeface="Calibri"/>
                <a:cs typeface="Calibri"/>
              </a:rPr>
              <a:t>University Hospital Augsburg (Germany)</a:t>
            </a:r>
          </a:p>
          <a:p>
            <a:endParaRPr lang="en-US" sz="1500" b="1">
              <a:solidFill>
                <a:srgbClr val="1D3266"/>
              </a:solidFill>
              <a:latin typeface="Calibri"/>
              <a:cs typeface="Calibri"/>
            </a:endParaRPr>
          </a:p>
          <a:p>
            <a:r>
              <a:rPr lang="en-US" sz="1500" b="1">
                <a:solidFill>
                  <a:srgbClr val="1D3266"/>
                </a:solidFill>
                <a:latin typeface="Calibri"/>
                <a:cs typeface="Calibri"/>
              </a:rPr>
              <a:t>University Hospital Halle (Germany)</a:t>
            </a:r>
          </a:p>
          <a:p>
            <a:endParaRPr lang="en-US" sz="1500" b="1">
              <a:solidFill>
                <a:srgbClr val="1D3266"/>
              </a:solidFill>
              <a:latin typeface="Calibri"/>
              <a:cs typeface="Calibri"/>
            </a:endParaRPr>
          </a:p>
          <a:p>
            <a:r>
              <a:rPr lang="en-US" sz="1500" b="1">
                <a:solidFill>
                  <a:srgbClr val="1D3266"/>
                </a:solidFill>
                <a:latin typeface="Calibri"/>
                <a:cs typeface="Calibri"/>
              </a:rPr>
              <a:t>University Hospital Marburg (Germany)</a:t>
            </a:r>
          </a:p>
          <a:p>
            <a:endParaRPr lang="en-US" sz="1500" b="1">
              <a:solidFill>
                <a:srgbClr val="1D3266"/>
              </a:solidFill>
              <a:latin typeface="Calibri"/>
              <a:cs typeface="Calibri"/>
            </a:endParaRPr>
          </a:p>
          <a:p>
            <a:r>
              <a:rPr lang="en-US" sz="1500" b="1">
                <a:solidFill>
                  <a:srgbClr val="1D3266"/>
                </a:solidFill>
                <a:latin typeface="Calibri"/>
                <a:cs typeface="Calibri"/>
              </a:rPr>
              <a:t>University Hospital Münster (Germany)</a:t>
            </a:r>
          </a:p>
        </p:txBody>
      </p:sp>
      <p:sp>
        <p:nvSpPr>
          <p:cNvPr id="54" name="AutoShape 14" descr="group people icon 643326 Vector Art at Vecteezy"/>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alibri"/>
              <a:cs typeface="Calibri"/>
            </a:endParaRPr>
          </a:p>
        </p:txBody>
      </p:sp>
      <p:sp>
        <p:nvSpPr>
          <p:cNvPr id="15" name="Rectangle 4">
            <a:extLst>
              <a:ext uri="{FF2B5EF4-FFF2-40B4-BE49-F238E27FC236}">
                <a16:creationId xmlns:a16="http://schemas.microsoft.com/office/drawing/2014/main" id="{4E778E54-8EE3-4375-A445-7E2ABE8BE63F}"/>
              </a:ext>
            </a:extLst>
          </p:cNvPr>
          <p:cNvSpPr/>
          <p:nvPr/>
        </p:nvSpPr>
        <p:spPr>
          <a:xfrm>
            <a:off x="6630464" y="1819138"/>
            <a:ext cx="4847161" cy="44478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500" b="1" dirty="0">
                <a:solidFill>
                  <a:srgbClr val="1D3266"/>
                </a:solidFill>
                <a:latin typeface="Calibri"/>
                <a:cs typeface="Calibri"/>
              </a:rPr>
              <a:t>University Hospital Salzburg (Austria)</a:t>
            </a:r>
          </a:p>
          <a:p>
            <a:endParaRPr lang="en-US" sz="1500" b="1" dirty="0">
              <a:solidFill>
                <a:srgbClr val="1D3266"/>
              </a:solidFill>
              <a:latin typeface="Calibri"/>
              <a:cs typeface="Calibri"/>
            </a:endParaRPr>
          </a:p>
          <a:p>
            <a:r>
              <a:rPr lang="en-US" sz="1500" b="1" dirty="0">
                <a:solidFill>
                  <a:srgbClr val="1D3266"/>
                </a:solidFill>
                <a:latin typeface="Calibri"/>
                <a:cs typeface="Calibri"/>
              </a:rPr>
              <a:t>University Hospital Nice (France)</a:t>
            </a:r>
          </a:p>
          <a:p>
            <a:endParaRPr lang="en-US" sz="1500" b="1" dirty="0">
              <a:solidFill>
                <a:srgbClr val="1D3266"/>
              </a:solidFill>
              <a:latin typeface="Calibri"/>
              <a:cs typeface="Calibri"/>
            </a:endParaRPr>
          </a:p>
          <a:p>
            <a:r>
              <a:rPr lang="en-US" sz="1500" b="1" dirty="0">
                <a:solidFill>
                  <a:srgbClr val="1D3266"/>
                </a:solidFill>
                <a:latin typeface="Calibri"/>
                <a:cs typeface="Calibri"/>
              </a:rPr>
              <a:t>University Hospital Amiens (France)</a:t>
            </a:r>
          </a:p>
          <a:p>
            <a:endParaRPr lang="en-US" sz="1500" b="1" dirty="0">
              <a:solidFill>
                <a:srgbClr val="1D3266"/>
              </a:solidFill>
              <a:latin typeface="Calibri"/>
              <a:cs typeface="Calibri"/>
            </a:endParaRPr>
          </a:p>
          <a:p>
            <a:r>
              <a:rPr lang="en-US" sz="1500" b="1" dirty="0">
                <a:solidFill>
                  <a:srgbClr val="1D3266"/>
                </a:solidFill>
                <a:latin typeface="Calibri"/>
                <a:cs typeface="Calibri"/>
              </a:rPr>
              <a:t>Centre Hospital de Luxemburg (Luxemburg)</a:t>
            </a:r>
          </a:p>
          <a:p>
            <a:endParaRPr lang="en-US" sz="1500" b="1" dirty="0">
              <a:solidFill>
                <a:srgbClr val="1D3266"/>
              </a:solidFill>
              <a:latin typeface="Calibri"/>
              <a:cs typeface="Calibri"/>
            </a:endParaRPr>
          </a:p>
          <a:p>
            <a:r>
              <a:rPr lang="en-US" sz="1500" b="1" dirty="0">
                <a:solidFill>
                  <a:srgbClr val="1D3266"/>
                </a:solidFill>
                <a:latin typeface="Calibri"/>
                <a:cs typeface="Calibri"/>
              </a:rPr>
              <a:t>King Fahd University Hospital (Saudi Arabia)</a:t>
            </a:r>
            <a:endParaRPr lang="de-DE" sz="1600" b="1" dirty="0">
              <a:solidFill>
                <a:srgbClr val="1D3266"/>
              </a:solidFill>
              <a:cs typeface="Calibri"/>
            </a:endParaRPr>
          </a:p>
          <a:p>
            <a:endParaRPr lang="de-DE" sz="1600" b="1" dirty="0">
              <a:solidFill>
                <a:srgbClr val="1D3266"/>
              </a:solidFill>
              <a:latin typeface="Calibri"/>
              <a:cs typeface="Calibri"/>
            </a:endParaRPr>
          </a:p>
          <a:p>
            <a:endParaRPr lang="en-US" sz="1500" b="1" dirty="0">
              <a:solidFill>
                <a:srgbClr val="1D3266"/>
              </a:solidFill>
              <a:latin typeface="Calibri"/>
              <a:cs typeface="Calibri"/>
            </a:endParaRPr>
          </a:p>
        </p:txBody>
      </p:sp>
      <p:pic>
        <p:nvPicPr>
          <p:cNvPr id="6" name="Grafik 5">
            <a:extLst>
              <a:ext uri="{FF2B5EF4-FFF2-40B4-BE49-F238E27FC236}">
                <a16:creationId xmlns:a16="http://schemas.microsoft.com/office/drawing/2014/main" id="{FEEC4113-02B4-4571-8246-949C3C5955CF}"/>
              </a:ext>
            </a:extLst>
          </p:cNvPr>
          <p:cNvPicPr>
            <a:picLocks noChangeAspect="1"/>
          </p:cNvPicPr>
          <p:nvPr/>
        </p:nvPicPr>
        <p:blipFill>
          <a:blip r:embed="rId7"/>
          <a:stretch>
            <a:fillRect/>
          </a:stretch>
        </p:blipFill>
        <p:spPr>
          <a:xfrm>
            <a:off x="5377395" y="4430034"/>
            <a:ext cx="6491288" cy="1836954"/>
          </a:xfrm>
          <a:prstGeom prst="rect">
            <a:avLst/>
          </a:prstGeom>
        </p:spPr>
      </p:pic>
    </p:spTree>
    <p:extLst>
      <p:ext uri="{BB962C8B-B14F-4D97-AF65-F5344CB8AC3E}">
        <p14:creationId xmlns:p14="http://schemas.microsoft.com/office/powerpoint/2010/main" val="1830101664"/>
      </p:ext>
    </p:extLst>
  </p:cSld>
  <p:clrMapOvr>
    <a:masterClrMapping/>
  </p:clrMapOvr>
  <mc:AlternateContent xmlns:mc="http://schemas.openxmlformats.org/markup-compatibility/2006" xmlns:p14="http://schemas.microsoft.com/office/powerpoint/2010/main">
    <mc:Choice Requires="p14">
      <p:transition spd="slow" p14:dur="1250">
        <p14:reveal/>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5" name="think-cell Slide" r:id="rId5" imgW="353" imgH="318" progId="TCLayout.ActiveDocument.1">
                  <p:embed/>
                </p:oleObj>
              </mc:Choice>
              <mc:Fallback>
                <p:oleObj name="think-cell Slide" r:id="rId5" imgW="353" imgH="318" progId="TCLayout.ActiveDocument.1">
                  <p:embed/>
                  <p:pic>
                    <p:nvPicPr>
                      <p:cNvPr id="14" name="Object 1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ctrTitle"/>
          </p:nvPr>
        </p:nvSpPr>
        <p:spPr/>
        <p:txBody>
          <a:bodyPr vert="horz"/>
          <a:lstStyle/>
          <a:p>
            <a:r>
              <a:rPr lang="en-GB">
                <a:latin typeface="Calibri"/>
                <a:cs typeface="Calibri"/>
              </a:rPr>
              <a:t>Hospital groups using </a:t>
            </a:r>
            <a:r>
              <a:rPr lang="en-GB" err="1">
                <a:latin typeface="Calibri"/>
                <a:cs typeface="Calibri"/>
              </a:rPr>
              <a:t>HYDMedia</a:t>
            </a:r>
            <a:endParaRPr lang="en-US">
              <a:latin typeface="Calibri"/>
              <a:cs typeface="Calibri"/>
            </a:endParaRPr>
          </a:p>
        </p:txBody>
      </p:sp>
      <p:sp>
        <p:nvSpPr>
          <p:cNvPr id="5" name="Rectangle 4">
            <a:extLst>
              <a:ext uri="{FF2B5EF4-FFF2-40B4-BE49-F238E27FC236}">
                <a16:creationId xmlns:a16="http://schemas.microsoft.com/office/drawing/2014/main" id="{DFE57110-0876-46BB-9D8D-8BF25C68EB37}"/>
              </a:ext>
            </a:extLst>
          </p:cNvPr>
          <p:cNvSpPr/>
          <p:nvPr/>
        </p:nvSpPr>
        <p:spPr>
          <a:xfrm>
            <a:off x="277289" y="1828663"/>
            <a:ext cx="6056836" cy="44478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500" b="1" dirty="0" err="1">
                <a:solidFill>
                  <a:srgbClr val="1D3266"/>
                </a:solidFill>
                <a:latin typeface="Calibri"/>
                <a:cs typeface="Calibri"/>
              </a:rPr>
              <a:t>Agaplesion</a:t>
            </a:r>
            <a:r>
              <a:rPr lang="en-US" sz="1500" b="1" dirty="0">
                <a:solidFill>
                  <a:srgbClr val="1D3266"/>
                </a:solidFill>
                <a:latin typeface="Calibri"/>
                <a:cs typeface="Calibri"/>
              </a:rPr>
              <a:t> (20 Hospitals all over Germany)</a:t>
            </a:r>
          </a:p>
          <a:p>
            <a:endParaRPr lang="en-US" sz="1500" dirty="0">
              <a:solidFill>
                <a:srgbClr val="1D3266"/>
              </a:solidFill>
              <a:latin typeface="Calibri"/>
              <a:cs typeface="Calibri"/>
            </a:endParaRPr>
          </a:p>
          <a:p>
            <a:r>
              <a:rPr lang="en-US" sz="1500" b="1" dirty="0" err="1">
                <a:solidFill>
                  <a:srgbClr val="1D3266"/>
                </a:solidFill>
                <a:latin typeface="Calibri"/>
                <a:cs typeface="Calibri"/>
              </a:rPr>
              <a:t>Alexianer</a:t>
            </a:r>
            <a:r>
              <a:rPr lang="en-US" sz="1500" b="1" dirty="0">
                <a:solidFill>
                  <a:srgbClr val="1D3266"/>
                </a:solidFill>
                <a:latin typeface="Calibri"/>
                <a:cs typeface="Calibri"/>
              </a:rPr>
              <a:t> (22 Hospitals all over Germany)</a:t>
            </a:r>
          </a:p>
          <a:p>
            <a:endParaRPr lang="en-US" sz="1500" b="1" dirty="0">
              <a:solidFill>
                <a:srgbClr val="1D3266"/>
              </a:solidFill>
              <a:latin typeface="Calibri"/>
              <a:cs typeface="Calibri"/>
            </a:endParaRPr>
          </a:p>
          <a:p>
            <a:r>
              <a:rPr lang="en-US" sz="1500" b="1" dirty="0">
                <a:solidFill>
                  <a:srgbClr val="1D3266"/>
                </a:solidFill>
                <a:latin typeface="Calibri"/>
                <a:cs typeface="Calibri"/>
              </a:rPr>
              <a:t>RKH </a:t>
            </a:r>
            <a:r>
              <a:rPr lang="en-US" sz="1500" b="1" dirty="0" err="1">
                <a:solidFill>
                  <a:srgbClr val="1D3266"/>
                </a:solidFill>
                <a:latin typeface="Calibri"/>
                <a:cs typeface="Calibri"/>
              </a:rPr>
              <a:t>Kliniken</a:t>
            </a:r>
            <a:r>
              <a:rPr lang="en-US" sz="1500" b="1" dirty="0">
                <a:solidFill>
                  <a:srgbClr val="1D3266"/>
                </a:solidFill>
                <a:latin typeface="Calibri"/>
                <a:cs typeface="Calibri"/>
              </a:rPr>
              <a:t> Holding GmbH (10 Hospitals in south Germany)</a:t>
            </a:r>
          </a:p>
          <a:p>
            <a:endParaRPr lang="en-US" sz="1500" b="1" dirty="0">
              <a:solidFill>
                <a:srgbClr val="1D3266"/>
              </a:solidFill>
              <a:latin typeface="Calibri"/>
              <a:cs typeface="Calibri"/>
            </a:endParaRPr>
          </a:p>
          <a:p>
            <a:r>
              <a:rPr lang="en-US" sz="1500" b="1" dirty="0">
                <a:solidFill>
                  <a:srgbClr val="1D3266"/>
                </a:solidFill>
                <a:latin typeface="Calibri"/>
                <a:cs typeface="Calibri"/>
              </a:rPr>
              <a:t>KMG </a:t>
            </a:r>
            <a:r>
              <a:rPr lang="en-US" sz="1500" b="1" dirty="0" err="1">
                <a:solidFill>
                  <a:srgbClr val="1D3266"/>
                </a:solidFill>
                <a:latin typeface="Calibri"/>
                <a:cs typeface="Calibri"/>
              </a:rPr>
              <a:t>Kliniken</a:t>
            </a:r>
            <a:r>
              <a:rPr lang="en-US" sz="1500" b="1" dirty="0">
                <a:solidFill>
                  <a:srgbClr val="1D3266"/>
                </a:solidFill>
                <a:latin typeface="Calibri"/>
                <a:cs typeface="Calibri"/>
              </a:rPr>
              <a:t> (11 Hospitals in east Germany)</a:t>
            </a:r>
          </a:p>
          <a:p>
            <a:endParaRPr lang="en-US" sz="1500" b="1" dirty="0">
              <a:solidFill>
                <a:srgbClr val="1D3266"/>
              </a:solidFill>
              <a:latin typeface="Calibri"/>
              <a:cs typeface="Calibri"/>
            </a:endParaRPr>
          </a:p>
          <a:p>
            <a:r>
              <a:rPr lang="en-US" sz="1500" b="1" dirty="0" err="1">
                <a:solidFill>
                  <a:srgbClr val="1D3266"/>
                </a:solidFill>
                <a:latin typeface="Calibri"/>
                <a:cs typeface="Calibri"/>
              </a:rPr>
              <a:t>Franziskaner</a:t>
            </a:r>
            <a:r>
              <a:rPr lang="en-US" sz="1500" b="1" dirty="0">
                <a:solidFill>
                  <a:srgbClr val="1D3266"/>
                </a:solidFill>
                <a:latin typeface="Calibri"/>
                <a:cs typeface="Calibri"/>
              </a:rPr>
              <a:t> / FACT IT (17 Hospitals in north Germany)</a:t>
            </a:r>
          </a:p>
          <a:p>
            <a:endParaRPr lang="en-US" sz="1500" b="1" dirty="0">
              <a:solidFill>
                <a:srgbClr val="1D3266"/>
              </a:solidFill>
              <a:latin typeface="Calibri"/>
              <a:cs typeface="Calibri"/>
            </a:endParaRPr>
          </a:p>
          <a:p>
            <a:r>
              <a:rPr lang="en-US" sz="1500" b="1" dirty="0" err="1">
                <a:solidFill>
                  <a:srgbClr val="1D3266"/>
                </a:solidFill>
                <a:latin typeface="Calibri"/>
                <a:cs typeface="Calibri"/>
              </a:rPr>
              <a:t>Klinikverbund</a:t>
            </a:r>
            <a:r>
              <a:rPr lang="en-US" sz="1500" b="1" dirty="0">
                <a:solidFill>
                  <a:srgbClr val="1D3266"/>
                </a:solidFill>
                <a:latin typeface="Calibri"/>
                <a:cs typeface="Calibri"/>
              </a:rPr>
              <a:t> </a:t>
            </a:r>
            <a:r>
              <a:rPr lang="en-US" sz="1500" b="1" dirty="0" err="1">
                <a:solidFill>
                  <a:srgbClr val="1D3266"/>
                </a:solidFill>
                <a:latin typeface="Calibri"/>
                <a:cs typeface="Calibri"/>
              </a:rPr>
              <a:t>Südwest</a:t>
            </a:r>
            <a:r>
              <a:rPr lang="en-US" sz="1500" b="1" dirty="0">
                <a:solidFill>
                  <a:srgbClr val="1D3266"/>
                </a:solidFill>
                <a:latin typeface="Calibri"/>
                <a:cs typeface="Calibri"/>
              </a:rPr>
              <a:t> (6 Hospitals in south Germany)</a:t>
            </a:r>
          </a:p>
          <a:p>
            <a:endParaRPr lang="en-US" sz="1500" b="1" dirty="0">
              <a:solidFill>
                <a:srgbClr val="1D3266"/>
              </a:solidFill>
              <a:latin typeface="Calibri"/>
              <a:cs typeface="Calibri"/>
            </a:endParaRPr>
          </a:p>
          <a:p>
            <a:r>
              <a:rPr lang="en-US" sz="1500" b="1" dirty="0">
                <a:solidFill>
                  <a:srgbClr val="1D3266"/>
                </a:solidFill>
                <a:latin typeface="Calibri"/>
                <a:cs typeface="Calibri"/>
              </a:rPr>
              <a:t>Schön </a:t>
            </a:r>
            <a:r>
              <a:rPr lang="en-US" sz="1500" b="1" dirty="0" err="1">
                <a:solidFill>
                  <a:srgbClr val="1D3266"/>
                </a:solidFill>
                <a:latin typeface="Calibri"/>
                <a:cs typeface="Calibri"/>
              </a:rPr>
              <a:t>Kliniken</a:t>
            </a:r>
            <a:r>
              <a:rPr lang="en-US" sz="1500" b="1" dirty="0">
                <a:solidFill>
                  <a:srgbClr val="1D3266"/>
                </a:solidFill>
                <a:latin typeface="Calibri"/>
                <a:cs typeface="Calibri"/>
              </a:rPr>
              <a:t> (24 Hospitals all over Germany)</a:t>
            </a:r>
          </a:p>
          <a:p>
            <a:endParaRPr lang="en-US" sz="1500" b="1" dirty="0">
              <a:solidFill>
                <a:srgbClr val="1D3266"/>
              </a:solidFill>
              <a:latin typeface="Calibri"/>
              <a:cs typeface="Calibri"/>
            </a:endParaRPr>
          </a:p>
          <a:p>
            <a:r>
              <a:rPr lang="en-US" sz="1500" b="1" dirty="0">
                <a:solidFill>
                  <a:srgbClr val="1D3266"/>
                </a:solidFill>
                <a:latin typeface="Calibri"/>
                <a:cs typeface="Calibri"/>
              </a:rPr>
              <a:t>SRH </a:t>
            </a:r>
            <a:r>
              <a:rPr lang="en-US" sz="1500" b="1" dirty="0" err="1">
                <a:solidFill>
                  <a:srgbClr val="1D3266"/>
                </a:solidFill>
                <a:latin typeface="Calibri"/>
                <a:cs typeface="Calibri"/>
              </a:rPr>
              <a:t>Kliniken</a:t>
            </a:r>
            <a:r>
              <a:rPr lang="en-US" sz="1500" b="1" dirty="0">
                <a:solidFill>
                  <a:srgbClr val="1D3266"/>
                </a:solidFill>
                <a:latin typeface="Calibri"/>
                <a:cs typeface="Calibri"/>
              </a:rPr>
              <a:t> (18 Hospitals all over Germany)</a:t>
            </a:r>
          </a:p>
          <a:p>
            <a:endParaRPr lang="en-US" sz="1500" b="1" dirty="0">
              <a:solidFill>
                <a:srgbClr val="1D3266"/>
              </a:solidFill>
              <a:latin typeface="Calibri"/>
              <a:cs typeface="Calibri"/>
            </a:endParaRPr>
          </a:p>
          <a:p>
            <a:r>
              <a:rPr lang="en-US" sz="1500" b="1" dirty="0" err="1">
                <a:solidFill>
                  <a:srgbClr val="1D3266"/>
                </a:solidFill>
                <a:latin typeface="Calibri"/>
                <a:cs typeface="Calibri"/>
              </a:rPr>
              <a:t>Waldburg</a:t>
            </a:r>
            <a:r>
              <a:rPr lang="en-US" sz="1500" b="1" dirty="0">
                <a:solidFill>
                  <a:srgbClr val="1D3266"/>
                </a:solidFill>
                <a:latin typeface="Calibri"/>
                <a:cs typeface="Calibri"/>
              </a:rPr>
              <a:t> </a:t>
            </a:r>
            <a:r>
              <a:rPr lang="en-US" sz="1500" b="1" dirty="0" err="1">
                <a:solidFill>
                  <a:srgbClr val="1D3266"/>
                </a:solidFill>
                <a:latin typeface="Calibri"/>
                <a:cs typeface="Calibri"/>
              </a:rPr>
              <a:t>Zeil</a:t>
            </a:r>
            <a:r>
              <a:rPr lang="en-US" sz="1500" b="1" dirty="0">
                <a:solidFill>
                  <a:srgbClr val="1D3266"/>
                </a:solidFill>
                <a:latin typeface="Calibri"/>
                <a:cs typeface="Calibri"/>
              </a:rPr>
              <a:t> </a:t>
            </a:r>
            <a:r>
              <a:rPr lang="en-US" sz="1500" b="1" dirty="0" err="1">
                <a:solidFill>
                  <a:srgbClr val="1D3266"/>
                </a:solidFill>
                <a:latin typeface="Calibri"/>
                <a:cs typeface="Calibri"/>
              </a:rPr>
              <a:t>Kliniken</a:t>
            </a:r>
            <a:r>
              <a:rPr lang="en-US" sz="1500" b="1" dirty="0">
                <a:solidFill>
                  <a:srgbClr val="1D3266"/>
                </a:solidFill>
                <a:latin typeface="Calibri"/>
                <a:cs typeface="Calibri"/>
              </a:rPr>
              <a:t> (12 hospitals in south Germany)</a:t>
            </a:r>
          </a:p>
          <a:p>
            <a:endParaRPr lang="en-US" sz="1500" b="1" dirty="0">
              <a:solidFill>
                <a:srgbClr val="1D3266"/>
              </a:solidFill>
              <a:latin typeface="Calibri"/>
              <a:cs typeface="Calibri"/>
            </a:endParaRPr>
          </a:p>
          <a:p>
            <a:r>
              <a:rPr lang="en-US" sz="1500" b="1" dirty="0" err="1">
                <a:solidFill>
                  <a:srgbClr val="1D3266"/>
                </a:solidFill>
                <a:latin typeface="Calibri"/>
                <a:cs typeface="Calibri"/>
              </a:rPr>
              <a:t>Johanniter</a:t>
            </a:r>
            <a:r>
              <a:rPr lang="en-US" sz="1500" b="1" dirty="0">
                <a:solidFill>
                  <a:srgbClr val="1D3266"/>
                </a:solidFill>
                <a:latin typeface="Calibri"/>
                <a:cs typeface="Calibri"/>
              </a:rPr>
              <a:t> (18 hospitals all over Germany)</a:t>
            </a:r>
          </a:p>
        </p:txBody>
      </p:sp>
      <p:sp>
        <p:nvSpPr>
          <p:cNvPr id="54" name="AutoShape 14" descr="group people icon 643326 Vector Art at Vecteezy"/>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alibri"/>
              <a:cs typeface="Calibri"/>
            </a:endParaRPr>
          </a:p>
        </p:txBody>
      </p:sp>
      <p:sp>
        <p:nvSpPr>
          <p:cNvPr id="15" name="Rectangle 4">
            <a:extLst>
              <a:ext uri="{FF2B5EF4-FFF2-40B4-BE49-F238E27FC236}">
                <a16:creationId xmlns:a16="http://schemas.microsoft.com/office/drawing/2014/main" id="{4E778E54-8EE3-4375-A445-7E2ABE8BE63F}"/>
              </a:ext>
            </a:extLst>
          </p:cNvPr>
          <p:cNvSpPr/>
          <p:nvPr/>
        </p:nvSpPr>
        <p:spPr>
          <a:xfrm>
            <a:off x="6630464" y="1819138"/>
            <a:ext cx="4847161" cy="44478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r>
              <a:rPr lang="en-US" sz="1500" b="1" dirty="0" err="1">
                <a:solidFill>
                  <a:srgbClr val="1D3266"/>
                </a:solidFill>
                <a:latin typeface="Calibri"/>
                <a:cs typeface="Calibri"/>
              </a:rPr>
              <a:t>Salzburger</a:t>
            </a:r>
            <a:r>
              <a:rPr lang="en-US" sz="1500" b="1" dirty="0">
                <a:solidFill>
                  <a:srgbClr val="1D3266"/>
                </a:solidFill>
                <a:latin typeface="Calibri"/>
                <a:cs typeface="Calibri"/>
              </a:rPr>
              <a:t> </a:t>
            </a:r>
            <a:r>
              <a:rPr lang="en-US" sz="1500" b="1" dirty="0" err="1">
                <a:solidFill>
                  <a:srgbClr val="1D3266"/>
                </a:solidFill>
                <a:latin typeface="Calibri"/>
                <a:cs typeface="Calibri"/>
              </a:rPr>
              <a:t>Landeskliniken</a:t>
            </a:r>
            <a:r>
              <a:rPr lang="en-US" sz="1500" b="1" dirty="0">
                <a:solidFill>
                  <a:srgbClr val="1D3266"/>
                </a:solidFill>
                <a:latin typeface="Calibri"/>
                <a:cs typeface="Calibri"/>
              </a:rPr>
              <a:t> (6 Hospitals in west Austria)</a:t>
            </a:r>
          </a:p>
          <a:p>
            <a:endParaRPr lang="en-US" sz="1500" b="1" dirty="0">
              <a:solidFill>
                <a:srgbClr val="1D3266"/>
              </a:solidFill>
              <a:latin typeface="Calibri"/>
              <a:cs typeface="Calibri"/>
            </a:endParaRPr>
          </a:p>
          <a:p>
            <a:r>
              <a:rPr lang="en-US" sz="1500" b="1" dirty="0">
                <a:solidFill>
                  <a:srgbClr val="1D3266"/>
                </a:solidFill>
                <a:latin typeface="Calibri"/>
                <a:cs typeface="Calibri"/>
              </a:rPr>
              <a:t>WGKK - (4 Hospitals in Vienna Austria)</a:t>
            </a:r>
          </a:p>
          <a:p>
            <a:endParaRPr lang="en-US" sz="1500" b="1" dirty="0">
              <a:solidFill>
                <a:srgbClr val="1D3266"/>
              </a:solidFill>
              <a:latin typeface="Calibri"/>
              <a:cs typeface="Calibri"/>
            </a:endParaRPr>
          </a:p>
          <a:p>
            <a:r>
              <a:rPr lang="en-US" sz="1500" b="1" dirty="0">
                <a:solidFill>
                  <a:srgbClr val="1D3266"/>
                </a:solidFill>
                <a:latin typeface="Calibri"/>
                <a:cs typeface="Calibri"/>
              </a:rPr>
              <a:t>CH St Lô-</a:t>
            </a:r>
            <a:r>
              <a:rPr lang="en-US" sz="1500" b="1" dirty="0" err="1">
                <a:solidFill>
                  <a:srgbClr val="1D3266"/>
                </a:solidFill>
                <a:latin typeface="Calibri"/>
                <a:cs typeface="Calibri"/>
              </a:rPr>
              <a:t>Coutances</a:t>
            </a:r>
            <a:r>
              <a:rPr lang="en-US" sz="1500" b="1" dirty="0">
                <a:solidFill>
                  <a:srgbClr val="1D3266"/>
                </a:solidFill>
                <a:latin typeface="Calibri"/>
                <a:cs typeface="Calibri"/>
              </a:rPr>
              <a:t> (2 hospitals in France)</a:t>
            </a:r>
          </a:p>
          <a:p>
            <a:endParaRPr lang="en-US" sz="1500" b="1" dirty="0">
              <a:solidFill>
                <a:srgbClr val="1D3266"/>
              </a:solidFill>
              <a:latin typeface="Calibri"/>
              <a:cs typeface="Calibri"/>
            </a:endParaRPr>
          </a:p>
          <a:p>
            <a:r>
              <a:rPr lang="en-US" sz="1500" b="1" dirty="0">
                <a:solidFill>
                  <a:srgbClr val="1D3266"/>
                </a:solidFill>
                <a:latin typeface="Calibri"/>
                <a:cs typeface="Calibri"/>
              </a:rPr>
              <a:t>CH </a:t>
            </a:r>
            <a:r>
              <a:rPr lang="en-US" sz="1500" b="1" dirty="0" err="1">
                <a:solidFill>
                  <a:srgbClr val="1D3266"/>
                </a:solidFill>
                <a:latin typeface="Calibri"/>
                <a:cs typeface="Calibri"/>
              </a:rPr>
              <a:t>Epinal</a:t>
            </a:r>
            <a:r>
              <a:rPr lang="en-US" sz="1500" b="1" dirty="0">
                <a:solidFill>
                  <a:srgbClr val="1D3266"/>
                </a:solidFill>
                <a:latin typeface="Calibri"/>
                <a:cs typeface="Calibri"/>
              </a:rPr>
              <a:t> &amp; CH </a:t>
            </a:r>
            <a:r>
              <a:rPr lang="en-US" sz="1500" b="1" dirty="0" err="1">
                <a:solidFill>
                  <a:srgbClr val="1D3266"/>
                </a:solidFill>
                <a:latin typeface="Calibri"/>
                <a:cs typeface="Calibri"/>
              </a:rPr>
              <a:t>Golbey</a:t>
            </a:r>
            <a:r>
              <a:rPr lang="en-US" sz="1500" b="1" dirty="0">
                <a:solidFill>
                  <a:srgbClr val="1D3266"/>
                </a:solidFill>
                <a:latin typeface="Calibri"/>
                <a:cs typeface="Calibri"/>
              </a:rPr>
              <a:t> (2 hospitals in France)</a:t>
            </a:r>
          </a:p>
          <a:p>
            <a:endParaRPr lang="en-US" sz="1500" b="1" dirty="0">
              <a:solidFill>
                <a:srgbClr val="1D3266"/>
              </a:solidFill>
              <a:latin typeface="Calibri"/>
              <a:cs typeface="Calibri"/>
            </a:endParaRPr>
          </a:p>
          <a:p>
            <a:endParaRPr lang="en-US" sz="1500" b="1" dirty="0">
              <a:solidFill>
                <a:srgbClr val="1D3266"/>
              </a:solidFill>
              <a:latin typeface="Calibri"/>
              <a:cs typeface="Calibri"/>
            </a:endParaRPr>
          </a:p>
          <a:p>
            <a:endParaRPr lang="en-US" sz="1500" b="1" dirty="0">
              <a:solidFill>
                <a:srgbClr val="1D3266"/>
              </a:solidFill>
              <a:latin typeface="Calibri"/>
              <a:cs typeface="Calibri"/>
            </a:endParaRPr>
          </a:p>
        </p:txBody>
      </p:sp>
    </p:spTree>
    <p:extLst>
      <p:ext uri="{BB962C8B-B14F-4D97-AF65-F5344CB8AC3E}">
        <p14:creationId xmlns:p14="http://schemas.microsoft.com/office/powerpoint/2010/main" val="81243574"/>
      </p:ext>
    </p:extLst>
  </p:cSld>
  <p:clrMapOvr>
    <a:masterClrMapping/>
  </p:clrMapOvr>
  <mc:AlternateContent xmlns:mc="http://schemas.openxmlformats.org/markup-compatibility/2006" xmlns:p14="http://schemas.microsoft.com/office/powerpoint/2010/main">
    <mc:Choice Requires="p14">
      <p:transition spd="slow" p14:dur="1250">
        <p14:reveal/>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66" name="Picture 65"/>
          <p:cNvPicPr>
            <a:picLocks noChangeAspect="1"/>
          </p:cNvPicPr>
          <p:nvPr/>
        </p:nvPicPr>
        <p:blipFill>
          <a:blip r:embed="rId5"/>
          <a:stretch>
            <a:fillRect/>
          </a:stretch>
        </p:blipFill>
        <p:spPr>
          <a:xfrm rot="21480000">
            <a:off x="1245558" y="2658903"/>
            <a:ext cx="10430256" cy="3331464"/>
          </a:xfrm>
          <a:prstGeom prst="rect">
            <a:avLst/>
          </a:prstGeom>
        </p:spPr>
      </p:pic>
      <p:graphicFrame>
        <p:nvGraphicFramePr>
          <p:cNvPr id="67" name="Object 66"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9" name="think-cell Slide" r:id="rId6" imgW="353" imgH="318" progId="TCLayout.ActiveDocument.1">
                  <p:embed/>
                </p:oleObj>
              </mc:Choice>
              <mc:Fallback>
                <p:oleObj name="think-cell Slide" r:id="rId6" imgW="353" imgH="318" progId="TCLayout.ActiveDocument.1">
                  <p:embed/>
                  <p:pic>
                    <p:nvPicPr>
                      <p:cNvPr id="67" name="Object 6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Freeform 7"/>
          <p:cNvSpPr/>
          <p:nvPr/>
        </p:nvSpPr>
        <p:spPr>
          <a:xfrm>
            <a:off x="816674" y="1385565"/>
            <a:ext cx="10614598" cy="3503928"/>
          </a:xfrm>
          <a:custGeom>
            <a:avLst/>
            <a:gdLst>
              <a:gd name="connsiteX0" fmla="*/ 0 w 7109138"/>
              <a:gd name="connsiteY0" fmla="*/ 2401910 h 2401910"/>
              <a:gd name="connsiteX1" fmla="*/ 4398135 w 7109138"/>
              <a:gd name="connsiteY1" fmla="*/ 1661375 h 2401910"/>
              <a:gd name="connsiteX2" fmla="*/ 7109138 w 7109138"/>
              <a:gd name="connsiteY2" fmla="*/ 0 h 2401910"/>
              <a:gd name="connsiteX0" fmla="*/ 0 w 7109138"/>
              <a:gd name="connsiteY0" fmla="*/ 2401910 h 2401910"/>
              <a:gd name="connsiteX1" fmla="*/ 3973133 w 7109138"/>
              <a:gd name="connsiteY1" fmla="*/ 1764406 h 2401910"/>
              <a:gd name="connsiteX2" fmla="*/ 7109138 w 7109138"/>
              <a:gd name="connsiteY2" fmla="*/ 0 h 2401910"/>
              <a:gd name="connsiteX0" fmla="*/ 0 w 7109138"/>
              <a:gd name="connsiteY0" fmla="*/ 2401910 h 2401910"/>
              <a:gd name="connsiteX1" fmla="*/ 3973133 w 7109138"/>
              <a:gd name="connsiteY1" fmla="*/ 1764406 h 2401910"/>
              <a:gd name="connsiteX2" fmla="*/ 7109138 w 7109138"/>
              <a:gd name="connsiteY2" fmla="*/ 0 h 2401910"/>
              <a:gd name="connsiteX0" fmla="*/ 0 w 7109138"/>
              <a:gd name="connsiteY0" fmla="*/ 2401910 h 2401910"/>
              <a:gd name="connsiteX1" fmla="*/ 3973133 w 7109138"/>
              <a:gd name="connsiteY1" fmla="*/ 1764406 h 2401910"/>
              <a:gd name="connsiteX2" fmla="*/ 7109138 w 7109138"/>
              <a:gd name="connsiteY2" fmla="*/ 0 h 2401910"/>
              <a:gd name="connsiteX0" fmla="*/ 0 w 7109138"/>
              <a:gd name="connsiteY0" fmla="*/ 2401910 h 2401910"/>
              <a:gd name="connsiteX1" fmla="*/ 3973133 w 7109138"/>
              <a:gd name="connsiteY1" fmla="*/ 1764406 h 2401910"/>
              <a:gd name="connsiteX2" fmla="*/ 7109138 w 7109138"/>
              <a:gd name="connsiteY2" fmla="*/ 0 h 2401910"/>
              <a:gd name="connsiteX0" fmla="*/ 0 w 7109138"/>
              <a:gd name="connsiteY0" fmla="*/ 2401910 h 2401910"/>
              <a:gd name="connsiteX1" fmla="*/ 3973133 w 7109138"/>
              <a:gd name="connsiteY1" fmla="*/ 1764406 h 2401910"/>
              <a:gd name="connsiteX2" fmla="*/ 7109138 w 7109138"/>
              <a:gd name="connsiteY2" fmla="*/ 0 h 2401910"/>
              <a:gd name="connsiteX0" fmla="*/ 0 w 7109138"/>
              <a:gd name="connsiteY0" fmla="*/ 2401910 h 2401910"/>
              <a:gd name="connsiteX1" fmla="*/ 3973133 w 7109138"/>
              <a:gd name="connsiteY1" fmla="*/ 1764406 h 2401910"/>
              <a:gd name="connsiteX2" fmla="*/ 7109138 w 7109138"/>
              <a:gd name="connsiteY2" fmla="*/ 0 h 2401910"/>
              <a:gd name="connsiteX0" fmla="*/ 0 w 7109138"/>
              <a:gd name="connsiteY0" fmla="*/ 2401910 h 2401910"/>
              <a:gd name="connsiteX1" fmla="*/ 3973133 w 7109138"/>
              <a:gd name="connsiteY1" fmla="*/ 1764406 h 2401910"/>
              <a:gd name="connsiteX2" fmla="*/ 7109138 w 7109138"/>
              <a:gd name="connsiteY2" fmla="*/ 0 h 2401910"/>
            </a:gdLst>
            <a:ahLst/>
            <a:cxnLst>
              <a:cxn ang="0">
                <a:pos x="connsiteX0" y="connsiteY0"/>
              </a:cxn>
              <a:cxn ang="0">
                <a:pos x="connsiteX1" y="connsiteY1"/>
              </a:cxn>
              <a:cxn ang="0">
                <a:pos x="connsiteX2" y="connsiteY2"/>
              </a:cxn>
            </a:cxnLst>
            <a:rect l="l" t="t" r="r" b="b"/>
            <a:pathLst>
              <a:path w="7109138" h="2401910">
                <a:moveTo>
                  <a:pt x="0" y="2401910"/>
                </a:moveTo>
                <a:cubicBezTo>
                  <a:pt x="1162318" y="2354150"/>
                  <a:pt x="2079939" y="2332149"/>
                  <a:pt x="3973133" y="1764406"/>
                </a:cubicBezTo>
                <a:cubicBezTo>
                  <a:pt x="5866327" y="1196663"/>
                  <a:pt x="6494171" y="495300"/>
                  <a:pt x="7109138" y="0"/>
                </a:cubicBez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22363" tIns="61181" rIns="122363" bIns="61181" rtlCol="0" anchor="ctr"/>
          <a:lstStyle/>
          <a:p>
            <a:pPr algn="ctr"/>
            <a:endParaRPr lang="en-GB" sz="2400" b="1">
              <a:solidFill>
                <a:schemeClr val="tx1"/>
              </a:solidFill>
              <a:latin typeface="Montserrat" panose="00000500000000000000"/>
            </a:endParaRPr>
          </a:p>
        </p:txBody>
      </p:sp>
      <p:sp>
        <p:nvSpPr>
          <p:cNvPr id="11" name="Oval 10"/>
          <p:cNvSpPr>
            <a:spLocks noChangeArrowheads="1"/>
          </p:cNvSpPr>
          <p:nvPr/>
        </p:nvSpPr>
        <p:spPr bwMode="auto">
          <a:xfrm>
            <a:off x="11215586" y="1200328"/>
            <a:ext cx="360000" cy="360000"/>
          </a:xfrm>
          <a:prstGeom prst="ellipse">
            <a:avLst/>
          </a:prstGeom>
          <a:solidFill>
            <a:srgbClr val="83C969"/>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2400" b="1">
              <a:highlight>
                <a:srgbClr val="83C969"/>
              </a:highlight>
              <a:latin typeface="Montserrat" panose="00000500000000000000"/>
            </a:endParaRPr>
          </a:p>
        </p:txBody>
      </p:sp>
      <p:sp>
        <p:nvSpPr>
          <p:cNvPr id="13" name="Oval 23"/>
          <p:cNvSpPr>
            <a:spLocks noChangeArrowheads="1"/>
          </p:cNvSpPr>
          <p:nvPr/>
        </p:nvSpPr>
        <p:spPr bwMode="auto">
          <a:xfrm>
            <a:off x="7215361" y="3189712"/>
            <a:ext cx="864939" cy="864939"/>
          </a:xfrm>
          <a:prstGeom prst="ellipse">
            <a:avLst/>
          </a:prstGeom>
          <a:solidFill>
            <a:srgbClr val="FFFFFF"/>
          </a:solidFill>
          <a:ln w="19050">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US" sz="1200">
              <a:latin typeface="Montserrat" panose="00000500000000000000"/>
            </a:endParaRPr>
          </a:p>
        </p:txBody>
      </p:sp>
      <p:sp>
        <p:nvSpPr>
          <p:cNvPr id="14" name="Oval 25"/>
          <p:cNvSpPr>
            <a:spLocks noChangeArrowheads="1"/>
          </p:cNvSpPr>
          <p:nvPr/>
        </p:nvSpPr>
        <p:spPr bwMode="auto">
          <a:xfrm>
            <a:off x="7306661" y="3281011"/>
            <a:ext cx="682341" cy="682341"/>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200">
              <a:latin typeface="Montserrat" panose="00000500000000000000"/>
            </a:endParaRPr>
          </a:p>
        </p:txBody>
      </p:sp>
      <p:sp>
        <p:nvSpPr>
          <p:cNvPr id="15" name="Rectangle 14"/>
          <p:cNvSpPr/>
          <p:nvPr/>
        </p:nvSpPr>
        <p:spPr>
          <a:xfrm>
            <a:off x="6774990" y="2385361"/>
            <a:ext cx="1522197" cy="4473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22363" tIns="61181" rIns="122363" bIns="61181" rtlCol="0" anchor="ctr"/>
          <a:lstStyle/>
          <a:p>
            <a:pPr algn="ctr"/>
            <a:r>
              <a:rPr lang="en-GB" sz="1400" b="1" dirty="0">
                <a:solidFill>
                  <a:schemeClr val="tx1"/>
                </a:solidFill>
                <a:latin typeface="Montserrat" panose="00000500000000000000"/>
                <a:cs typeface="Calibri" panose="020F0502020204030204" pitchFamily="34" charset="0"/>
              </a:rPr>
              <a:t>2008 PDF </a:t>
            </a:r>
            <a:r>
              <a:rPr lang="en-GB" sz="1400" b="1" dirty="0" err="1">
                <a:solidFill>
                  <a:schemeClr val="tx1"/>
                </a:solidFill>
                <a:latin typeface="Montserrat" panose="00000500000000000000"/>
                <a:cs typeface="Calibri" panose="020F0502020204030204" pitchFamily="34" charset="0"/>
              </a:rPr>
              <a:t>wird</a:t>
            </a:r>
            <a:r>
              <a:rPr lang="en-GB" sz="1400" b="1" dirty="0">
                <a:solidFill>
                  <a:schemeClr val="tx1"/>
                </a:solidFill>
                <a:latin typeface="Montserrat" panose="00000500000000000000"/>
                <a:cs typeface="Calibri" panose="020F0502020204030204" pitchFamily="34" charset="0"/>
              </a:rPr>
              <a:t> </a:t>
            </a:r>
            <a:r>
              <a:rPr lang="en-GB" sz="1400" b="1" dirty="0" err="1">
                <a:solidFill>
                  <a:schemeClr val="tx1"/>
                </a:solidFill>
                <a:latin typeface="Montserrat" panose="00000500000000000000"/>
                <a:cs typeface="Calibri" panose="020F0502020204030204" pitchFamily="34" charset="0"/>
              </a:rPr>
              <a:t>zum</a:t>
            </a:r>
            <a:r>
              <a:rPr lang="en-GB" sz="1400" b="1" dirty="0">
                <a:solidFill>
                  <a:schemeClr val="tx1"/>
                </a:solidFill>
                <a:latin typeface="Montserrat" panose="00000500000000000000"/>
                <a:cs typeface="Calibri" panose="020F0502020204030204" pitchFamily="34" charset="0"/>
              </a:rPr>
              <a:t> ISO Standard – </a:t>
            </a:r>
            <a:r>
              <a:rPr lang="en-GB" sz="1400" b="1" dirty="0" err="1">
                <a:solidFill>
                  <a:schemeClr val="tx1"/>
                </a:solidFill>
                <a:latin typeface="Montserrat" panose="00000500000000000000"/>
                <a:cs typeface="Calibri" panose="020F0502020204030204" pitchFamily="34" charset="0"/>
              </a:rPr>
              <a:t>digitale</a:t>
            </a:r>
            <a:r>
              <a:rPr lang="en-GB" sz="1400" b="1" dirty="0">
                <a:solidFill>
                  <a:schemeClr val="tx1"/>
                </a:solidFill>
                <a:latin typeface="Montserrat" panose="00000500000000000000"/>
                <a:cs typeface="Calibri" panose="020F0502020204030204" pitchFamily="34" charset="0"/>
              </a:rPr>
              <a:t> </a:t>
            </a:r>
            <a:r>
              <a:rPr lang="en-GB" sz="1400" b="1" dirty="0" err="1">
                <a:solidFill>
                  <a:schemeClr val="tx1"/>
                </a:solidFill>
                <a:latin typeface="Montserrat" panose="00000500000000000000"/>
                <a:cs typeface="Calibri" panose="020F0502020204030204" pitchFamily="34" charset="0"/>
              </a:rPr>
              <a:t>Dokumente</a:t>
            </a:r>
            <a:r>
              <a:rPr lang="en-GB" sz="1400" b="1" dirty="0">
                <a:solidFill>
                  <a:schemeClr val="tx1"/>
                </a:solidFill>
                <a:latin typeface="Montserrat" panose="00000500000000000000"/>
                <a:cs typeface="Calibri" panose="020F0502020204030204" pitchFamily="34" charset="0"/>
              </a:rPr>
              <a:t> </a:t>
            </a:r>
            <a:r>
              <a:rPr lang="en-GB" sz="1400" b="1" dirty="0" err="1">
                <a:solidFill>
                  <a:schemeClr val="tx1"/>
                </a:solidFill>
                <a:latin typeface="Montserrat" panose="00000500000000000000"/>
                <a:cs typeface="Calibri" panose="020F0502020204030204" pitchFamily="34" charset="0"/>
              </a:rPr>
              <a:t>werden</a:t>
            </a:r>
            <a:r>
              <a:rPr lang="en-GB" sz="1400" b="1" dirty="0">
                <a:solidFill>
                  <a:schemeClr val="tx1"/>
                </a:solidFill>
                <a:latin typeface="Montserrat" panose="00000500000000000000"/>
                <a:cs typeface="Calibri" panose="020F0502020204030204" pitchFamily="34" charset="0"/>
              </a:rPr>
              <a:t> </a:t>
            </a:r>
            <a:r>
              <a:rPr lang="en-GB" sz="1400" b="1" dirty="0" err="1">
                <a:solidFill>
                  <a:schemeClr val="tx1"/>
                </a:solidFill>
                <a:latin typeface="Montserrat" panose="00000500000000000000"/>
                <a:cs typeface="Calibri" panose="020F0502020204030204" pitchFamily="34" charset="0"/>
              </a:rPr>
              <a:t>archivierbar</a:t>
            </a:r>
            <a:endParaRPr lang="en-GB" sz="1400" b="1" dirty="0">
              <a:solidFill>
                <a:schemeClr val="tx1"/>
              </a:solidFill>
              <a:latin typeface="Montserrat" panose="00000500000000000000"/>
              <a:cs typeface="Calibri" panose="020F0502020204030204" pitchFamily="34" charset="0"/>
            </a:endParaRPr>
          </a:p>
          <a:p>
            <a:pPr algn="ctr"/>
            <a:endParaRPr lang="en-GB" sz="1400" b="1" dirty="0">
              <a:solidFill>
                <a:schemeClr val="tx1"/>
              </a:solidFill>
              <a:latin typeface="Montserrat" panose="00000500000000000000"/>
              <a:cs typeface="Calibri" panose="020F0502020204030204" pitchFamily="34" charset="0"/>
            </a:endParaRPr>
          </a:p>
          <a:p>
            <a:pPr algn="ctr"/>
            <a:endParaRPr lang="en-GB" sz="1400" b="1" dirty="0">
              <a:solidFill>
                <a:schemeClr val="tx1"/>
              </a:solidFill>
              <a:latin typeface="Montserrat" panose="00000500000000000000"/>
              <a:cs typeface="Calibri" panose="020F0502020204030204" pitchFamily="34" charset="0"/>
            </a:endParaRPr>
          </a:p>
        </p:txBody>
      </p:sp>
      <p:sp>
        <p:nvSpPr>
          <p:cNvPr id="16" name="Freeform 39">
            <a:extLst>
              <a:ext uri="{FF2B5EF4-FFF2-40B4-BE49-F238E27FC236}">
                <a16:creationId xmlns:a16="http://schemas.microsoft.com/office/drawing/2014/main" id="{82C55C35-0D63-4756-A23B-FCBD8FF45E7F}"/>
              </a:ext>
            </a:extLst>
          </p:cNvPr>
          <p:cNvSpPr>
            <a:spLocks noChangeAspect="1" noEditPoints="1"/>
          </p:cNvSpPr>
          <p:nvPr/>
        </p:nvSpPr>
        <p:spPr bwMode="auto">
          <a:xfrm>
            <a:off x="7472704" y="3443336"/>
            <a:ext cx="350252" cy="357690"/>
          </a:xfrm>
          <a:custGeom>
            <a:avLst/>
            <a:gdLst>
              <a:gd name="T0" fmla="*/ 0 w 112"/>
              <a:gd name="T1" fmla="*/ 2 h 112"/>
              <a:gd name="T2" fmla="*/ 84 w 112"/>
              <a:gd name="T3" fmla="*/ 112 h 112"/>
              <a:gd name="T4" fmla="*/ 58 w 112"/>
              <a:gd name="T5" fmla="*/ 108 h 112"/>
              <a:gd name="T6" fmla="*/ 58 w 112"/>
              <a:gd name="T7" fmla="*/ 91 h 112"/>
              <a:gd name="T8" fmla="*/ 57 w 112"/>
              <a:gd name="T9" fmla="*/ 90 h 112"/>
              <a:gd name="T10" fmla="*/ 57 w 112"/>
              <a:gd name="T11" fmla="*/ 89 h 112"/>
              <a:gd name="T12" fmla="*/ 56 w 112"/>
              <a:gd name="T13" fmla="*/ 89 h 112"/>
              <a:gd name="T14" fmla="*/ 55 w 112"/>
              <a:gd name="T15" fmla="*/ 90 h 112"/>
              <a:gd name="T16" fmla="*/ 49 w 112"/>
              <a:gd name="T17" fmla="*/ 74 h 112"/>
              <a:gd name="T18" fmla="*/ 55 w 112"/>
              <a:gd name="T19" fmla="*/ 77 h 112"/>
              <a:gd name="T20" fmla="*/ 58 w 112"/>
              <a:gd name="T21" fmla="*/ 75 h 112"/>
              <a:gd name="T22" fmla="*/ 58 w 112"/>
              <a:gd name="T23" fmla="*/ 75 h 112"/>
              <a:gd name="T24" fmla="*/ 71 w 112"/>
              <a:gd name="T25" fmla="*/ 58 h 112"/>
              <a:gd name="T26" fmla="*/ 96 w 112"/>
              <a:gd name="T27" fmla="*/ 63 h 112"/>
              <a:gd name="T28" fmla="*/ 108 w 112"/>
              <a:gd name="T29" fmla="*/ 108 h 112"/>
              <a:gd name="T30" fmla="*/ 96 w 112"/>
              <a:gd name="T31" fmla="*/ 112 h 112"/>
              <a:gd name="T32" fmla="*/ 112 w 112"/>
              <a:gd name="T33" fmla="*/ 2 h 112"/>
              <a:gd name="T34" fmla="*/ 54 w 112"/>
              <a:gd name="T35" fmla="*/ 21 h 112"/>
              <a:gd name="T36" fmla="*/ 54 w 112"/>
              <a:gd name="T37" fmla="*/ 22 h 112"/>
              <a:gd name="T38" fmla="*/ 55 w 112"/>
              <a:gd name="T39" fmla="*/ 22 h 112"/>
              <a:gd name="T40" fmla="*/ 56 w 112"/>
              <a:gd name="T41" fmla="*/ 23 h 112"/>
              <a:gd name="T42" fmla="*/ 57 w 112"/>
              <a:gd name="T43" fmla="*/ 23 h 112"/>
              <a:gd name="T44" fmla="*/ 63 w 112"/>
              <a:gd name="T45" fmla="*/ 20 h 112"/>
              <a:gd name="T46" fmla="*/ 57 w 112"/>
              <a:gd name="T47" fmla="*/ 36 h 112"/>
              <a:gd name="T48" fmla="*/ 56 w 112"/>
              <a:gd name="T49" fmla="*/ 35 h 112"/>
              <a:gd name="T50" fmla="*/ 54 w 112"/>
              <a:gd name="T51" fmla="*/ 36 h 112"/>
              <a:gd name="T52" fmla="*/ 54 w 112"/>
              <a:gd name="T53" fmla="*/ 37 h 112"/>
              <a:gd name="T54" fmla="*/ 54 w 112"/>
              <a:gd name="T55" fmla="*/ 38 h 112"/>
              <a:gd name="T56" fmla="*/ 42 w 112"/>
              <a:gd name="T57" fmla="*/ 49 h 112"/>
              <a:gd name="T58" fmla="*/ 17 w 112"/>
              <a:gd name="T59" fmla="*/ 54 h 112"/>
              <a:gd name="T60" fmla="*/ 54 w 112"/>
              <a:gd name="T61" fmla="*/ 4 h 112"/>
              <a:gd name="T62" fmla="*/ 36 w 112"/>
              <a:gd name="T63" fmla="*/ 83 h 112"/>
              <a:gd name="T64" fmla="*/ 54 w 112"/>
              <a:gd name="T65" fmla="*/ 108 h 112"/>
              <a:gd name="T66" fmla="*/ 21 w 112"/>
              <a:gd name="T67" fmla="*/ 58 h 112"/>
              <a:gd name="T68" fmla="*/ 22 w 112"/>
              <a:gd name="T69" fmla="*/ 58 h 112"/>
              <a:gd name="T70" fmla="*/ 22 w 112"/>
              <a:gd name="T71" fmla="*/ 57 h 112"/>
              <a:gd name="T72" fmla="*/ 23 w 112"/>
              <a:gd name="T73" fmla="*/ 56 h 112"/>
              <a:gd name="T74" fmla="*/ 23 w 112"/>
              <a:gd name="T75" fmla="*/ 55 h 112"/>
              <a:gd name="T76" fmla="*/ 20 w 112"/>
              <a:gd name="T77" fmla="*/ 49 h 112"/>
              <a:gd name="T78" fmla="*/ 36 w 112"/>
              <a:gd name="T79" fmla="*/ 55 h 112"/>
              <a:gd name="T80" fmla="*/ 35 w 112"/>
              <a:gd name="T81" fmla="*/ 56 h 112"/>
              <a:gd name="T82" fmla="*/ 35 w 112"/>
              <a:gd name="T83" fmla="*/ 57 h 112"/>
              <a:gd name="T84" fmla="*/ 36 w 112"/>
              <a:gd name="T85" fmla="*/ 57 h 112"/>
              <a:gd name="T86" fmla="*/ 37 w 112"/>
              <a:gd name="T87" fmla="*/ 58 h 112"/>
              <a:gd name="T88" fmla="*/ 54 w 112"/>
              <a:gd name="T89" fmla="*/ 58 h 112"/>
              <a:gd name="T90" fmla="*/ 91 w 112"/>
              <a:gd name="T91" fmla="*/ 54 h 112"/>
              <a:gd name="T92" fmla="*/ 90 w 112"/>
              <a:gd name="T93" fmla="*/ 54 h 112"/>
              <a:gd name="T94" fmla="*/ 89 w 112"/>
              <a:gd name="T95" fmla="*/ 55 h 112"/>
              <a:gd name="T96" fmla="*/ 89 w 112"/>
              <a:gd name="T97" fmla="*/ 56 h 112"/>
              <a:gd name="T98" fmla="*/ 90 w 112"/>
              <a:gd name="T99" fmla="*/ 57 h 112"/>
              <a:gd name="T100" fmla="*/ 83 w 112"/>
              <a:gd name="T101" fmla="*/ 72 h 112"/>
              <a:gd name="T102" fmla="*/ 76 w 112"/>
              <a:gd name="T103" fmla="*/ 57 h 112"/>
              <a:gd name="T104" fmla="*/ 77 w 112"/>
              <a:gd name="T105" fmla="*/ 56 h 112"/>
              <a:gd name="T106" fmla="*/ 76 w 112"/>
              <a:gd name="T107" fmla="*/ 55 h 112"/>
              <a:gd name="T108" fmla="*/ 76 w 112"/>
              <a:gd name="T109" fmla="*/ 54 h 112"/>
              <a:gd name="T110" fmla="*/ 75 w 112"/>
              <a:gd name="T111" fmla="*/ 54 h 112"/>
              <a:gd name="T112" fmla="*/ 58 w 112"/>
              <a:gd name="T113" fmla="*/ 41 h 112"/>
              <a:gd name="T114" fmla="*/ 63 w 112"/>
              <a:gd name="T115" fmla="*/ 16 h 112"/>
              <a:gd name="T116" fmla="*/ 108 w 112"/>
              <a:gd name="T117" fmla="*/ 4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2" h="112">
                <a:moveTo>
                  <a:pt x="110" y="0"/>
                </a:moveTo>
                <a:cubicBezTo>
                  <a:pt x="2" y="0"/>
                  <a:pt x="2" y="0"/>
                  <a:pt x="2" y="0"/>
                </a:cubicBezTo>
                <a:cubicBezTo>
                  <a:pt x="1" y="0"/>
                  <a:pt x="0" y="1"/>
                  <a:pt x="0" y="2"/>
                </a:cubicBezTo>
                <a:cubicBezTo>
                  <a:pt x="0" y="110"/>
                  <a:pt x="0" y="110"/>
                  <a:pt x="0" y="110"/>
                </a:cubicBezTo>
                <a:cubicBezTo>
                  <a:pt x="0" y="111"/>
                  <a:pt x="1" y="112"/>
                  <a:pt x="2" y="112"/>
                </a:cubicBezTo>
                <a:cubicBezTo>
                  <a:pt x="84" y="112"/>
                  <a:pt x="84" y="112"/>
                  <a:pt x="84" y="112"/>
                </a:cubicBezTo>
                <a:cubicBezTo>
                  <a:pt x="85" y="112"/>
                  <a:pt x="86" y="111"/>
                  <a:pt x="86" y="110"/>
                </a:cubicBezTo>
                <a:cubicBezTo>
                  <a:pt x="86" y="109"/>
                  <a:pt x="85" y="108"/>
                  <a:pt x="84" y="108"/>
                </a:cubicBezTo>
                <a:cubicBezTo>
                  <a:pt x="58" y="108"/>
                  <a:pt x="58" y="108"/>
                  <a:pt x="58" y="108"/>
                </a:cubicBezTo>
                <a:cubicBezTo>
                  <a:pt x="58" y="91"/>
                  <a:pt x="58" y="91"/>
                  <a:pt x="58" y="91"/>
                </a:cubicBezTo>
                <a:cubicBezTo>
                  <a:pt x="58" y="91"/>
                  <a:pt x="58" y="91"/>
                  <a:pt x="58" y="91"/>
                </a:cubicBezTo>
                <a:cubicBezTo>
                  <a:pt x="58" y="91"/>
                  <a:pt x="58" y="91"/>
                  <a:pt x="58" y="91"/>
                </a:cubicBezTo>
                <a:cubicBezTo>
                  <a:pt x="58" y="90"/>
                  <a:pt x="58" y="90"/>
                  <a:pt x="58" y="90"/>
                </a:cubicBezTo>
                <a:cubicBezTo>
                  <a:pt x="58" y="90"/>
                  <a:pt x="58" y="90"/>
                  <a:pt x="58" y="90"/>
                </a:cubicBezTo>
                <a:cubicBezTo>
                  <a:pt x="58" y="90"/>
                  <a:pt x="57" y="90"/>
                  <a:pt x="57" y="90"/>
                </a:cubicBezTo>
                <a:cubicBezTo>
                  <a:pt x="57" y="90"/>
                  <a:pt x="57" y="90"/>
                  <a:pt x="57" y="90"/>
                </a:cubicBezTo>
                <a:cubicBezTo>
                  <a:pt x="57" y="90"/>
                  <a:pt x="57" y="90"/>
                  <a:pt x="57" y="89"/>
                </a:cubicBezTo>
                <a:cubicBezTo>
                  <a:pt x="57" y="89"/>
                  <a:pt x="57" y="89"/>
                  <a:pt x="57" y="89"/>
                </a:cubicBezTo>
                <a:cubicBezTo>
                  <a:pt x="56" y="89"/>
                  <a:pt x="56" y="89"/>
                  <a:pt x="56" y="89"/>
                </a:cubicBezTo>
                <a:cubicBezTo>
                  <a:pt x="56" y="89"/>
                  <a:pt x="56" y="89"/>
                  <a:pt x="56" y="89"/>
                </a:cubicBezTo>
                <a:cubicBezTo>
                  <a:pt x="56" y="89"/>
                  <a:pt x="56" y="89"/>
                  <a:pt x="56" y="89"/>
                </a:cubicBezTo>
                <a:cubicBezTo>
                  <a:pt x="56" y="89"/>
                  <a:pt x="55" y="89"/>
                  <a:pt x="55" y="89"/>
                </a:cubicBezTo>
                <a:cubicBezTo>
                  <a:pt x="55" y="89"/>
                  <a:pt x="55" y="90"/>
                  <a:pt x="55" y="90"/>
                </a:cubicBezTo>
                <a:cubicBezTo>
                  <a:pt x="55" y="90"/>
                  <a:pt x="55" y="90"/>
                  <a:pt x="55" y="90"/>
                </a:cubicBezTo>
                <a:cubicBezTo>
                  <a:pt x="53" y="91"/>
                  <a:pt x="51" y="92"/>
                  <a:pt x="49" y="92"/>
                </a:cubicBezTo>
                <a:cubicBezTo>
                  <a:pt x="44" y="92"/>
                  <a:pt x="40" y="88"/>
                  <a:pt x="40" y="83"/>
                </a:cubicBezTo>
                <a:cubicBezTo>
                  <a:pt x="40" y="78"/>
                  <a:pt x="44" y="74"/>
                  <a:pt x="49" y="74"/>
                </a:cubicBezTo>
                <a:cubicBezTo>
                  <a:pt x="51" y="74"/>
                  <a:pt x="53" y="75"/>
                  <a:pt x="55" y="76"/>
                </a:cubicBezTo>
                <a:cubicBezTo>
                  <a:pt x="55" y="76"/>
                  <a:pt x="55" y="76"/>
                  <a:pt x="55" y="76"/>
                </a:cubicBezTo>
                <a:cubicBezTo>
                  <a:pt x="55" y="76"/>
                  <a:pt x="55" y="77"/>
                  <a:pt x="55" y="77"/>
                </a:cubicBezTo>
                <a:cubicBezTo>
                  <a:pt x="56" y="77"/>
                  <a:pt x="57" y="77"/>
                  <a:pt x="58" y="76"/>
                </a:cubicBezTo>
                <a:cubicBezTo>
                  <a:pt x="58" y="76"/>
                  <a:pt x="58" y="76"/>
                  <a:pt x="58" y="76"/>
                </a:cubicBezTo>
                <a:cubicBezTo>
                  <a:pt x="58" y="75"/>
                  <a:pt x="58" y="75"/>
                  <a:pt x="58" y="75"/>
                </a:cubicBezTo>
                <a:cubicBezTo>
                  <a:pt x="58" y="75"/>
                  <a:pt x="58" y="75"/>
                  <a:pt x="58" y="75"/>
                </a:cubicBezTo>
                <a:cubicBezTo>
                  <a:pt x="58" y="75"/>
                  <a:pt x="58" y="75"/>
                  <a:pt x="58" y="75"/>
                </a:cubicBezTo>
                <a:cubicBezTo>
                  <a:pt x="58" y="75"/>
                  <a:pt x="58" y="75"/>
                  <a:pt x="58" y="75"/>
                </a:cubicBezTo>
                <a:cubicBezTo>
                  <a:pt x="58" y="75"/>
                  <a:pt x="58" y="75"/>
                  <a:pt x="58" y="75"/>
                </a:cubicBezTo>
                <a:cubicBezTo>
                  <a:pt x="58" y="58"/>
                  <a:pt x="58" y="58"/>
                  <a:pt x="58" y="58"/>
                </a:cubicBezTo>
                <a:cubicBezTo>
                  <a:pt x="71" y="58"/>
                  <a:pt x="71" y="58"/>
                  <a:pt x="71" y="58"/>
                </a:cubicBezTo>
                <a:cubicBezTo>
                  <a:pt x="70" y="60"/>
                  <a:pt x="70" y="61"/>
                  <a:pt x="70" y="63"/>
                </a:cubicBezTo>
                <a:cubicBezTo>
                  <a:pt x="70" y="70"/>
                  <a:pt x="76" y="76"/>
                  <a:pt x="83" y="76"/>
                </a:cubicBezTo>
                <a:cubicBezTo>
                  <a:pt x="90" y="76"/>
                  <a:pt x="96" y="70"/>
                  <a:pt x="96" y="63"/>
                </a:cubicBezTo>
                <a:cubicBezTo>
                  <a:pt x="96" y="61"/>
                  <a:pt x="96" y="60"/>
                  <a:pt x="95" y="58"/>
                </a:cubicBezTo>
                <a:cubicBezTo>
                  <a:pt x="108" y="58"/>
                  <a:pt x="108" y="58"/>
                  <a:pt x="108" y="58"/>
                </a:cubicBezTo>
                <a:cubicBezTo>
                  <a:pt x="108" y="108"/>
                  <a:pt x="108" y="108"/>
                  <a:pt x="108" y="108"/>
                </a:cubicBezTo>
                <a:cubicBezTo>
                  <a:pt x="96" y="108"/>
                  <a:pt x="96" y="108"/>
                  <a:pt x="96" y="108"/>
                </a:cubicBezTo>
                <a:cubicBezTo>
                  <a:pt x="95" y="108"/>
                  <a:pt x="94" y="109"/>
                  <a:pt x="94" y="110"/>
                </a:cubicBezTo>
                <a:cubicBezTo>
                  <a:pt x="94" y="111"/>
                  <a:pt x="95" y="112"/>
                  <a:pt x="96" y="112"/>
                </a:cubicBezTo>
                <a:cubicBezTo>
                  <a:pt x="110" y="112"/>
                  <a:pt x="110" y="112"/>
                  <a:pt x="110" y="112"/>
                </a:cubicBezTo>
                <a:cubicBezTo>
                  <a:pt x="111" y="112"/>
                  <a:pt x="112" y="111"/>
                  <a:pt x="112" y="110"/>
                </a:cubicBezTo>
                <a:cubicBezTo>
                  <a:pt x="112" y="2"/>
                  <a:pt x="112" y="2"/>
                  <a:pt x="112" y="2"/>
                </a:cubicBezTo>
                <a:cubicBezTo>
                  <a:pt x="112" y="1"/>
                  <a:pt x="111" y="0"/>
                  <a:pt x="110" y="0"/>
                </a:cubicBezTo>
                <a:close/>
                <a:moveTo>
                  <a:pt x="54" y="4"/>
                </a:moveTo>
                <a:cubicBezTo>
                  <a:pt x="54" y="21"/>
                  <a:pt x="54" y="21"/>
                  <a:pt x="54" y="21"/>
                </a:cubicBezTo>
                <a:cubicBezTo>
                  <a:pt x="54" y="21"/>
                  <a:pt x="54" y="21"/>
                  <a:pt x="54" y="21"/>
                </a:cubicBezTo>
                <a:cubicBezTo>
                  <a:pt x="54" y="21"/>
                  <a:pt x="54" y="21"/>
                  <a:pt x="54" y="21"/>
                </a:cubicBezTo>
                <a:cubicBezTo>
                  <a:pt x="54" y="21"/>
                  <a:pt x="54" y="22"/>
                  <a:pt x="54" y="22"/>
                </a:cubicBezTo>
                <a:cubicBezTo>
                  <a:pt x="54" y="22"/>
                  <a:pt x="54" y="22"/>
                  <a:pt x="54" y="22"/>
                </a:cubicBezTo>
                <a:cubicBezTo>
                  <a:pt x="54" y="22"/>
                  <a:pt x="55" y="22"/>
                  <a:pt x="55" y="22"/>
                </a:cubicBezTo>
                <a:cubicBezTo>
                  <a:pt x="55" y="22"/>
                  <a:pt x="55" y="22"/>
                  <a:pt x="55" y="22"/>
                </a:cubicBezTo>
                <a:cubicBezTo>
                  <a:pt x="55" y="22"/>
                  <a:pt x="55" y="22"/>
                  <a:pt x="55" y="22"/>
                </a:cubicBezTo>
                <a:cubicBezTo>
                  <a:pt x="55" y="23"/>
                  <a:pt x="55" y="23"/>
                  <a:pt x="56" y="23"/>
                </a:cubicBezTo>
                <a:cubicBezTo>
                  <a:pt x="56" y="23"/>
                  <a:pt x="56" y="23"/>
                  <a:pt x="56" y="23"/>
                </a:cubicBezTo>
                <a:cubicBezTo>
                  <a:pt x="56" y="23"/>
                  <a:pt x="56" y="23"/>
                  <a:pt x="56" y="23"/>
                </a:cubicBezTo>
                <a:cubicBezTo>
                  <a:pt x="56" y="23"/>
                  <a:pt x="56" y="23"/>
                  <a:pt x="56" y="23"/>
                </a:cubicBezTo>
                <a:cubicBezTo>
                  <a:pt x="56" y="23"/>
                  <a:pt x="57" y="23"/>
                  <a:pt x="57" y="23"/>
                </a:cubicBezTo>
                <a:cubicBezTo>
                  <a:pt x="57" y="22"/>
                  <a:pt x="57" y="22"/>
                  <a:pt x="57" y="22"/>
                </a:cubicBezTo>
                <a:cubicBezTo>
                  <a:pt x="57" y="22"/>
                  <a:pt x="57" y="22"/>
                  <a:pt x="57" y="22"/>
                </a:cubicBezTo>
                <a:cubicBezTo>
                  <a:pt x="59" y="21"/>
                  <a:pt x="61" y="20"/>
                  <a:pt x="63" y="20"/>
                </a:cubicBezTo>
                <a:cubicBezTo>
                  <a:pt x="68" y="20"/>
                  <a:pt x="72" y="24"/>
                  <a:pt x="72" y="29"/>
                </a:cubicBezTo>
                <a:cubicBezTo>
                  <a:pt x="72" y="34"/>
                  <a:pt x="68" y="38"/>
                  <a:pt x="63" y="38"/>
                </a:cubicBezTo>
                <a:cubicBezTo>
                  <a:pt x="61" y="38"/>
                  <a:pt x="59" y="37"/>
                  <a:pt x="57" y="36"/>
                </a:cubicBezTo>
                <a:cubicBezTo>
                  <a:pt x="57" y="36"/>
                  <a:pt x="57" y="36"/>
                  <a:pt x="57" y="36"/>
                </a:cubicBezTo>
                <a:cubicBezTo>
                  <a:pt x="57" y="36"/>
                  <a:pt x="57" y="36"/>
                  <a:pt x="57" y="35"/>
                </a:cubicBezTo>
                <a:cubicBezTo>
                  <a:pt x="56" y="35"/>
                  <a:pt x="56" y="35"/>
                  <a:pt x="56" y="35"/>
                </a:cubicBezTo>
                <a:cubicBezTo>
                  <a:pt x="56" y="35"/>
                  <a:pt x="56" y="35"/>
                  <a:pt x="56" y="35"/>
                </a:cubicBezTo>
                <a:cubicBezTo>
                  <a:pt x="56" y="35"/>
                  <a:pt x="56" y="35"/>
                  <a:pt x="56" y="35"/>
                </a:cubicBezTo>
                <a:cubicBezTo>
                  <a:pt x="55" y="35"/>
                  <a:pt x="55" y="36"/>
                  <a:pt x="54" y="36"/>
                </a:cubicBezTo>
                <a:cubicBezTo>
                  <a:pt x="54" y="36"/>
                  <a:pt x="54" y="36"/>
                  <a:pt x="54" y="37"/>
                </a:cubicBezTo>
                <a:cubicBezTo>
                  <a:pt x="54" y="37"/>
                  <a:pt x="54" y="37"/>
                  <a:pt x="54" y="37"/>
                </a:cubicBezTo>
                <a:cubicBezTo>
                  <a:pt x="54" y="37"/>
                  <a:pt x="54" y="37"/>
                  <a:pt x="54" y="37"/>
                </a:cubicBezTo>
                <a:cubicBezTo>
                  <a:pt x="54" y="37"/>
                  <a:pt x="54" y="37"/>
                  <a:pt x="54" y="37"/>
                </a:cubicBezTo>
                <a:cubicBezTo>
                  <a:pt x="54" y="37"/>
                  <a:pt x="54" y="37"/>
                  <a:pt x="54" y="37"/>
                </a:cubicBezTo>
                <a:cubicBezTo>
                  <a:pt x="54" y="37"/>
                  <a:pt x="54" y="37"/>
                  <a:pt x="54" y="38"/>
                </a:cubicBezTo>
                <a:cubicBezTo>
                  <a:pt x="54" y="54"/>
                  <a:pt x="54" y="54"/>
                  <a:pt x="54" y="54"/>
                </a:cubicBezTo>
                <a:cubicBezTo>
                  <a:pt x="41" y="54"/>
                  <a:pt x="41" y="54"/>
                  <a:pt x="41" y="54"/>
                </a:cubicBezTo>
                <a:cubicBezTo>
                  <a:pt x="42" y="52"/>
                  <a:pt x="42" y="51"/>
                  <a:pt x="42" y="49"/>
                </a:cubicBezTo>
                <a:cubicBezTo>
                  <a:pt x="42" y="42"/>
                  <a:pt x="36" y="36"/>
                  <a:pt x="29" y="36"/>
                </a:cubicBezTo>
                <a:cubicBezTo>
                  <a:pt x="22" y="36"/>
                  <a:pt x="16" y="42"/>
                  <a:pt x="16" y="49"/>
                </a:cubicBezTo>
                <a:cubicBezTo>
                  <a:pt x="16" y="51"/>
                  <a:pt x="16" y="52"/>
                  <a:pt x="17" y="54"/>
                </a:cubicBezTo>
                <a:cubicBezTo>
                  <a:pt x="4" y="54"/>
                  <a:pt x="4" y="54"/>
                  <a:pt x="4" y="54"/>
                </a:cubicBezTo>
                <a:cubicBezTo>
                  <a:pt x="4" y="4"/>
                  <a:pt x="4" y="4"/>
                  <a:pt x="4" y="4"/>
                </a:cubicBezTo>
                <a:lnTo>
                  <a:pt x="54" y="4"/>
                </a:lnTo>
                <a:close/>
                <a:moveTo>
                  <a:pt x="54" y="71"/>
                </a:moveTo>
                <a:cubicBezTo>
                  <a:pt x="52" y="70"/>
                  <a:pt x="51" y="70"/>
                  <a:pt x="49" y="70"/>
                </a:cubicBezTo>
                <a:cubicBezTo>
                  <a:pt x="42" y="70"/>
                  <a:pt x="36" y="76"/>
                  <a:pt x="36" y="83"/>
                </a:cubicBezTo>
                <a:cubicBezTo>
                  <a:pt x="36" y="90"/>
                  <a:pt x="42" y="96"/>
                  <a:pt x="49" y="96"/>
                </a:cubicBezTo>
                <a:cubicBezTo>
                  <a:pt x="51" y="96"/>
                  <a:pt x="52" y="96"/>
                  <a:pt x="54" y="95"/>
                </a:cubicBezTo>
                <a:cubicBezTo>
                  <a:pt x="54" y="108"/>
                  <a:pt x="54" y="108"/>
                  <a:pt x="54" y="108"/>
                </a:cubicBezTo>
                <a:cubicBezTo>
                  <a:pt x="4" y="108"/>
                  <a:pt x="4" y="108"/>
                  <a:pt x="4" y="108"/>
                </a:cubicBezTo>
                <a:cubicBezTo>
                  <a:pt x="4" y="58"/>
                  <a:pt x="4" y="58"/>
                  <a:pt x="4" y="58"/>
                </a:cubicBezTo>
                <a:cubicBezTo>
                  <a:pt x="21" y="58"/>
                  <a:pt x="21" y="58"/>
                  <a:pt x="21" y="58"/>
                </a:cubicBezTo>
                <a:cubicBezTo>
                  <a:pt x="21" y="58"/>
                  <a:pt x="21" y="58"/>
                  <a:pt x="21" y="58"/>
                </a:cubicBezTo>
                <a:cubicBezTo>
                  <a:pt x="21" y="58"/>
                  <a:pt x="21" y="58"/>
                  <a:pt x="21" y="58"/>
                </a:cubicBezTo>
                <a:cubicBezTo>
                  <a:pt x="21" y="58"/>
                  <a:pt x="22" y="58"/>
                  <a:pt x="22" y="58"/>
                </a:cubicBezTo>
                <a:cubicBezTo>
                  <a:pt x="22" y="58"/>
                  <a:pt x="22" y="58"/>
                  <a:pt x="22" y="58"/>
                </a:cubicBezTo>
                <a:cubicBezTo>
                  <a:pt x="22" y="58"/>
                  <a:pt x="22" y="57"/>
                  <a:pt x="22" y="57"/>
                </a:cubicBezTo>
                <a:cubicBezTo>
                  <a:pt x="22" y="57"/>
                  <a:pt x="22" y="57"/>
                  <a:pt x="22" y="57"/>
                </a:cubicBezTo>
                <a:cubicBezTo>
                  <a:pt x="22" y="57"/>
                  <a:pt x="22" y="57"/>
                  <a:pt x="22" y="57"/>
                </a:cubicBezTo>
                <a:cubicBezTo>
                  <a:pt x="23" y="57"/>
                  <a:pt x="23" y="57"/>
                  <a:pt x="23" y="56"/>
                </a:cubicBezTo>
                <a:cubicBezTo>
                  <a:pt x="23" y="56"/>
                  <a:pt x="23" y="56"/>
                  <a:pt x="23" y="56"/>
                </a:cubicBezTo>
                <a:cubicBezTo>
                  <a:pt x="23" y="56"/>
                  <a:pt x="23" y="56"/>
                  <a:pt x="23" y="56"/>
                </a:cubicBezTo>
                <a:cubicBezTo>
                  <a:pt x="23" y="56"/>
                  <a:pt x="23" y="56"/>
                  <a:pt x="23" y="56"/>
                </a:cubicBezTo>
                <a:cubicBezTo>
                  <a:pt x="23" y="56"/>
                  <a:pt x="23" y="55"/>
                  <a:pt x="23" y="55"/>
                </a:cubicBezTo>
                <a:cubicBezTo>
                  <a:pt x="22" y="55"/>
                  <a:pt x="22" y="55"/>
                  <a:pt x="22" y="55"/>
                </a:cubicBezTo>
                <a:cubicBezTo>
                  <a:pt x="22" y="55"/>
                  <a:pt x="22" y="55"/>
                  <a:pt x="22" y="55"/>
                </a:cubicBezTo>
                <a:cubicBezTo>
                  <a:pt x="21" y="53"/>
                  <a:pt x="20" y="51"/>
                  <a:pt x="20" y="49"/>
                </a:cubicBezTo>
                <a:cubicBezTo>
                  <a:pt x="20" y="44"/>
                  <a:pt x="24" y="40"/>
                  <a:pt x="29" y="40"/>
                </a:cubicBezTo>
                <a:cubicBezTo>
                  <a:pt x="34" y="40"/>
                  <a:pt x="38" y="44"/>
                  <a:pt x="38" y="49"/>
                </a:cubicBezTo>
                <a:cubicBezTo>
                  <a:pt x="38" y="51"/>
                  <a:pt x="37" y="53"/>
                  <a:pt x="36" y="55"/>
                </a:cubicBezTo>
                <a:cubicBezTo>
                  <a:pt x="36" y="55"/>
                  <a:pt x="36" y="55"/>
                  <a:pt x="36" y="55"/>
                </a:cubicBezTo>
                <a:cubicBezTo>
                  <a:pt x="36" y="55"/>
                  <a:pt x="35" y="55"/>
                  <a:pt x="35" y="55"/>
                </a:cubicBezTo>
                <a:cubicBezTo>
                  <a:pt x="35" y="55"/>
                  <a:pt x="35" y="56"/>
                  <a:pt x="35" y="56"/>
                </a:cubicBezTo>
                <a:cubicBezTo>
                  <a:pt x="35" y="56"/>
                  <a:pt x="35" y="56"/>
                  <a:pt x="35" y="56"/>
                </a:cubicBezTo>
                <a:cubicBezTo>
                  <a:pt x="35" y="56"/>
                  <a:pt x="35" y="56"/>
                  <a:pt x="35" y="56"/>
                </a:cubicBezTo>
                <a:cubicBezTo>
                  <a:pt x="35" y="56"/>
                  <a:pt x="35" y="56"/>
                  <a:pt x="35" y="57"/>
                </a:cubicBezTo>
                <a:cubicBezTo>
                  <a:pt x="35" y="57"/>
                  <a:pt x="35" y="57"/>
                  <a:pt x="35" y="57"/>
                </a:cubicBezTo>
                <a:cubicBezTo>
                  <a:pt x="36" y="57"/>
                  <a:pt x="36" y="57"/>
                  <a:pt x="36" y="57"/>
                </a:cubicBezTo>
                <a:cubicBezTo>
                  <a:pt x="36" y="57"/>
                  <a:pt x="36" y="57"/>
                  <a:pt x="36" y="57"/>
                </a:cubicBezTo>
                <a:cubicBezTo>
                  <a:pt x="36" y="57"/>
                  <a:pt x="36" y="58"/>
                  <a:pt x="36" y="58"/>
                </a:cubicBezTo>
                <a:cubicBezTo>
                  <a:pt x="36" y="58"/>
                  <a:pt x="36" y="58"/>
                  <a:pt x="36" y="58"/>
                </a:cubicBezTo>
                <a:cubicBezTo>
                  <a:pt x="36" y="58"/>
                  <a:pt x="37" y="58"/>
                  <a:pt x="37" y="58"/>
                </a:cubicBezTo>
                <a:cubicBezTo>
                  <a:pt x="37" y="58"/>
                  <a:pt x="37" y="58"/>
                  <a:pt x="37" y="58"/>
                </a:cubicBezTo>
                <a:cubicBezTo>
                  <a:pt x="37" y="58"/>
                  <a:pt x="37" y="58"/>
                  <a:pt x="37" y="58"/>
                </a:cubicBezTo>
                <a:cubicBezTo>
                  <a:pt x="54" y="58"/>
                  <a:pt x="54" y="58"/>
                  <a:pt x="54" y="58"/>
                </a:cubicBezTo>
                <a:lnTo>
                  <a:pt x="54" y="71"/>
                </a:lnTo>
                <a:close/>
                <a:moveTo>
                  <a:pt x="91" y="54"/>
                </a:moveTo>
                <a:cubicBezTo>
                  <a:pt x="91" y="54"/>
                  <a:pt x="91" y="54"/>
                  <a:pt x="91" y="54"/>
                </a:cubicBezTo>
                <a:cubicBezTo>
                  <a:pt x="91" y="54"/>
                  <a:pt x="91" y="54"/>
                  <a:pt x="91" y="54"/>
                </a:cubicBezTo>
                <a:cubicBezTo>
                  <a:pt x="90" y="54"/>
                  <a:pt x="90" y="54"/>
                  <a:pt x="90" y="54"/>
                </a:cubicBezTo>
                <a:cubicBezTo>
                  <a:pt x="90" y="54"/>
                  <a:pt x="90" y="54"/>
                  <a:pt x="90" y="54"/>
                </a:cubicBezTo>
                <a:cubicBezTo>
                  <a:pt x="90" y="54"/>
                  <a:pt x="90" y="55"/>
                  <a:pt x="90" y="55"/>
                </a:cubicBezTo>
                <a:cubicBezTo>
                  <a:pt x="90" y="55"/>
                  <a:pt x="90" y="55"/>
                  <a:pt x="90" y="55"/>
                </a:cubicBezTo>
                <a:cubicBezTo>
                  <a:pt x="90" y="55"/>
                  <a:pt x="90" y="55"/>
                  <a:pt x="89" y="55"/>
                </a:cubicBezTo>
                <a:cubicBezTo>
                  <a:pt x="89" y="55"/>
                  <a:pt x="89" y="55"/>
                  <a:pt x="89" y="55"/>
                </a:cubicBezTo>
                <a:cubicBezTo>
                  <a:pt x="89" y="56"/>
                  <a:pt x="89" y="56"/>
                  <a:pt x="89" y="56"/>
                </a:cubicBezTo>
                <a:cubicBezTo>
                  <a:pt x="89" y="56"/>
                  <a:pt x="89" y="56"/>
                  <a:pt x="89" y="56"/>
                </a:cubicBezTo>
                <a:cubicBezTo>
                  <a:pt x="89" y="56"/>
                  <a:pt x="89" y="56"/>
                  <a:pt x="89" y="56"/>
                </a:cubicBezTo>
                <a:cubicBezTo>
                  <a:pt x="89" y="56"/>
                  <a:pt x="89" y="57"/>
                  <a:pt x="89" y="57"/>
                </a:cubicBezTo>
                <a:cubicBezTo>
                  <a:pt x="89" y="57"/>
                  <a:pt x="90" y="57"/>
                  <a:pt x="90" y="57"/>
                </a:cubicBezTo>
                <a:cubicBezTo>
                  <a:pt x="90" y="57"/>
                  <a:pt x="90" y="57"/>
                  <a:pt x="90" y="57"/>
                </a:cubicBezTo>
                <a:cubicBezTo>
                  <a:pt x="91" y="59"/>
                  <a:pt x="92" y="61"/>
                  <a:pt x="92" y="63"/>
                </a:cubicBezTo>
                <a:cubicBezTo>
                  <a:pt x="92" y="68"/>
                  <a:pt x="88" y="72"/>
                  <a:pt x="83" y="72"/>
                </a:cubicBezTo>
                <a:cubicBezTo>
                  <a:pt x="78" y="72"/>
                  <a:pt x="74" y="68"/>
                  <a:pt x="74" y="63"/>
                </a:cubicBezTo>
                <a:cubicBezTo>
                  <a:pt x="74" y="61"/>
                  <a:pt x="75" y="59"/>
                  <a:pt x="76" y="57"/>
                </a:cubicBezTo>
                <a:cubicBezTo>
                  <a:pt x="76" y="57"/>
                  <a:pt x="76" y="57"/>
                  <a:pt x="76" y="57"/>
                </a:cubicBezTo>
                <a:cubicBezTo>
                  <a:pt x="76" y="57"/>
                  <a:pt x="76" y="57"/>
                  <a:pt x="77" y="57"/>
                </a:cubicBezTo>
                <a:cubicBezTo>
                  <a:pt x="77" y="57"/>
                  <a:pt x="77" y="56"/>
                  <a:pt x="77" y="56"/>
                </a:cubicBezTo>
                <a:cubicBezTo>
                  <a:pt x="77" y="56"/>
                  <a:pt x="77" y="56"/>
                  <a:pt x="77" y="56"/>
                </a:cubicBezTo>
                <a:cubicBezTo>
                  <a:pt x="77" y="56"/>
                  <a:pt x="77" y="56"/>
                  <a:pt x="77" y="56"/>
                </a:cubicBezTo>
                <a:cubicBezTo>
                  <a:pt x="77" y="56"/>
                  <a:pt x="77" y="56"/>
                  <a:pt x="77" y="55"/>
                </a:cubicBezTo>
                <a:cubicBezTo>
                  <a:pt x="77" y="55"/>
                  <a:pt x="77" y="55"/>
                  <a:pt x="76" y="55"/>
                </a:cubicBezTo>
                <a:cubicBezTo>
                  <a:pt x="76" y="55"/>
                  <a:pt x="76" y="55"/>
                  <a:pt x="76" y="55"/>
                </a:cubicBezTo>
                <a:cubicBezTo>
                  <a:pt x="76" y="55"/>
                  <a:pt x="76" y="55"/>
                  <a:pt x="76" y="55"/>
                </a:cubicBezTo>
                <a:cubicBezTo>
                  <a:pt x="76" y="55"/>
                  <a:pt x="76" y="54"/>
                  <a:pt x="76" y="54"/>
                </a:cubicBezTo>
                <a:cubicBezTo>
                  <a:pt x="76" y="54"/>
                  <a:pt x="76" y="54"/>
                  <a:pt x="76" y="54"/>
                </a:cubicBezTo>
                <a:cubicBezTo>
                  <a:pt x="76" y="54"/>
                  <a:pt x="75" y="54"/>
                  <a:pt x="75" y="54"/>
                </a:cubicBezTo>
                <a:cubicBezTo>
                  <a:pt x="75" y="54"/>
                  <a:pt x="75" y="54"/>
                  <a:pt x="75" y="54"/>
                </a:cubicBezTo>
                <a:cubicBezTo>
                  <a:pt x="75" y="54"/>
                  <a:pt x="75" y="54"/>
                  <a:pt x="75" y="54"/>
                </a:cubicBezTo>
                <a:cubicBezTo>
                  <a:pt x="58" y="54"/>
                  <a:pt x="58" y="54"/>
                  <a:pt x="58" y="54"/>
                </a:cubicBezTo>
                <a:cubicBezTo>
                  <a:pt x="58" y="41"/>
                  <a:pt x="58" y="41"/>
                  <a:pt x="58" y="41"/>
                </a:cubicBezTo>
                <a:cubicBezTo>
                  <a:pt x="60" y="42"/>
                  <a:pt x="61" y="42"/>
                  <a:pt x="63" y="42"/>
                </a:cubicBezTo>
                <a:cubicBezTo>
                  <a:pt x="70" y="42"/>
                  <a:pt x="76" y="36"/>
                  <a:pt x="76" y="29"/>
                </a:cubicBezTo>
                <a:cubicBezTo>
                  <a:pt x="76" y="22"/>
                  <a:pt x="70" y="16"/>
                  <a:pt x="63" y="16"/>
                </a:cubicBezTo>
                <a:cubicBezTo>
                  <a:pt x="61" y="16"/>
                  <a:pt x="60" y="16"/>
                  <a:pt x="58" y="17"/>
                </a:cubicBezTo>
                <a:cubicBezTo>
                  <a:pt x="58" y="4"/>
                  <a:pt x="58" y="4"/>
                  <a:pt x="58" y="4"/>
                </a:cubicBezTo>
                <a:cubicBezTo>
                  <a:pt x="108" y="4"/>
                  <a:pt x="108" y="4"/>
                  <a:pt x="108" y="4"/>
                </a:cubicBezTo>
                <a:cubicBezTo>
                  <a:pt x="108" y="54"/>
                  <a:pt x="108" y="54"/>
                  <a:pt x="108" y="54"/>
                </a:cubicBezTo>
                <a:lnTo>
                  <a:pt x="91"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effectLst/>
              <a:uLnTx/>
              <a:uFillTx/>
              <a:latin typeface="Montserrat" panose="00000500000000000000"/>
            </a:endParaRPr>
          </a:p>
        </p:txBody>
      </p:sp>
      <p:sp>
        <p:nvSpPr>
          <p:cNvPr id="17" name="Oval 14"/>
          <p:cNvSpPr>
            <a:spLocks noChangeArrowheads="1"/>
          </p:cNvSpPr>
          <p:nvPr/>
        </p:nvSpPr>
        <p:spPr bwMode="auto">
          <a:xfrm>
            <a:off x="2748801" y="4292813"/>
            <a:ext cx="864939" cy="864939"/>
          </a:xfrm>
          <a:prstGeom prst="ellipse">
            <a:avLst/>
          </a:prstGeom>
          <a:solidFill>
            <a:srgbClr val="FFFFFF"/>
          </a:solidFill>
          <a:ln w="1905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200">
              <a:latin typeface="Montserrat" panose="00000500000000000000"/>
            </a:endParaRPr>
          </a:p>
        </p:txBody>
      </p:sp>
      <p:sp>
        <p:nvSpPr>
          <p:cNvPr id="18" name="Oval 16"/>
          <p:cNvSpPr>
            <a:spLocks noChangeArrowheads="1"/>
          </p:cNvSpPr>
          <p:nvPr/>
        </p:nvSpPr>
        <p:spPr bwMode="auto">
          <a:xfrm>
            <a:off x="2840100" y="4384112"/>
            <a:ext cx="682341" cy="682341"/>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sz="1200">
              <a:latin typeface="Montserrat" panose="00000500000000000000"/>
            </a:endParaRPr>
          </a:p>
        </p:txBody>
      </p:sp>
      <p:sp>
        <p:nvSpPr>
          <p:cNvPr id="19" name="Rectangle 18"/>
          <p:cNvSpPr/>
          <p:nvPr/>
        </p:nvSpPr>
        <p:spPr>
          <a:xfrm>
            <a:off x="2458406" y="3175265"/>
            <a:ext cx="1398165" cy="4473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22363" tIns="61181" rIns="122363" bIns="61181" rtlCol="0" anchor="ctr"/>
          <a:lstStyle/>
          <a:p>
            <a:pPr algn="ctr"/>
            <a:r>
              <a:rPr lang="en-GB" sz="1400" b="1" dirty="0">
                <a:solidFill>
                  <a:schemeClr val="tx1"/>
                </a:solidFill>
                <a:latin typeface="Montserrat" panose="00000500000000000000"/>
                <a:cs typeface="Calibri" panose="020F0502020204030204" pitchFamily="34" charset="0"/>
              </a:rPr>
              <a:t>1998</a:t>
            </a:r>
          </a:p>
          <a:p>
            <a:pPr algn="ctr"/>
            <a:r>
              <a:rPr lang="en-GB" sz="1400" b="1" dirty="0">
                <a:solidFill>
                  <a:schemeClr val="tx1"/>
                </a:solidFill>
                <a:latin typeface="Montserrat" panose="00000500000000000000"/>
                <a:cs typeface="Calibri" panose="020F0502020204030204" pitchFamily="34" charset="0"/>
              </a:rPr>
              <a:t>KIS </a:t>
            </a:r>
            <a:r>
              <a:rPr lang="en-GB" sz="1400" b="1" dirty="0" err="1">
                <a:solidFill>
                  <a:schemeClr val="tx1"/>
                </a:solidFill>
                <a:latin typeface="Montserrat" panose="00000500000000000000"/>
                <a:cs typeface="Calibri" panose="020F0502020204030204" pitchFamily="34" charset="0"/>
              </a:rPr>
              <a:t>lernt</a:t>
            </a:r>
            <a:r>
              <a:rPr lang="en-GB" sz="1400" b="1" dirty="0">
                <a:solidFill>
                  <a:schemeClr val="tx1"/>
                </a:solidFill>
                <a:latin typeface="Montserrat" panose="00000500000000000000"/>
                <a:cs typeface="Calibri" panose="020F0502020204030204" pitchFamily="34" charset="0"/>
              </a:rPr>
              <a:t> </a:t>
            </a:r>
            <a:r>
              <a:rPr lang="en-GB" sz="1400" b="1" dirty="0" err="1">
                <a:solidFill>
                  <a:schemeClr val="tx1"/>
                </a:solidFill>
                <a:latin typeface="Montserrat" panose="00000500000000000000"/>
                <a:cs typeface="Calibri" panose="020F0502020204030204" pitchFamily="34" charset="0"/>
              </a:rPr>
              <a:t>Arztbrief-schreibung</a:t>
            </a:r>
            <a:r>
              <a:rPr lang="en-GB" sz="1400" b="1" dirty="0">
                <a:solidFill>
                  <a:schemeClr val="tx1"/>
                </a:solidFill>
                <a:latin typeface="Montserrat" panose="00000500000000000000"/>
                <a:cs typeface="Calibri" panose="020F0502020204030204" pitchFamily="34" charset="0"/>
              </a:rPr>
              <a:t> + </a:t>
            </a:r>
            <a:r>
              <a:rPr lang="en-GB" sz="1400" b="1" dirty="0" err="1">
                <a:solidFill>
                  <a:schemeClr val="tx1"/>
                </a:solidFill>
                <a:latin typeface="Montserrat" panose="00000500000000000000"/>
                <a:cs typeface="Calibri" panose="020F0502020204030204" pitchFamily="34" charset="0"/>
              </a:rPr>
              <a:t>scannen</a:t>
            </a:r>
            <a:r>
              <a:rPr lang="en-GB" sz="1400" b="1" dirty="0">
                <a:solidFill>
                  <a:schemeClr val="tx1"/>
                </a:solidFill>
                <a:latin typeface="Montserrat" panose="00000500000000000000"/>
                <a:cs typeface="Calibri" panose="020F0502020204030204" pitchFamily="34" charset="0"/>
              </a:rPr>
              <a:t> </a:t>
            </a:r>
            <a:r>
              <a:rPr lang="en-GB" sz="1400" b="1" dirty="0" err="1">
                <a:solidFill>
                  <a:schemeClr val="tx1"/>
                </a:solidFill>
                <a:latin typeface="Montserrat" panose="00000500000000000000"/>
                <a:cs typeface="Calibri" panose="020F0502020204030204" pitchFamily="34" charset="0"/>
              </a:rPr>
              <a:t>auch</a:t>
            </a:r>
            <a:r>
              <a:rPr lang="en-GB" sz="1400" b="1" dirty="0">
                <a:solidFill>
                  <a:schemeClr val="tx1"/>
                </a:solidFill>
                <a:latin typeface="Montserrat" panose="00000500000000000000"/>
                <a:cs typeface="Calibri" panose="020F0502020204030204" pitchFamily="34" charset="0"/>
              </a:rPr>
              <a:t> in </a:t>
            </a:r>
            <a:r>
              <a:rPr lang="en-GB" sz="1400" b="1" dirty="0" err="1">
                <a:solidFill>
                  <a:schemeClr val="tx1"/>
                </a:solidFill>
                <a:latin typeface="Montserrat" panose="00000500000000000000"/>
                <a:cs typeface="Calibri" panose="020F0502020204030204" pitchFamily="34" charset="0"/>
              </a:rPr>
              <a:t>Farbe</a:t>
            </a:r>
            <a:r>
              <a:rPr lang="en-GB" sz="1400" b="1" dirty="0">
                <a:solidFill>
                  <a:schemeClr val="tx1"/>
                </a:solidFill>
                <a:latin typeface="Montserrat" panose="00000500000000000000"/>
                <a:cs typeface="Calibri" panose="020F0502020204030204" pitchFamily="34" charset="0"/>
              </a:rPr>
              <a:t> 150 dpi</a:t>
            </a:r>
          </a:p>
        </p:txBody>
      </p:sp>
      <p:grpSp>
        <p:nvGrpSpPr>
          <p:cNvPr id="20" name="Group 19"/>
          <p:cNvGrpSpPr/>
          <p:nvPr/>
        </p:nvGrpSpPr>
        <p:grpSpPr>
          <a:xfrm>
            <a:off x="2963817" y="4493081"/>
            <a:ext cx="436618" cy="457613"/>
            <a:chOff x="680186" y="3815984"/>
            <a:chExt cx="415427" cy="435403"/>
          </a:xfrm>
          <a:solidFill>
            <a:schemeClr val="bg1"/>
          </a:solidFill>
        </p:grpSpPr>
        <p:sp>
          <p:nvSpPr>
            <p:cNvPr id="21" name="Freeform 21">
              <a:extLst>
                <a:ext uri="{FF2B5EF4-FFF2-40B4-BE49-F238E27FC236}">
                  <a16:creationId xmlns:a16="http://schemas.microsoft.com/office/drawing/2014/main" id="{76196644-FEC6-4D5D-881D-6DF79730D0FD}"/>
                </a:ext>
              </a:extLst>
            </p:cNvPr>
            <p:cNvSpPr>
              <a:spLocks noEditPoints="1"/>
            </p:cNvSpPr>
            <p:nvPr/>
          </p:nvSpPr>
          <p:spPr bwMode="auto">
            <a:xfrm>
              <a:off x="868365" y="3815984"/>
              <a:ext cx="227248" cy="171051"/>
            </a:xfrm>
            <a:custGeom>
              <a:avLst/>
              <a:gdLst>
                <a:gd name="T0" fmla="*/ 46 w 58"/>
                <a:gd name="T1" fmla="*/ 42 h 42"/>
                <a:gd name="T2" fmla="*/ 12 w 58"/>
                <a:gd name="T3" fmla="*/ 42 h 42"/>
                <a:gd name="T4" fmla="*/ 0 w 58"/>
                <a:gd name="T5" fmla="*/ 30 h 42"/>
                <a:gd name="T6" fmla="*/ 7 w 58"/>
                <a:gd name="T7" fmla="*/ 18 h 42"/>
                <a:gd name="T8" fmla="*/ 23 w 58"/>
                <a:gd name="T9" fmla="*/ 5 h 42"/>
                <a:gd name="T10" fmla="*/ 35 w 58"/>
                <a:gd name="T11" fmla="*/ 0 h 42"/>
                <a:gd name="T12" fmla="*/ 51 w 58"/>
                <a:gd name="T13" fmla="*/ 17 h 42"/>
                <a:gd name="T14" fmla="*/ 51 w 58"/>
                <a:gd name="T15" fmla="*/ 19 h 42"/>
                <a:gd name="T16" fmla="*/ 58 w 58"/>
                <a:gd name="T17" fmla="*/ 30 h 42"/>
                <a:gd name="T18" fmla="*/ 46 w 58"/>
                <a:gd name="T19" fmla="*/ 42 h 42"/>
                <a:gd name="T20" fmla="*/ 21 w 58"/>
                <a:gd name="T21" fmla="*/ 9 h 42"/>
                <a:gd name="T22" fmla="*/ 11 w 58"/>
                <a:gd name="T23" fmla="*/ 18 h 42"/>
                <a:gd name="T24" fmla="*/ 11 w 58"/>
                <a:gd name="T25" fmla="*/ 19 h 42"/>
                <a:gd name="T26" fmla="*/ 12 w 58"/>
                <a:gd name="T27" fmla="*/ 21 h 42"/>
                <a:gd name="T28" fmla="*/ 10 w 58"/>
                <a:gd name="T29" fmla="*/ 22 h 42"/>
                <a:gd name="T30" fmla="*/ 4 w 58"/>
                <a:gd name="T31" fmla="*/ 30 h 42"/>
                <a:gd name="T32" fmla="*/ 12 w 58"/>
                <a:gd name="T33" fmla="*/ 38 h 42"/>
                <a:gd name="T34" fmla="*/ 46 w 58"/>
                <a:gd name="T35" fmla="*/ 38 h 42"/>
                <a:gd name="T36" fmla="*/ 54 w 58"/>
                <a:gd name="T37" fmla="*/ 30 h 42"/>
                <a:gd name="T38" fmla="*/ 49 w 58"/>
                <a:gd name="T39" fmla="*/ 22 h 42"/>
                <a:gd name="T40" fmla="*/ 47 w 58"/>
                <a:gd name="T41" fmla="*/ 21 h 42"/>
                <a:gd name="T42" fmla="*/ 47 w 58"/>
                <a:gd name="T43" fmla="*/ 19 h 42"/>
                <a:gd name="T44" fmla="*/ 47 w 58"/>
                <a:gd name="T45" fmla="*/ 17 h 42"/>
                <a:gd name="T46" fmla="*/ 35 w 58"/>
                <a:gd name="T47" fmla="*/ 4 h 42"/>
                <a:gd name="T48" fmla="*/ 25 w 58"/>
                <a:gd name="T49" fmla="*/ 8 h 42"/>
                <a:gd name="T50" fmla="*/ 25 w 58"/>
                <a:gd name="T51" fmla="*/ 9 h 42"/>
                <a:gd name="T52" fmla="*/ 23 w 58"/>
                <a:gd name="T53" fmla="*/ 9 h 42"/>
                <a:gd name="T54" fmla="*/ 21 w 58"/>
                <a:gd name="T55" fmla="*/ 9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8" h="42">
                  <a:moveTo>
                    <a:pt x="46" y="42"/>
                  </a:moveTo>
                  <a:cubicBezTo>
                    <a:pt x="12" y="42"/>
                    <a:pt x="12" y="42"/>
                    <a:pt x="12" y="42"/>
                  </a:cubicBezTo>
                  <a:cubicBezTo>
                    <a:pt x="5" y="42"/>
                    <a:pt x="0" y="36"/>
                    <a:pt x="0" y="30"/>
                  </a:cubicBezTo>
                  <a:cubicBezTo>
                    <a:pt x="0" y="25"/>
                    <a:pt x="3" y="20"/>
                    <a:pt x="7" y="18"/>
                  </a:cubicBezTo>
                  <a:cubicBezTo>
                    <a:pt x="8" y="10"/>
                    <a:pt x="15" y="3"/>
                    <a:pt x="23" y="5"/>
                  </a:cubicBezTo>
                  <a:cubicBezTo>
                    <a:pt x="26" y="2"/>
                    <a:pt x="31" y="0"/>
                    <a:pt x="35" y="0"/>
                  </a:cubicBezTo>
                  <a:cubicBezTo>
                    <a:pt x="44" y="0"/>
                    <a:pt x="51" y="8"/>
                    <a:pt x="51" y="17"/>
                  </a:cubicBezTo>
                  <a:cubicBezTo>
                    <a:pt x="51" y="18"/>
                    <a:pt x="51" y="18"/>
                    <a:pt x="51" y="19"/>
                  </a:cubicBezTo>
                  <a:cubicBezTo>
                    <a:pt x="55" y="21"/>
                    <a:pt x="58" y="25"/>
                    <a:pt x="58" y="30"/>
                  </a:cubicBezTo>
                  <a:cubicBezTo>
                    <a:pt x="58" y="36"/>
                    <a:pt x="53" y="42"/>
                    <a:pt x="46" y="42"/>
                  </a:cubicBezTo>
                  <a:close/>
                  <a:moveTo>
                    <a:pt x="21" y="9"/>
                  </a:moveTo>
                  <a:cubicBezTo>
                    <a:pt x="16" y="9"/>
                    <a:pt x="11" y="13"/>
                    <a:pt x="11" y="18"/>
                  </a:cubicBezTo>
                  <a:cubicBezTo>
                    <a:pt x="11" y="19"/>
                    <a:pt x="11" y="19"/>
                    <a:pt x="11" y="19"/>
                  </a:cubicBezTo>
                  <a:cubicBezTo>
                    <a:pt x="12" y="21"/>
                    <a:pt x="12" y="21"/>
                    <a:pt x="12" y="21"/>
                  </a:cubicBezTo>
                  <a:cubicBezTo>
                    <a:pt x="10" y="22"/>
                    <a:pt x="10" y="22"/>
                    <a:pt x="10" y="22"/>
                  </a:cubicBezTo>
                  <a:cubicBezTo>
                    <a:pt x="6" y="23"/>
                    <a:pt x="4" y="26"/>
                    <a:pt x="4" y="30"/>
                  </a:cubicBezTo>
                  <a:cubicBezTo>
                    <a:pt x="4" y="34"/>
                    <a:pt x="8" y="38"/>
                    <a:pt x="12" y="38"/>
                  </a:cubicBezTo>
                  <a:cubicBezTo>
                    <a:pt x="46" y="38"/>
                    <a:pt x="46" y="38"/>
                    <a:pt x="46" y="38"/>
                  </a:cubicBezTo>
                  <a:cubicBezTo>
                    <a:pt x="50" y="38"/>
                    <a:pt x="54" y="34"/>
                    <a:pt x="54" y="30"/>
                  </a:cubicBezTo>
                  <a:cubicBezTo>
                    <a:pt x="54" y="26"/>
                    <a:pt x="52" y="23"/>
                    <a:pt x="49" y="22"/>
                  </a:cubicBezTo>
                  <a:cubicBezTo>
                    <a:pt x="47" y="21"/>
                    <a:pt x="47" y="21"/>
                    <a:pt x="47" y="21"/>
                  </a:cubicBezTo>
                  <a:cubicBezTo>
                    <a:pt x="47" y="19"/>
                    <a:pt x="47" y="19"/>
                    <a:pt x="47" y="19"/>
                  </a:cubicBezTo>
                  <a:cubicBezTo>
                    <a:pt x="47" y="19"/>
                    <a:pt x="47" y="18"/>
                    <a:pt x="47" y="17"/>
                  </a:cubicBezTo>
                  <a:cubicBezTo>
                    <a:pt x="47" y="10"/>
                    <a:pt x="42" y="4"/>
                    <a:pt x="35" y="4"/>
                  </a:cubicBezTo>
                  <a:cubicBezTo>
                    <a:pt x="31" y="4"/>
                    <a:pt x="28" y="6"/>
                    <a:pt x="25" y="8"/>
                  </a:cubicBezTo>
                  <a:cubicBezTo>
                    <a:pt x="25" y="9"/>
                    <a:pt x="25" y="9"/>
                    <a:pt x="25" y="9"/>
                  </a:cubicBezTo>
                  <a:cubicBezTo>
                    <a:pt x="23" y="9"/>
                    <a:pt x="23" y="9"/>
                    <a:pt x="23" y="9"/>
                  </a:cubicBezTo>
                  <a:cubicBezTo>
                    <a:pt x="23" y="9"/>
                    <a:pt x="22" y="9"/>
                    <a:pt x="21" y="9"/>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GB" sz="1200">
                <a:latin typeface="Montserrat" panose="00000500000000000000"/>
              </a:endParaRPr>
            </a:p>
          </p:txBody>
        </p:sp>
        <p:sp>
          <p:nvSpPr>
            <p:cNvPr id="22" name="Freeform 22">
              <a:extLst>
                <a:ext uri="{FF2B5EF4-FFF2-40B4-BE49-F238E27FC236}">
                  <a16:creationId xmlns:a16="http://schemas.microsoft.com/office/drawing/2014/main" id="{1F7DF096-08B4-448B-93EA-EB9F0C63A443}"/>
                </a:ext>
              </a:extLst>
            </p:cNvPr>
            <p:cNvSpPr>
              <a:spLocks/>
            </p:cNvSpPr>
            <p:nvPr/>
          </p:nvSpPr>
          <p:spPr bwMode="auto">
            <a:xfrm>
              <a:off x="703627" y="4060391"/>
              <a:ext cx="15627" cy="32452"/>
            </a:xfrm>
            <a:custGeom>
              <a:avLst/>
              <a:gdLst>
                <a:gd name="T0" fmla="*/ 2 w 4"/>
                <a:gd name="T1" fmla="*/ 8 h 8"/>
                <a:gd name="T2" fmla="*/ 0 w 4"/>
                <a:gd name="T3" fmla="*/ 6 h 8"/>
                <a:gd name="T4" fmla="*/ 0 w 4"/>
                <a:gd name="T5" fmla="*/ 2 h 8"/>
                <a:gd name="T6" fmla="*/ 2 w 4"/>
                <a:gd name="T7" fmla="*/ 0 h 8"/>
                <a:gd name="T8" fmla="*/ 4 w 4"/>
                <a:gd name="T9" fmla="*/ 2 h 8"/>
                <a:gd name="T10" fmla="*/ 4 w 4"/>
                <a:gd name="T11" fmla="*/ 6 h 8"/>
                <a:gd name="T12" fmla="*/ 2 w 4"/>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4" h="8">
                  <a:moveTo>
                    <a:pt x="2" y="8"/>
                  </a:moveTo>
                  <a:cubicBezTo>
                    <a:pt x="1" y="8"/>
                    <a:pt x="0" y="7"/>
                    <a:pt x="0" y="6"/>
                  </a:cubicBezTo>
                  <a:cubicBezTo>
                    <a:pt x="0" y="2"/>
                    <a:pt x="0" y="2"/>
                    <a:pt x="0" y="2"/>
                  </a:cubicBezTo>
                  <a:cubicBezTo>
                    <a:pt x="0" y="1"/>
                    <a:pt x="1" y="0"/>
                    <a:pt x="2" y="0"/>
                  </a:cubicBezTo>
                  <a:cubicBezTo>
                    <a:pt x="3" y="0"/>
                    <a:pt x="4" y="1"/>
                    <a:pt x="4" y="2"/>
                  </a:cubicBezTo>
                  <a:cubicBezTo>
                    <a:pt x="4" y="6"/>
                    <a:pt x="4" y="6"/>
                    <a:pt x="4" y="6"/>
                  </a:cubicBezTo>
                  <a:cubicBezTo>
                    <a:pt x="4" y="7"/>
                    <a:pt x="3" y="8"/>
                    <a:pt x="2" y="8"/>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GB" sz="1200">
                <a:latin typeface="Montserrat" panose="00000500000000000000"/>
              </a:endParaRPr>
            </a:p>
          </p:txBody>
        </p:sp>
        <p:sp>
          <p:nvSpPr>
            <p:cNvPr id="23" name="Freeform 23">
              <a:extLst>
                <a:ext uri="{FF2B5EF4-FFF2-40B4-BE49-F238E27FC236}">
                  <a16:creationId xmlns:a16="http://schemas.microsoft.com/office/drawing/2014/main" id="{5692A7C9-0125-49D5-BA2B-D5741C91E4D5}"/>
                </a:ext>
              </a:extLst>
            </p:cNvPr>
            <p:cNvSpPr>
              <a:spLocks noEditPoints="1"/>
            </p:cNvSpPr>
            <p:nvPr/>
          </p:nvSpPr>
          <p:spPr bwMode="auto">
            <a:xfrm>
              <a:off x="703627" y="3889340"/>
              <a:ext cx="15627" cy="158543"/>
            </a:xfrm>
            <a:custGeom>
              <a:avLst/>
              <a:gdLst>
                <a:gd name="T0" fmla="*/ 2 w 4"/>
                <a:gd name="T1" fmla="*/ 39 h 39"/>
                <a:gd name="T2" fmla="*/ 0 w 4"/>
                <a:gd name="T3" fmla="*/ 37 h 39"/>
                <a:gd name="T4" fmla="*/ 0 w 4"/>
                <a:gd name="T5" fmla="*/ 30 h 39"/>
                <a:gd name="T6" fmla="*/ 2 w 4"/>
                <a:gd name="T7" fmla="*/ 28 h 39"/>
                <a:gd name="T8" fmla="*/ 4 w 4"/>
                <a:gd name="T9" fmla="*/ 30 h 39"/>
                <a:gd name="T10" fmla="*/ 4 w 4"/>
                <a:gd name="T11" fmla="*/ 37 h 39"/>
                <a:gd name="T12" fmla="*/ 2 w 4"/>
                <a:gd name="T13" fmla="*/ 39 h 39"/>
                <a:gd name="T14" fmla="*/ 2 w 4"/>
                <a:gd name="T15" fmla="*/ 25 h 39"/>
                <a:gd name="T16" fmla="*/ 0 w 4"/>
                <a:gd name="T17" fmla="*/ 23 h 39"/>
                <a:gd name="T18" fmla="*/ 0 w 4"/>
                <a:gd name="T19" fmla="*/ 16 h 39"/>
                <a:gd name="T20" fmla="*/ 2 w 4"/>
                <a:gd name="T21" fmla="*/ 14 h 39"/>
                <a:gd name="T22" fmla="*/ 4 w 4"/>
                <a:gd name="T23" fmla="*/ 16 h 39"/>
                <a:gd name="T24" fmla="*/ 4 w 4"/>
                <a:gd name="T25" fmla="*/ 23 h 39"/>
                <a:gd name="T26" fmla="*/ 2 w 4"/>
                <a:gd name="T27" fmla="*/ 25 h 39"/>
                <a:gd name="T28" fmla="*/ 2 w 4"/>
                <a:gd name="T29" fmla="*/ 11 h 39"/>
                <a:gd name="T30" fmla="*/ 0 w 4"/>
                <a:gd name="T31" fmla="*/ 9 h 39"/>
                <a:gd name="T32" fmla="*/ 0 w 4"/>
                <a:gd name="T33" fmla="*/ 2 h 39"/>
                <a:gd name="T34" fmla="*/ 2 w 4"/>
                <a:gd name="T35" fmla="*/ 0 h 39"/>
                <a:gd name="T36" fmla="*/ 4 w 4"/>
                <a:gd name="T37" fmla="*/ 2 h 39"/>
                <a:gd name="T38" fmla="*/ 4 w 4"/>
                <a:gd name="T39" fmla="*/ 9 h 39"/>
                <a:gd name="T40" fmla="*/ 2 w 4"/>
                <a:gd name="T41" fmla="*/ 1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39">
                  <a:moveTo>
                    <a:pt x="2" y="39"/>
                  </a:moveTo>
                  <a:cubicBezTo>
                    <a:pt x="1" y="39"/>
                    <a:pt x="0" y="38"/>
                    <a:pt x="0" y="37"/>
                  </a:cubicBezTo>
                  <a:cubicBezTo>
                    <a:pt x="0" y="30"/>
                    <a:pt x="0" y="30"/>
                    <a:pt x="0" y="30"/>
                  </a:cubicBezTo>
                  <a:cubicBezTo>
                    <a:pt x="0" y="29"/>
                    <a:pt x="1" y="28"/>
                    <a:pt x="2" y="28"/>
                  </a:cubicBezTo>
                  <a:cubicBezTo>
                    <a:pt x="3" y="28"/>
                    <a:pt x="4" y="29"/>
                    <a:pt x="4" y="30"/>
                  </a:cubicBezTo>
                  <a:cubicBezTo>
                    <a:pt x="4" y="37"/>
                    <a:pt x="4" y="37"/>
                    <a:pt x="4" y="37"/>
                  </a:cubicBezTo>
                  <a:cubicBezTo>
                    <a:pt x="4" y="38"/>
                    <a:pt x="3" y="39"/>
                    <a:pt x="2" y="39"/>
                  </a:cubicBezTo>
                  <a:close/>
                  <a:moveTo>
                    <a:pt x="2" y="25"/>
                  </a:moveTo>
                  <a:cubicBezTo>
                    <a:pt x="1" y="25"/>
                    <a:pt x="0" y="24"/>
                    <a:pt x="0" y="23"/>
                  </a:cubicBezTo>
                  <a:cubicBezTo>
                    <a:pt x="0" y="16"/>
                    <a:pt x="0" y="16"/>
                    <a:pt x="0" y="16"/>
                  </a:cubicBezTo>
                  <a:cubicBezTo>
                    <a:pt x="0" y="15"/>
                    <a:pt x="1" y="14"/>
                    <a:pt x="2" y="14"/>
                  </a:cubicBezTo>
                  <a:cubicBezTo>
                    <a:pt x="3" y="14"/>
                    <a:pt x="4" y="15"/>
                    <a:pt x="4" y="16"/>
                  </a:cubicBezTo>
                  <a:cubicBezTo>
                    <a:pt x="4" y="23"/>
                    <a:pt x="4" y="23"/>
                    <a:pt x="4" y="23"/>
                  </a:cubicBezTo>
                  <a:cubicBezTo>
                    <a:pt x="4" y="24"/>
                    <a:pt x="3" y="25"/>
                    <a:pt x="2" y="25"/>
                  </a:cubicBezTo>
                  <a:close/>
                  <a:moveTo>
                    <a:pt x="2" y="11"/>
                  </a:moveTo>
                  <a:cubicBezTo>
                    <a:pt x="1" y="11"/>
                    <a:pt x="0" y="10"/>
                    <a:pt x="0" y="9"/>
                  </a:cubicBezTo>
                  <a:cubicBezTo>
                    <a:pt x="0" y="2"/>
                    <a:pt x="0" y="2"/>
                    <a:pt x="0" y="2"/>
                  </a:cubicBezTo>
                  <a:cubicBezTo>
                    <a:pt x="0" y="1"/>
                    <a:pt x="1" y="0"/>
                    <a:pt x="2" y="0"/>
                  </a:cubicBezTo>
                  <a:cubicBezTo>
                    <a:pt x="3" y="0"/>
                    <a:pt x="4" y="1"/>
                    <a:pt x="4" y="2"/>
                  </a:cubicBezTo>
                  <a:cubicBezTo>
                    <a:pt x="4" y="9"/>
                    <a:pt x="4" y="9"/>
                    <a:pt x="4" y="9"/>
                  </a:cubicBezTo>
                  <a:cubicBezTo>
                    <a:pt x="4" y="10"/>
                    <a:pt x="3" y="11"/>
                    <a:pt x="2" y="1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GB" sz="1200">
                <a:latin typeface="Montserrat" panose="00000500000000000000"/>
              </a:endParaRPr>
            </a:p>
          </p:txBody>
        </p:sp>
        <p:sp>
          <p:nvSpPr>
            <p:cNvPr id="24" name="Freeform 24">
              <a:extLst>
                <a:ext uri="{FF2B5EF4-FFF2-40B4-BE49-F238E27FC236}">
                  <a16:creationId xmlns:a16="http://schemas.microsoft.com/office/drawing/2014/main" id="{039EBC39-CB1B-4E70-BA6B-4962FC8939A4}"/>
                </a:ext>
              </a:extLst>
            </p:cNvPr>
            <p:cNvSpPr>
              <a:spLocks/>
            </p:cNvSpPr>
            <p:nvPr/>
          </p:nvSpPr>
          <p:spPr bwMode="auto">
            <a:xfrm>
              <a:off x="703627" y="3844718"/>
              <a:ext cx="31254" cy="32452"/>
            </a:xfrm>
            <a:custGeom>
              <a:avLst/>
              <a:gdLst>
                <a:gd name="T0" fmla="*/ 2 w 8"/>
                <a:gd name="T1" fmla="*/ 8 h 8"/>
                <a:gd name="T2" fmla="*/ 0 w 8"/>
                <a:gd name="T3" fmla="*/ 6 h 8"/>
                <a:gd name="T4" fmla="*/ 0 w 8"/>
                <a:gd name="T5" fmla="*/ 2 h 8"/>
                <a:gd name="T6" fmla="*/ 2 w 8"/>
                <a:gd name="T7" fmla="*/ 0 h 8"/>
                <a:gd name="T8" fmla="*/ 6 w 8"/>
                <a:gd name="T9" fmla="*/ 0 h 8"/>
                <a:gd name="T10" fmla="*/ 8 w 8"/>
                <a:gd name="T11" fmla="*/ 2 h 8"/>
                <a:gd name="T12" fmla="*/ 6 w 8"/>
                <a:gd name="T13" fmla="*/ 4 h 8"/>
                <a:gd name="T14" fmla="*/ 4 w 8"/>
                <a:gd name="T15" fmla="*/ 4 h 8"/>
                <a:gd name="T16" fmla="*/ 4 w 8"/>
                <a:gd name="T17" fmla="*/ 6 h 8"/>
                <a:gd name="T18" fmla="*/ 2 w 8"/>
                <a:gd name="T19"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8">
                  <a:moveTo>
                    <a:pt x="2" y="8"/>
                  </a:moveTo>
                  <a:cubicBezTo>
                    <a:pt x="1" y="8"/>
                    <a:pt x="0" y="7"/>
                    <a:pt x="0" y="6"/>
                  </a:cubicBezTo>
                  <a:cubicBezTo>
                    <a:pt x="0" y="2"/>
                    <a:pt x="0" y="2"/>
                    <a:pt x="0" y="2"/>
                  </a:cubicBezTo>
                  <a:cubicBezTo>
                    <a:pt x="0" y="1"/>
                    <a:pt x="1" y="0"/>
                    <a:pt x="2" y="0"/>
                  </a:cubicBezTo>
                  <a:cubicBezTo>
                    <a:pt x="6" y="0"/>
                    <a:pt x="6" y="0"/>
                    <a:pt x="6" y="0"/>
                  </a:cubicBezTo>
                  <a:cubicBezTo>
                    <a:pt x="7" y="0"/>
                    <a:pt x="8" y="1"/>
                    <a:pt x="8" y="2"/>
                  </a:cubicBezTo>
                  <a:cubicBezTo>
                    <a:pt x="8" y="3"/>
                    <a:pt x="7" y="4"/>
                    <a:pt x="6" y="4"/>
                  </a:cubicBezTo>
                  <a:cubicBezTo>
                    <a:pt x="4" y="4"/>
                    <a:pt x="4" y="4"/>
                    <a:pt x="4" y="4"/>
                  </a:cubicBezTo>
                  <a:cubicBezTo>
                    <a:pt x="4" y="6"/>
                    <a:pt x="4" y="6"/>
                    <a:pt x="4" y="6"/>
                  </a:cubicBezTo>
                  <a:cubicBezTo>
                    <a:pt x="4" y="7"/>
                    <a:pt x="3" y="8"/>
                    <a:pt x="2" y="8"/>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GB" sz="1200">
                <a:latin typeface="Montserrat" panose="00000500000000000000"/>
              </a:endParaRPr>
            </a:p>
          </p:txBody>
        </p:sp>
        <p:sp>
          <p:nvSpPr>
            <p:cNvPr id="25" name="Freeform 25">
              <a:extLst>
                <a:ext uri="{FF2B5EF4-FFF2-40B4-BE49-F238E27FC236}">
                  <a16:creationId xmlns:a16="http://schemas.microsoft.com/office/drawing/2014/main" id="{36AC288B-93E7-48A6-9FC3-52E07C55E007}"/>
                </a:ext>
              </a:extLst>
            </p:cNvPr>
            <p:cNvSpPr>
              <a:spLocks noEditPoints="1"/>
            </p:cNvSpPr>
            <p:nvPr/>
          </p:nvSpPr>
          <p:spPr bwMode="auto">
            <a:xfrm>
              <a:off x="746603" y="3844718"/>
              <a:ext cx="94416" cy="16227"/>
            </a:xfrm>
            <a:custGeom>
              <a:avLst/>
              <a:gdLst>
                <a:gd name="T0" fmla="*/ 22 w 24"/>
                <a:gd name="T1" fmla="*/ 4 h 4"/>
                <a:gd name="T2" fmla="*/ 15 w 24"/>
                <a:gd name="T3" fmla="*/ 4 h 4"/>
                <a:gd name="T4" fmla="*/ 13 w 24"/>
                <a:gd name="T5" fmla="*/ 2 h 4"/>
                <a:gd name="T6" fmla="*/ 15 w 24"/>
                <a:gd name="T7" fmla="*/ 0 h 4"/>
                <a:gd name="T8" fmla="*/ 22 w 24"/>
                <a:gd name="T9" fmla="*/ 0 h 4"/>
                <a:gd name="T10" fmla="*/ 24 w 24"/>
                <a:gd name="T11" fmla="*/ 2 h 4"/>
                <a:gd name="T12" fmla="*/ 22 w 24"/>
                <a:gd name="T13" fmla="*/ 4 h 4"/>
                <a:gd name="T14" fmla="*/ 8 w 24"/>
                <a:gd name="T15" fmla="*/ 4 h 4"/>
                <a:gd name="T16" fmla="*/ 2 w 24"/>
                <a:gd name="T17" fmla="*/ 4 h 4"/>
                <a:gd name="T18" fmla="*/ 0 w 24"/>
                <a:gd name="T19" fmla="*/ 2 h 4"/>
                <a:gd name="T20" fmla="*/ 2 w 24"/>
                <a:gd name="T21" fmla="*/ 0 h 4"/>
                <a:gd name="T22" fmla="*/ 8 w 24"/>
                <a:gd name="T23" fmla="*/ 0 h 4"/>
                <a:gd name="T24" fmla="*/ 10 w 24"/>
                <a:gd name="T25" fmla="*/ 2 h 4"/>
                <a:gd name="T26" fmla="*/ 8 w 24"/>
                <a:gd name="T27"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4">
                  <a:moveTo>
                    <a:pt x="22" y="4"/>
                  </a:moveTo>
                  <a:cubicBezTo>
                    <a:pt x="15" y="4"/>
                    <a:pt x="15" y="4"/>
                    <a:pt x="15" y="4"/>
                  </a:cubicBezTo>
                  <a:cubicBezTo>
                    <a:pt x="14" y="4"/>
                    <a:pt x="13" y="3"/>
                    <a:pt x="13" y="2"/>
                  </a:cubicBezTo>
                  <a:cubicBezTo>
                    <a:pt x="13" y="1"/>
                    <a:pt x="14" y="0"/>
                    <a:pt x="15" y="0"/>
                  </a:cubicBezTo>
                  <a:cubicBezTo>
                    <a:pt x="22" y="0"/>
                    <a:pt x="22" y="0"/>
                    <a:pt x="22" y="0"/>
                  </a:cubicBezTo>
                  <a:cubicBezTo>
                    <a:pt x="23" y="0"/>
                    <a:pt x="24" y="1"/>
                    <a:pt x="24" y="2"/>
                  </a:cubicBezTo>
                  <a:cubicBezTo>
                    <a:pt x="24" y="3"/>
                    <a:pt x="23" y="4"/>
                    <a:pt x="22" y="4"/>
                  </a:cubicBezTo>
                  <a:close/>
                  <a:moveTo>
                    <a:pt x="8" y="4"/>
                  </a:moveTo>
                  <a:cubicBezTo>
                    <a:pt x="2" y="4"/>
                    <a:pt x="2" y="4"/>
                    <a:pt x="2" y="4"/>
                  </a:cubicBezTo>
                  <a:cubicBezTo>
                    <a:pt x="1" y="4"/>
                    <a:pt x="0" y="3"/>
                    <a:pt x="0" y="2"/>
                  </a:cubicBezTo>
                  <a:cubicBezTo>
                    <a:pt x="0" y="1"/>
                    <a:pt x="1" y="0"/>
                    <a:pt x="2" y="0"/>
                  </a:cubicBezTo>
                  <a:cubicBezTo>
                    <a:pt x="8" y="0"/>
                    <a:pt x="8" y="0"/>
                    <a:pt x="8" y="0"/>
                  </a:cubicBezTo>
                  <a:cubicBezTo>
                    <a:pt x="9" y="0"/>
                    <a:pt x="10" y="1"/>
                    <a:pt x="10" y="2"/>
                  </a:cubicBezTo>
                  <a:cubicBezTo>
                    <a:pt x="10" y="3"/>
                    <a:pt x="9" y="4"/>
                    <a:pt x="8" y="4"/>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GB" sz="1200">
                <a:latin typeface="Montserrat" panose="00000500000000000000"/>
              </a:endParaRPr>
            </a:p>
          </p:txBody>
        </p:sp>
        <p:sp>
          <p:nvSpPr>
            <p:cNvPr id="26" name="Freeform 26">
              <a:extLst>
                <a:ext uri="{FF2B5EF4-FFF2-40B4-BE49-F238E27FC236}">
                  <a16:creationId xmlns:a16="http://schemas.microsoft.com/office/drawing/2014/main" id="{DFAD5228-6F41-40C5-A7AA-D06DA2E1B6AA}"/>
                </a:ext>
              </a:extLst>
            </p:cNvPr>
            <p:cNvSpPr>
              <a:spLocks/>
            </p:cNvSpPr>
            <p:nvPr/>
          </p:nvSpPr>
          <p:spPr bwMode="auto">
            <a:xfrm>
              <a:off x="848831" y="3844718"/>
              <a:ext cx="31254" cy="16227"/>
            </a:xfrm>
            <a:custGeom>
              <a:avLst/>
              <a:gdLst>
                <a:gd name="T0" fmla="*/ 6 w 8"/>
                <a:gd name="T1" fmla="*/ 4 h 4"/>
                <a:gd name="T2" fmla="*/ 2 w 8"/>
                <a:gd name="T3" fmla="*/ 4 h 4"/>
                <a:gd name="T4" fmla="*/ 0 w 8"/>
                <a:gd name="T5" fmla="*/ 2 h 4"/>
                <a:gd name="T6" fmla="*/ 2 w 8"/>
                <a:gd name="T7" fmla="*/ 0 h 4"/>
                <a:gd name="T8" fmla="*/ 6 w 8"/>
                <a:gd name="T9" fmla="*/ 0 h 4"/>
                <a:gd name="T10" fmla="*/ 8 w 8"/>
                <a:gd name="T11" fmla="*/ 2 h 4"/>
                <a:gd name="T12" fmla="*/ 6 w 8"/>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6" y="4"/>
                  </a:moveTo>
                  <a:cubicBezTo>
                    <a:pt x="2" y="4"/>
                    <a:pt x="2" y="4"/>
                    <a:pt x="2" y="4"/>
                  </a:cubicBezTo>
                  <a:cubicBezTo>
                    <a:pt x="1" y="4"/>
                    <a:pt x="0" y="3"/>
                    <a:pt x="0" y="2"/>
                  </a:cubicBezTo>
                  <a:cubicBezTo>
                    <a:pt x="0" y="1"/>
                    <a:pt x="1" y="0"/>
                    <a:pt x="2" y="0"/>
                  </a:cubicBezTo>
                  <a:cubicBezTo>
                    <a:pt x="6" y="0"/>
                    <a:pt x="6" y="0"/>
                    <a:pt x="6" y="0"/>
                  </a:cubicBezTo>
                  <a:cubicBezTo>
                    <a:pt x="7" y="0"/>
                    <a:pt x="8" y="1"/>
                    <a:pt x="8" y="2"/>
                  </a:cubicBezTo>
                  <a:cubicBezTo>
                    <a:pt x="8" y="3"/>
                    <a:pt x="7" y="4"/>
                    <a:pt x="6" y="4"/>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GB" sz="1200">
                <a:latin typeface="Montserrat" panose="00000500000000000000"/>
              </a:endParaRPr>
            </a:p>
          </p:txBody>
        </p:sp>
        <p:sp>
          <p:nvSpPr>
            <p:cNvPr id="27" name="Freeform 27">
              <a:extLst>
                <a:ext uri="{FF2B5EF4-FFF2-40B4-BE49-F238E27FC236}">
                  <a16:creationId xmlns:a16="http://schemas.microsoft.com/office/drawing/2014/main" id="{443C19A9-63AF-4069-8831-1FC7B7C0F240}"/>
                </a:ext>
              </a:extLst>
            </p:cNvPr>
            <p:cNvSpPr>
              <a:spLocks/>
            </p:cNvSpPr>
            <p:nvPr/>
          </p:nvSpPr>
          <p:spPr bwMode="auto">
            <a:xfrm>
              <a:off x="1040917" y="4027600"/>
              <a:ext cx="15627" cy="32791"/>
            </a:xfrm>
            <a:custGeom>
              <a:avLst/>
              <a:gdLst>
                <a:gd name="T0" fmla="*/ 2 w 4"/>
                <a:gd name="T1" fmla="*/ 8 h 8"/>
                <a:gd name="T2" fmla="*/ 0 w 4"/>
                <a:gd name="T3" fmla="*/ 6 h 8"/>
                <a:gd name="T4" fmla="*/ 0 w 4"/>
                <a:gd name="T5" fmla="*/ 2 h 8"/>
                <a:gd name="T6" fmla="*/ 2 w 4"/>
                <a:gd name="T7" fmla="*/ 0 h 8"/>
                <a:gd name="T8" fmla="*/ 4 w 4"/>
                <a:gd name="T9" fmla="*/ 2 h 8"/>
                <a:gd name="T10" fmla="*/ 4 w 4"/>
                <a:gd name="T11" fmla="*/ 6 h 8"/>
                <a:gd name="T12" fmla="*/ 2 w 4"/>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4" h="8">
                  <a:moveTo>
                    <a:pt x="2" y="8"/>
                  </a:moveTo>
                  <a:cubicBezTo>
                    <a:pt x="1" y="8"/>
                    <a:pt x="0" y="7"/>
                    <a:pt x="0" y="6"/>
                  </a:cubicBezTo>
                  <a:cubicBezTo>
                    <a:pt x="0" y="2"/>
                    <a:pt x="0" y="2"/>
                    <a:pt x="0" y="2"/>
                  </a:cubicBezTo>
                  <a:cubicBezTo>
                    <a:pt x="0" y="1"/>
                    <a:pt x="1" y="0"/>
                    <a:pt x="2" y="0"/>
                  </a:cubicBezTo>
                  <a:cubicBezTo>
                    <a:pt x="3" y="0"/>
                    <a:pt x="4" y="1"/>
                    <a:pt x="4" y="2"/>
                  </a:cubicBezTo>
                  <a:cubicBezTo>
                    <a:pt x="4" y="6"/>
                    <a:pt x="4" y="6"/>
                    <a:pt x="4" y="6"/>
                  </a:cubicBezTo>
                  <a:cubicBezTo>
                    <a:pt x="4" y="7"/>
                    <a:pt x="3" y="8"/>
                    <a:pt x="2" y="8"/>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GB" sz="1200">
                <a:latin typeface="Montserrat" panose="00000500000000000000"/>
              </a:endParaRPr>
            </a:p>
          </p:txBody>
        </p:sp>
        <p:sp>
          <p:nvSpPr>
            <p:cNvPr id="28" name="Freeform 28">
              <a:extLst>
                <a:ext uri="{FF2B5EF4-FFF2-40B4-BE49-F238E27FC236}">
                  <a16:creationId xmlns:a16="http://schemas.microsoft.com/office/drawing/2014/main" id="{9CFCCD1B-108C-425F-A377-D50DA9BDC70E}"/>
                </a:ext>
              </a:extLst>
            </p:cNvPr>
            <p:cNvSpPr>
              <a:spLocks noEditPoints="1"/>
            </p:cNvSpPr>
            <p:nvPr/>
          </p:nvSpPr>
          <p:spPr bwMode="auto">
            <a:xfrm>
              <a:off x="1040917" y="4068504"/>
              <a:ext cx="15627" cy="97695"/>
            </a:xfrm>
            <a:custGeom>
              <a:avLst/>
              <a:gdLst>
                <a:gd name="T0" fmla="*/ 2 w 4"/>
                <a:gd name="T1" fmla="*/ 24 h 24"/>
                <a:gd name="T2" fmla="*/ 0 w 4"/>
                <a:gd name="T3" fmla="*/ 22 h 24"/>
                <a:gd name="T4" fmla="*/ 0 w 4"/>
                <a:gd name="T5" fmla="*/ 16 h 24"/>
                <a:gd name="T6" fmla="*/ 2 w 4"/>
                <a:gd name="T7" fmla="*/ 14 h 24"/>
                <a:gd name="T8" fmla="*/ 4 w 4"/>
                <a:gd name="T9" fmla="*/ 16 h 24"/>
                <a:gd name="T10" fmla="*/ 4 w 4"/>
                <a:gd name="T11" fmla="*/ 22 h 24"/>
                <a:gd name="T12" fmla="*/ 2 w 4"/>
                <a:gd name="T13" fmla="*/ 24 h 24"/>
                <a:gd name="T14" fmla="*/ 2 w 4"/>
                <a:gd name="T15" fmla="*/ 11 h 24"/>
                <a:gd name="T16" fmla="*/ 0 w 4"/>
                <a:gd name="T17" fmla="*/ 9 h 24"/>
                <a:gd name="T18" fmla="*/ 0 w 4"/>
                <a:gd name="T19" fmla="*/ 2 h 24"/>
                <a:gd name="T20" fmla="*/ 2 w 4"/>
                <a:gd name="T21" fmla="*/ 0 h 24"/>
                <a:gd name="T22" fmla="*/ 4 w 4"/>
                <a:gd name="T23" fmla="*/ 2 h 24"/>
                <a:gd name="T24" fmla="*/ 4 w 4"/>
                <a:gd name="T25" fmla="*/ 9 h 24"/>
                <a:gd name="T26" fmla="*/ 2 w 4"/>
                <a:gd name="T27" fmla="*/ 11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24">
                  <a:moveTo>
                    <a:pt x="2" y="24"/>
                  </a:moveTo>
                  <a:cubicBezTo>
                    <a:pt x="1" y="24"/>
                    <a:pt x="0" y="23"/>
                    <a:pt x="0" y="22"/>
                  </a:cubicBezTo>
                  <a:cubicBezTo>
                    <a:pt x="0" y="16"/>
                    <a:pt x="0" y="16"/>
                    <a:pt x="0" y="16"/>
                  </a:cubicBezTo>
                  <a:cubicBezTo>
                    <a:pt x="0" y="15"/>
                    <a:pt x="1" y="14"/>
                    <a:pt x="2" y="14"/>
                  </a:cubicBezTo>
                  <a:cubicBezTo>
                    <a:pt x="3" y="14"/>
                    <a:pt x="4" y="15"/>
                    <a:pt x="4" y="16"/>
                  </a:cubicBezTo>
                  <a:cubicBezTo>
                    <a:pt x="4" y="22"/>
                    <a:pt x="4" y="22"/>
                    <a:pt x="4" y="22"/>
                  </a:cubicBezTo>
                  <a:cubicBezTo>
                    <a:pt x="4" y="23"/>
                    <a:pt x="3" y="24"/>
                    <a:pt x="2" y="24"/>
                  </a:cubicBezTo>
                  <a:close/>
                  <a:moveTo>
                    <a:pt x="2" y="11"/>
                  </a:moveTo>
                  <a:cubicBezTo>
                    <a:pt x="1" y="11"/>
                    <a:pt x="0" y="10"/>
                    <a:pt x="0" y="9"/>
                  </a:cubicBezTo>
                  <a:cubicBezTo>
                    <a:pt x="0" y="2"/>
                    <a:pt x="0" y="2"/>
                    <a:pt x="0" y="2"/>
                  </a:cubicBezTo>
                  <a:cubicBezTo>
                    <a:pt x="0" y="1"/>
                    <a:pt x="1" y="0"/>
                    <a:pt x="2" y="0"/>
                  </a:cubicBezTo>
                  <a:cubicBezTo>
                    <a:pt x="3" y="0"/>
                    <a:pt x="4" y="1"/>
                    <a:pt x="4" y="2"/>
                  </a:cubicBezTo>
                  <a:cubicBezTo>
                    <a:pt x="4" y="9"/>
                    <a:pt x="4" y="9"/>
                    <a:pt x="4" y="9"/>
                  </a:cubicBezTo>
                  <a:cubicBezTo>
                    <a:pt x="4" y="10"/>
                    <a:pt x="3" y="11"/>
                    <a:pt x="2" y="1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GB" sz="1200">
                <a:latin typeface="Montserrat" panose="00000500000000000000"/>
              </a:endParaRPr>
            </a:p>
          </p:txBody>
        </p:sp>
        <p:sp>
          <p:nvSpPr>
            <p:cNvPr id="29" name="Freeform 29">
              <a:extLst>
                <a:ext uri="{FF2B5EF4-FFF2-40B4-BE49-F238E27FC236}">
                  <a16:creationId xmlns:a16="http://schemas.microsoft.com/office/drawing/2014/main" id="{57695019-01F3-4AB6-8937-EA3E465E9EE1}"/>
                </a:ext>
              </a:extLst>
            </p:cNvPr>
            <p:cNvSpPr>
              <a:spLocks/>
            </p:cNvSpPr>
            <p:nvPr/>
          </p:nvSpPr>
          <p:spPr bwMode="auto">
            <a:xfrm>
              <a:off x="1025290" y="4178369"/>
              <a:ext cx="31254" cy="32452"/>
            </a:xfrm>
            <a:custGeom>
              <a:avLst/>
              <a:gdLst>
                <a:gd name="T0" fmla="*/ 6 w 8"/>
                <a:gd name="T1" fmla="*/ 8 h 8"/>
                <a:gd name="T2" fmla="*/ 2 w 8"/>
                <a:gd name="T3" fmla="*/ 8 h 8"/>
                <a:gd name="T4" fmla="*/ 0 w 8"/>
                <a:gd name="T5" fmla="*/ 6 h 8"/>
                <a:gd name="T6" fmla="*/ 2 w 8"/>
                <a:gd name="T7" fmla="*/ 4 h 8"/>
                <a:gd name="T8" fmla="*/ 4 w 8"/>
                <a:gd name="T9" fmla="*/ 4 h 8"/>
                <a:gd name="T10" fmla="*/ 4 w 8"/>
                <a:gd name="T11" fmla="*/ 2 h 8"/>
                <a:gd name="T12" fmla="*/ 6 w 8"/>
                <a:gd name="T13" fmla="*/ 0 h 8"/>
                <a:gd name="T14" fmla="*/ 8 w 8"/>
                <a:gd name="T15" fmla="*/ 2 h 8"/>
                <a:gd name="T16" fmla="*/ 8 w 8"/>
                <a:gd name="T17" fmla="*/ 6 h 8"/>
                <a:gd name="T18" fmla="*/ 6 w 8"/>
                <a:gd name="T19"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8">
                  <a:moveTo>
                    <a:pt x="6" y="8"/>
                  </a:moveTo>
                  <a:cubicBezTo>
                    <a:pt x="2" y="8"/>
                    <a:pt x="2" y="8"/>
                    <a:pt x="2" y="8"/>
                  </a:cubicBezTo>
                  <a:cubicBezTo>
                    <a:pt x="1" y="8"/>
                    <a:pt x="0" y="7"/>
                    <a:pt x="0" y="6"/>
                  </a:cubicBezTo>
                  <a:cubicBezTo>
                    <a:pt x="0" y="5"/>
                    <a:pt x="1" y="4"/>
                    <a:pt x="2" y="4"/>
                  </a:cubicBezTo>
                  <a:cubicBezTo>
                    <a:pt x="4" y="4"/>
                    <a:pt x="4" y="4"/>
                    <a:pt x="4" y="4"/>
                  </a:cubicBezTo>
                  <a:cubicBezTo>
                    <a:pt x="4" y="2"/>
                    <a:pt x="4" y="2"/>
                    <a:pt x="4" y="2"/>
                  </a:cubicBezTo>
                  <a:cubicBezTo>
                    <a:pt x="4" y="1"/>
                    <a:pt x="5" y="0"/>
                    <a:pt x="6" y="0"/>
                  </a:cubicBezTo>
                  <a:cubicBezTo>
                    <a:pt x="7" y="0"/>
                    <a:pt x="8" y="1"/>
                    <a:pt x="8" y="2"/>
                  </a:cubicBezTo>
                  <a:cubicBezTo>
                    <a:pt x="8" y="6"/>
                    <a:pt x="8" y="6"/>
                    <a:pt x="8" y="6"/>
                  </a:cubicBezTo>
                  <a:cubicBezTo>
                    <a:pt x="8" y="7"/>
                    <a:pt x="7" y="8"/>
                    <a:pt x="6" y="8"/>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GB" sz="1200">
                <a:latin typeface="Montserrat" panose="00000500000000000000"/>
              </a:endParaRPr>
            </a:p>
          </p:txBody>
        </p:sp>
        <p:sp>
          <p:nvSpPr>
            <p:cNvPr id="30" name="Freeform 30">
              <a:extLst>
                <a:ext uri="{FF2B5EF4-FFF2-40B4-BE49-F238E27FC236}">
                  <a16:creationId xmlns:a16="http://schemas.microsoft.com/office/drawing/2014/main" id="{D65E4568-9476-4CFE-9E5B-4D6969BE5EF1}"/>
                </a:ext>
              </a:extLst>
            </p:cNvPr>
            <p:cNvSpPr>
              <a:spLocks/>
            </p:cNvSpPr>
            <p:nvPr/>
          </p:nvSpPr>
          <p:spPr bwMode="auto">
            <a:xfrm>
              <a:off x="962455" y="4194595"/>
              <a:ext cx="46882" cy="16227"/>
            </a:xfrm>
            <a:custGeom>
              <a:avLst/>
              <a:gdLst>
                <a:gd name="T0" fmla="*/ 10 w 12"/>
                <a:gd name="T1" fmla="*/ 4 h 4"/>
                <a:gd name="T2" fmla="*/ 2 w 12"/>
                <a:gd name="T3" fmla="*/ 4 h 4"/>
                <a:gd name="T4" fmla="*/ 0 w 12"/>
                <a:gd name="T5" fmla="*/ 2 h 4"/>
                <a:gd name="T6" fmla="*/ 2 w 12"/>
                <a:gd name="T7" fmla="*/ 0 h 4"/>
                <a:gd name="T8" fmla="*/ 10 w 12"/>
                <a:gd name="T9" fmla="*/ 0 h 4"/>
                <a:gd name="T10" fmla="*/ 12 w 12"/>
                <a:gd name="T11" fmla="*/ 2 h 4"/>
                <a:gd name="T12" fmla="*/ 10 w 1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2" h="4">
                  <a:moveTo>
                    <a:pt x="10" y="4"/>
                  </a:moveTo>
                  <a:cubicBezTo>
                    <a:pt x="2" y="4"/>
                    <a:pt x="2" y="4"/>
                    <a:pt x="2" y="4"/>
                  </a:cubicBezTo>
                  <a:cubicBezTo>
                    <a:pt x="1" y="4"/>
                    <a:pt x="0" y="3"/>
                    <a:pt x="0" y="2"/>
                  </a:cubicBezTo>
                  <a:cubicBezTo>
                    <a:pt x="0" y="1"/>
                    <a:pt x="1" y="0"/>
                    <a:pt x="2" y="0"/>
                  </a:cubicBezTo>
                  <a:cubicBezTo>
                    <a:pt x="10" y="0"/>
                    <a:pt x="10" y="0"/>
                    <a:pt x="10" y="0"/>
                  </a:cubicBezTo>
                  <a:cubicBezTo>
                    <a:pt x="11" y="0"/>
                    <a:pt x="12" y="1"/>
                    <a:pt x="12" y="2"/>
                  </a:cubicBezTo>
                  <a:cubicBezTo>
                    <a:pt x="12" y="3"/>
                    <a:pt x="11" y="4"/>
                    <a:pt x="10" y="4"/>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GB" sz="1200">
                <a:latin typeface="Montserrat" panose="00000500000000000000"/>
              </a:endParaRPr>
            </a:p>
          </p:txBody>
        </p:sp>
        <p:sp>
          <p:nvSpPr>
            <p:cNvPr id="31" name="Freeform 31">
              <a:extLst>
                <a:ext uri="{FF2B5EF4-FFF2-40B4-BE49-F238E27FC236}">
                  <a16:creationId xmlns:a16="http://schemas.microsoft.com/office/drawing/2014/main" id="{CBE5DD27-2437-4377-B065-8958F194B627}"/>
                </a:ext>
              </a:extLst>
            </p:cNvPr>
            <p:cNvSpPr>
              <a:spLocks/>
            </p:cNvSpPr>
            <p:nvPr/>
          </p:nvSpPr>
          <p:spPr bwMode="auto">
            <a:xfrm>
              <a:off x="915247" y="4194595"/>
              <a:ext cx="31580" cy="16227"/>
            </a:xfrm>
            <a:custGeom>
              <a:avLst/>
              <a:gdLst>
                <a:gd name="T0" fmla="*/ 6 w 8"/>
                <a:gd name="T1" fmla="*/ 4 h 4"/>
                <a:gd name="T2" fmla="*/ 2 w 8"/>
                <a:gd name="T3" fmla="*/ 4 h 4"/>
                <a:gd name="T4" fmla="*/ 0 w 8"/>
                <a:gd name="T5" fmla="*/ 2 h 4"/>
                <a:gd name="T6" fmla="*/ 2 w 8"/>
                <a:gd name="T7" fmla="*/ 0 h 4"/>
                <a:gd name="T8" fmla="*/ 6 w 8"/>
                <a:gd name="T9" fmla="*/ 0 h 4"/>
                <a:gd name="T10" fmla="*/ 8 w 8"/>
                <a:gd name="T11" fmla="*/ 2 h 4"/>
                <a:gd name="T12" fmla="*/ 6 w 8"/>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6" y="4"/>
                  </a:moveTo>
                  <a:cubicBezTo>
                    <a:pt x="2" y="4"/>
                    <a:pt x="2" y="4"/>
                    <a:pt x="2" y="4"/>
                  </a:cubicBezTo>
                  <a:cubicBezTo>
                    <a:pt x="1" y="4"/>
                    <a:pt x="0" y="3"/>
                    <a:pt x="0" y="2"/>
                  </a:cubicBezTo>
                  <a:cubicBezTo>
                    <a:pt x="0" y="1"/>
                    <a:pt x="1" y="0"/>
                    <a:pt x="2" y="0"/>
                  </a:cubicBezTo>
                  <a:cubicBezTo>
                    <a:pt x="6" y="0"/>
                    <a:pt x="6" y="0"/>
                    <a:pt x="6" y="0"/>
                  </a:cubicBezTo>
                  <a:cubicBezTo>
                    <a:pt x="7" y="0"/>
                    <a:pt x="8" y="1"/>
                    <a:pt x="8" y="2"/>
                  </a:cubicBezTo>
                  <a:cubicBezTo>
                    <a:pt x="8" y="3"/>
                    <a:pt x="7" y="4"/>
                    <a:pt x="6" y="4"/>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GB" sz="1200">
                <a:latin typeface="Montserrat" panose="00000500000000000000"/>
              </a:endParaRPr>
            </a:p>
          </p:txBody>
        </p:sp>
        <p:sp>
          <p:nvSpPr>
            <p:cNvPr id="32" name="Freeform 32">
              <a:extLst>
                <a:ext uri="{FF2B5EF4-FFF2-40B4-BE49-F238E27FC236}">
                  <a16:creationId xmlns:a16="http://schemas.microsoft.com/office/drawing/2014/main" id="{AE924B38-66B7-48B8-9FF5-E285D5C9ABFD}"/>
                </a:ext>
              </a:extLst>
            </p:cNvPr>
            <p:cNvSpPr>
              <a:spLocks/>
            </p:cNvSpPr>
            <p:nvPr/>
          </p:nvSpPr>
          <p:spPr bwMode="auto">
            <a:xfrm>
              <a:off x="680186" y="4068504"/>
              <a:ext cx="219434" cy="182883"/>
            </a:xfrm>
            <a:custGeom>
              <a:avLst/>
              <a:gdLst>
                <a:gd name="T0" fmla="*/ 41 w 56"/>
                <a:gd name="T1" fmla="*/ 45 h 45"/>
                <a:gd name="T2" fmla="*/ 39 w 56"/>
                <a:gd name="T3" fmla="*/ 43 h 45"/>
                <a:gd name="T4" fmla="*/ 41 w 56"/>
                <a:gd name="T5" fmla="*/ 41 h 45"/>
                <a:gd name="T6" fmla="*/ 52 w 56"/>
                <a:gd name="T7" fmla="*/ 30 h 45"/>
                <a:gd name="T8" fmla="*/ 47 w 56"/>
                <a:gd name="T9" fmla="*/ 21 h 45"/>
                <a:gd name="T10" fmla="*/ 46 w 56"/>
                <a:gd name="T11" fmla="*/ 18 h 45"/>
                <a:gd name="T12" fmla="*/ 47 w 56"/>
                <a:gd name="T13" fmla="*/ 15 h 45"/>
                <a:gd name="T14" fmla="*/ 35 w 56"/>
                <a:gd name="T15" fmla="*/ 4 h 45"/>
                <a:gd name="T16" fmla="*/ 26 w 56"/>
                <a:gd name="T17" fmla="*/ 9 h 45"/>
                <a:gd name="T18" fmla="*/ 23 w 56"/>
                <a:gd name="T19" fmla="*/ 10 h 45"/>
                <a:gd name="T20" fmla="*/ 20 w 56"/>
                <a:gd name="T21" fmla="*/ 9 h 45"/>
                <a:gd name="T22" fmla="*/ 9 w 56"/>
                <a:gd name="T23" fmla="*/ 20 h 45"/>
                <a:gd name="T24" fmla="*/ 8 w 56"/>
                <a:gd name="T25" fmla="*/ 21 h 45"/>
                <a:gd name="T26" fmla="*/ 4 w 56"/>
                <a:gd name="T27" fmla="*/ 30 h 45"/>
                <a:gd name="T28" fmla="*/ 15 w 56"/>
                <a:gd name="T29" fmla="*/ 41 h 45"/>
                <a:gd name="T30" fmla="*/ 27 w 56"/>
                <a:gd name="T31" fmla="*/ 41 h 45"/>
                <a:gd name="T32" fmla="*/ 29 w 56"/>
                <a:gd name="T33" fmla="*/ 43 h 45"/>
                <a:gd name="T34" fmla="*/ 27 w 56"/>
                <a:gd name="T35" fmla="*/ 45 h 45"/>
                <a:gd name="T36" fmla="*/ 15 w 56"/>
                <a:gd name="T37" fmla="*/ 45 h 45"/>
                <a:gd name="T38" fmla="*/ 0 w 56"/>
                <a:gd name="T39" fmla="*/ 30 h 45"/>
                <a:gd name="T40" fmla="*/ 5 w 56"/>
                <a:gd name="T41" fmla="*/ 19 h 45"/>
                <a:gd name="T42" fmla="*/ 20 w 56"/>
                <a:gd name="T43" fmla="*/ 5 h 45"/>
                <a:gd name="T44" fmla="*/ 23 w 56"/>
                <a:gd name="T45" fmla="*/ 6 h 45"/>
                <a:gd name="T46" fmla="*/ 35 w 56"/>
                <a:gd name="T47" fmla="*/ 0 h 45"/>
                <a:gd name="T48" fmla="*/ 51 w 56"/>
                <a:gd name="T49" fmla="*/ 15 h 45"/>
                <a:gd name="T50" fmla="*/ 50 w 56"/>
                <a:gd name="T51" fmla="*/ 18 h 45"/>
                <a:gd name="T52" fmla="*/ 56 w 56"/>
                <a:gd name="T53" fmla="*/ 30 h 45"/>
                <a:gd name="T54" fmla="*/ 41 w 56"/>
                <a:gd name="T55"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6" h="45">
                  <a:moveTo>
                    <a:pt x="41" y="45"/>
                  </a:moveTo>
                  <a:cubicBezTo>
                    <a:pt x="40" y="45"/>
                    <a:pt x="39" y="44"/>
                    <a:pt x="39" y="43"/>
                  </a:cubicBezTo>
                  <a:cubicBezTo>
                    <a:pt x="39" y="42"/>
                    <a:pt x="40" y="41"/>
                    <a:pt x="41" y="41"/>
                  </a:cubicBezTo>
                  <a:cubicBezTo>
                    <a:pt x="47" y="41"/>
                    <a:pt x="52" y="36"/>
                    <a:pt x="52" y="30"/>
                  </a:cubicBezTo>
                  <a:cubicBezTo>
                    <a:pt x="52" y="26"/>
                    <a:pt x="50" y="23"/>
                    <a:pt x="47" y="21"/>
                  </a:cubicBezTo>
                  <a:cubicBezTo>
                    <a:pt x="46" y="20"/>
                    <a:pt x="46" y="19"/>
                    <a:pt x="46" y="18"/>
                  </a:cubicBezTo>
                  <a:cubicBezTo>
                    <a:pt x="46" y="17"/>
                    <a:pt x="47" y="16"/>
                    <a:pt x="47" y="15"/>
                  </a:cubicBezTo>
                  <a:cubicBezTo>
                    <a:pt x="47" y="9"/>
                    <a:pt x="41" y="4"/>
                    <a:pt x="35" y="4"/>
                  </a:cubicBezTo>
                  <a:cubicBezTo>
                    <a:pt x="31" y="4"/>
                    <a:pt x="28" y="6"/>
                    <a:pt x="26" y="9"/>
                  </a:cubicBezTo>
                  <a:cubicBezTo>
                    <a:pt x="25" y="10"/>
                    <a:pt x="24" y="10"/>
                    <a:pt x="23" y="10"/>
                  </a:cubicBezTo>
                  <a:cubicBezTo>
                    <a:pt x="22" y="9"/>
                    <a:pt x="21" y="9"/>
                    <a:pt x="20" y="9"/>
                  </a:cubicBezTo>
                  <a:cubicBezTo>
                    <a:pt x="14" y="9"/>
                    <a:pt x="9" y="14"/>
                    <a:pt x="9" y="20"/>
                  </a:cubicBezTo>
                  <a:cubicBezTo>
                    <a:pt x="9" y="21"/>
                    <a:pt x="9" y="21"/>
                    <a:pt x="8" y="21"/>
                  </a:cubicBezTo>
                  <a:cubicBezTo>
                    <a:pt x="5" y="23"/>
                    <a:pt x="4" y="27"/>
                    <a:pt x="4" y="30"/>
                  </a:cubicBezTo>
                  <a:cubicBezTo>
                    <a:pt x="4" y="36"/>
                    <a:pt x="9" y="41"/>
                    <a:pt x="15" y="41"/>
                  </a:cubicBezTo>
                  <a:cubicBezTo>
                    <a:pt x="27" y="41"/>
                    <a:pt x="27" y="41"/>
                    <a:pt x="27" y="41"/>
                  </a:cubicBezTo>
                  <a:cubicBezTo>
                    <a:pt x="28" y="41"/>
                    <a:pt x="29" y="42"/>
                    <a:pt x="29" y="43"/>
                  </a:cubicBezTo>
                  <a:cubicBezTo>
                    <a:pt x="29" y="44"/>
                    <a:pt x="28" y="45"/>
                    <a:pt x="27" y="45"/>
                  </a:cubicBezTo>
                  <a:cubicBezTo>
                    <a:pt x="15" y="45"/>
                    <a:pt x="15" y="45"/>
                    <a:pt x="15" y="45"/>
                  </a:cubicBezTo>
                  <a:cubicBezTo>
                    <a:pt x="6" y="45"/>
                    <a:pt x="0" y="38"/>
                    <a:pt x="0" y="30"/>
                  </a:cubicBezTo>
                  <a:cubicBezTo>
                    <a:pt x="0" y="26"/>
                    <a:pt x="2" y="22"/>
                    <a:pt x="5" y="19"/>
                  </a:cubicBezTo>
                  <a:cubicBezTo>
                    <a:pt x="6" y="11"/>
                    <a:pt x="13" y="5"/>
                    <a:pt x="20" y="5"/>
                  </a:cubicBezTo>
                  <a:cubicBezTo>
                    <a:pt x="21" y="5"/>
                    <a:pt x="22" y="5"/>
                    <a:pt x="23" y="6"/>
                  </a:cubicBezTo>
                  <a:cubicBezTo>
                    <a:pt x="26" y="2"/>
                    <a:pt x="30" y="0"/>
                    <a:pt x="35" y="0"/>
                  </a:cubicBezTo>
                  <a:cubicBezTo>
                    <a:pt x="44" y="0"/>
                    <a:pt x="51" y="7"/>
                    <a:pt x="51" y="15"/>
                  </a:cubicBezTo>
                  <a:cubicBezTo>
                    <a:pt x="51" y="16"/>
                    <a:pt x="50" y="17"/>
                    <a:pt x="50" y="18"/>
                  </a:cubicBezTo>
                  <a:cubicBezTo>
                    <a:pt x="54" y="21"/>
                    <a:pt x="56" y="26"/>
                    <a:pt x="56" y="30"/>
                  </a:cubicBezTo>
                  <a:cubicBezTo>
                    <a:pt x="56" y="38"/>
                    <a:pt x="50" y="45"/>
                    <a:pt x="41" y="45"/>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GB" sz="1200">
                <a:latin typeface="Montserrat" panose="00000500000000000000"/>
              </a:endParaRPr>
            </a:p>
          </p:txBody>
        </p:sp>
      </p:grpSp>
      <p:sp>
        <p:nvSpPr>
          <p:cNvPr id="33" name="Oval 11"/>
          <p:cNvSpPr>
            <a:spLocks noChangeArrowheads="1"/>
          </p:cNvSpPr>
          <p:nvPr/>
        </p:nvSpPr>
        <p:spPr bwMode="auto">
          <a:xfrm>
            <a:off x="8689530" y="2448732"/>
            <a:ext cx="864939" cy="864939"/>
          </a:xfrm>
          <a:prstGeom prst="ellipse">
            <a:avLst/>
          </a:prstGeom>
          <a:solidFill>
            <a:srgbClr val="FFFFFF"/>
          </a:solidFill>
          <a:ln w="19050">
            <a:solidFill>
              <a:schemeClr val="accent5"/>
            </a:solidFill>
            <a:round/>
            <a:headEnd/>
            <a:tailEnd/>
          </a:ln>
        </p:spPr>
        <p:txBody>
          <a:bodyPr vert="horz" wrap="square" lIns="91440" tIns="45720" rIns="91440" bIns="45720" numCol="1" anchor="t" anchorCtr="0" compatLnSpc="1">
            <a:prstTxWarp prst="textNoShape">
              <a:avLst/>
            </a:prstTxWarp>
          </a:bodyPr>
          <a:lstStyle/>
          <a:p>
            <a:endParaRPr lang="en-US" sz="1200">
              <a:latin typeface="Montserrat" panose="00000500000000000000"/>
            </a:endParaRPr>
          </a:p>
        </p:txBody>
      </p:sp>
      <p:sp>
        <p:nvSpPr>
          <p:cNvPr id="34" name="Oval 13"/>
          <p:cNvSpPr>
            <a:spLocks noChangeArrowheads="1"/>
          </p:cNvSpPr>
          <p:nvPr/>
        </p:nvSpPr>
        <p:spPr bwMode="auto">
          <a:xfrm>
            <a:off x="8783716" y="2536556"/>
            <a:ext cx="682341" cy="682341"/>
          </a:xfrm>
          <a:prstGeom prst="ellipse">
            <a:avLst/>
          </a:prstGeom>
          <a:solidFill>
            <a:schemeClr val="accent5"/>
          </a:solidFill>
          <a:ln>
            <a:noFill/>
          </a:ln>
        </p:spPr>
        <p:txBody>
          <a:bodyPr vert="horz" wrap="square" lIns="91440" tIns="45720" rIns="91440" bIns="45720" numCol="1" anchor="t" anchorCtr="0" compatLnSpc="1">
            <a:prstTxWarp prst="textNoShape">
              <a:avLst/>
            </a:prstTxWarp>
          </a:bodyPr>
          <a:lstStyle/>
          <a:p>
            <a:endParaRPr lang="en-US" sz="1200">
              <a:latin typeface="Montserrat" panose="00000500000000000000"/>
            </a:endParaRPr>
          </a:p>
        </p:txBody>
      </p:sp>
      <p:sp>
        <p:nvSpPr>
          <p:cNvPr id="35" name="Rectangle 34"/>
          <p:cNvSpPr/>
          <p:nvPr/>
        </p:nvSpPr>
        <p:spPr>
          <a:xfrm>
            <a:off x="8170280" y="1646552"/>
            <a:ext cx="1860271" cy="4473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22363" tIns="61181" rIns="122363" bIns="61181" rtlCol="0" anchor="ctr"/>
          <a:lstStyle/>
          <a:p>
            <a:pPr algn="ctr"/>
            <a:r>
              <a:rPr lang="en-GB" sz="1400" b="1" dirty="0">
                <a:solidFill>
                  <a:schemeClr val="tx1"/>
                </a:solidFill>
                <a:latin typeface="Montserrat" panose="00000500000000000000"/>
                <a:cs typeface="Calibri" panose="020F0502020204030204" pitchFamily="34" charset="0"/>
              </a:rPr>
              <a:t>2010-2015</a:t>
            </a:r>
          </a:p>
          <a:p>
            <a:pPr algn="ctr"/>
            <a:r>
              <a:rPr lang="en-GB" sz="1400" b="1" dirty="0">
                <a:solidFill>
                  <a:schemeClr val="tx1"/>
                </a:solidFill>
                <a:latin typeface="Montserrat" panose="00000500000000000000"/>
                <a:cs typeface="Calibri" panose="020F0502020204030204" pitchFamily="34" charset="0"/>
              </a:rPr>
              <a:t>HTML, XML, CDA die Welt </a:t>
            </a:r>
            <a:r>
              <a:rPr lang="en-GB" sz="1400" b="1" dirty="0" err="1">
                <a:solidFill>
                  <a:schemeClr val="tx1"/>
                </a:solidFill>
                <a:latin typeface="Montserrat" panose="00000500000000000000"/>
                <a:cs typeface="Calibri" panose="020F0502020204030204" pitchFamily="34" charset="0"/>
              </a:rPr>
              <a:t>dreht</a:t>
            </a:r>
            <a:r>
              <a:rPr lang="en-GB" sz="1400" b="1" dirty="0">
                <a:solidFill>
                  <a:schemeClr val="tx1"/>
                </a:solidFill>
                <a:latin typeface="Montserrat" panose="00000500000000000000"/>
                <a:cs typeface="Calibri" panose="020F0502020204030204" pitchFamily="34" charset="0"/>
              </a:rPr>
              <a:t> </a:t>
            </a:r>
            <a:r>
              <a:rPr lang="en-GB" sz="1400" b="1" dirty="0" err="1">
                <a:solidFill>
                  <a:schemeClr val="tx1"/>
                </a:solidFill>
                <a:latin typeface="Montserrat" panose="00000500000000000000"/>
                <a:cs typeface="Calibri" panose="020F0502020204030204" pitchFamily="34" charset="0"/>
              </a:rPr>
              <a:t>sich</a:t>
            </a:r>
            <a:endParaRPr lang="en-GB" sz="1400" b="1" dirty="0">
              <a:solidFill>
                <a:schemeClr val="tx1"/>
              </a:solidFill>
              <a:latin typeface="Montserrat" panose="00000500000000000000"/>
              <a:cs typeface="Calibri" panose="020F0502020204030204" pitchFamily="34" charset="0"/>
            </a:endParaRPr>
          </a:p>
          <a:p>
            <a:pPr algn="ctr"/>
            <a:endParaRPr lang="en-GB" sz="1400" b="1" dirty="0">
              <a:solidFill>
                <a:schemeClr val="tx1"/>
              </a:solidFill>
              <a:latin typeface="Montserrat" panose="00000500000000000000"/>
              <a:cs typeface="Calibri" panose="020F0502020204030204" pitchFamily="34" charset="0"/>
            </a:endParaRPr>
          </a:p>
          <a:p>
            <a:pPr algn="ctr"/>
            <a:endParaRPr lang="en-GB" sz="1400" b="1" dirty="0">
              <a:solidFill>
                <a:schemeClr val="tx1"/>
              </a:solidFill>
              <a:latin typeface="Montserrat" panose="00000500000000000000"/>
              <a:cs typeface="Calibri" panose="020F0502020204030204" pitchFamily="34" charset="0"/>
            </a:endParaRPr>
          </a:p>
        </p:txBody>
      </p:sp>
      <p:sp>
        <p:nvSpPr>
          <p:cNvPr id="36" name="Freeform 5">
            <a:extLst>
              <a:ext uri="{FF2B5EF4-FFF2-40B4-BE49-F238E27FC236}">
                <a16:creationId xmlns:a16="http://schemas.microsoft.com/office/drawing/2014/main" id="{531C89CB-B328-4C6B-B9D2-949493C1A472}"/>
              </a:ext>
            </a:extLst>
          </p:cNvPr>
          <p:cNvSpPr>
            <a:spLocks noEditPoints="1"/>
          </p:cNvSpPr>
          <p:nvPr/>
        </p:nvSpPr>
        <p:spPr bwMode="auto">
          <a:xfrm>
            <a:off x="8905278" y="2689661"/>
            <a:ext cx="439585" cy="409411"/>
          </a:xfrm>
          <a:custGeom>
            <a:avLst/>
            <a:gdLst>
              <a:gd name="T0" fmla="*/ 1024 w 1104"/>
              <a:gd name="T1" fmla="*/ 383 h 1042"/>
              <a:gd name="T2" fmla="*/ 552 w 1104"/>
              <a:gd name="T3" fmla="*/ 25 h 1042"/>
              <a:gd name="T4" fmla="*/ 80 w 1104"/>
              <a:gd name="T5" fmla="*/ 383 h 1042"/>
              <a:gd name="T6" fmla="*/ 8 w 1104"/>
              <a:gd name="T7" fmla="*/ 561 h 1042"/>
              <a:gd name="T8" fmla="*/ 53 w 1104"/>
              <a:gd name="T9" fmla="*/ 604 h 1042"/>
              <a:gd name="T10" fmla="*/ 61 w 1104"/>
              <a:gd name="T11" fmla="*/ 704 h 1042"/>
              <a:gd name="T12" fmla="*/ 87 w 1104"/>
              <a:gd name="T13" fmla="*/ 817 h 1042"/>
              <a:gd name="T14" fmla="*/ 223 w 1104"/>
              <a:gd name="T15" fmla="*/ 856 h 1042"/>
              <a:gd name="T16" fmla="*/ 290 w 1104"/>
              <a:gd name="T17" fmla="*/ 904 h 1042"/>
              <a:gd name="T18" fmla="*/ 299 w 1104"/>
              <a:gd name="T19" fmla="*/ 1042 h 1042"/>
              <a:gd name="T20" fmla="*/ 686 w 1104"/>
              <a:gd name="T21" fmla="*/ 1011 h 1042"/>
              <a:gd name="T22" fmla="*/ 594 w 1104"/>
              <a:gd name="T23" fmla="*/ 931 h 1042"/>
              <a:gd name="T24" fmla="*/ 715 w 1104"/>
              <a:gd name="T25" fmla="*/ 638 h 1042"/>
              <a:gd name="T26" fmla="*/ 809 w 1104"/>
              <a:gd name="T27" fmla="*/ 249 h 1042"/>
              <a:gd name="T28" fmla="*/ 812 w 1104"/>
              <a:gd name="T29" fmla="*/ 89 h 1042"/>
              <a:gd name="T30" fmla="*/ 992 w 1104"/>
              <a:gd name="T31" fmla="*/ 453 h 1042"/>
              <a:gd name="T32" fmla="*/ 1055 w 1104"/>
              <a:gd name="T33" fmla="*/ 554 h 1042"/>
              <a:gd name="T34" fmla="*/ 1020 w 1104"/>
              <a:gd name="T35" fmla="*/ 640 h 1042"/>
              <a:gd name="T36" fmla="*/ 997 w 1104"/>
              <a:gd name="T37" fmla="*/ 661 h 1042"/>
              <a:gd name="T38" fmla="*/ 1007 w 1104"/>
              <a:gd name="T39" fmla="*/ 686 h 1042"/>
              <a:gd name="T40" fmla="*/ 930 w 1104"/>
              <a:gd name="T41" fmla="*/ 814 h 1042"/>
              <a:gd name="T42" fmla="*/ 830 w 1104"/>
              <a:gd name="T43" fmla="*/ 818 h 1042"/>
              <a:gd name="T44" fmla="*/ 785 w 1104"/>
              <a:gd name="T45" fmla="*/ 1025 h 1042"/>
              <a:gd name="T46" fmla="*/ 824 w 1104"/>
              <a:gd name="T47" fmla="*/ 1020 h 1042"/>
              <a:gd name="T48" fmla="*/ 833 w 1104"/>
              <a:gd name="T49" fmla="*/ 858 h 1042"/>
              <a:gd name="T50" fmla="*/ 930 w 1104"/>
              <a:gd name="T51" fmla="*/ 854 h 1042"/>
              <a:gd name="T52" fmla="*/ 1040 w 1104"/>
              <a:gd name="T53" fmla="*/ 708 h 1042"/>
              <a:gd name="T54" fmla="*/ 1049 w 1104"/>
              <a:gd name="T55" fmla="*/ 670 h 1042"/>
              <a:gd name="T56" fmla="*/ 1058 w 1104"/>
              <a:gd name="T57" fmla="*/ 594 h 1042"/>
              <a:gd name="T58" fmla="*/ 323 w 1104"/>
              <a:gd name="T59" fmla="*/ 996 h 1042"/>
              <a:gd name="T60" fmla="*/ 274 w 1104"/>
              <a:gd name="T61" fmla="*/ 818 h 1042"/>
              <a:gd name="T62" fmla="*/ 174 w 1104"/>
              <a:gd name="T63" fmla="*/ 814 h 1042"/>
              <a:gd name="T64" fmla="*/ 97 w 1104"/>
              <a:gd name="T65" fmla="*/ 686 h 1042"/>
              <a:gd name="T66" fmla="*/ 107 w 1104"/>
              <a:gd name="T67" fmla="*/ 661 h 1042"/>
              <a:gd name="T68" fmla="*/ 84 w 1104"/>
              <a:gd name="T69" fmla="*/ 640 h 1042"/>
              <a:gd name="T70" fmla="*/ 49 w 1104"/>
              <a:gd name="T71" fmla="*/ 554 h 1042"/>
              <a:gd name="T72" fmla="*/ 112 w 1104"/>
              <a:gd name="T73" fmla="*/ 453 h 1042"/>
              <a:gd name="T74" fmla="*/ 292 w 1104"/>
              <a:gd name="T75" fmla="*/ 89 h 1042"/>
              <a:gd name="T76" fmla="*/ 295 w 1104"/>
              <a:gd name="T77" fmla="*/ 249 h 1042"/>
              <a:gd name="T78" fmla="*/ 389 w 1104"/>
              <a:gd name="T79" fmla="*/ 638 h 1042"/>
              <a:gd name="T80" fmla="*/ 510 w 1104"/>
              <a:gd name="T81" fmla="*/ 931 h 1042"/>
              <a:gd name="T82" fmla="*/ 601 w 1104"/>
              <a:gd name="T83" fmla="*/ 486 h 1042"/>
              <a:gd name="T84" fmla="*/ 639 w 1104"/>
              <a:gd name="T85" fmla="*/ 489 h 1042"/>
              <a:gd name="T86" fmla="*/ 601 w 1104"/>
              <a:gd name="T87" fmla="*/ 506 h 1042"/>
              <a:gd name="T88" fmla="*/ 562 w 1104"/>
              <a:gd name="T89" fmla="*/ 664 h 1042"/>
              <a:gd name="T90" fmla="*/ 500 w 1104"/>
              <a:gd name="T91" fmla="*/ 506 h 1042"/>
              <a:gd name="T92" fmla="*/ 462 w 1104"/>
              <a:gd name="T93" fmla="*/ 486 h 1042"/>
              <a:gd name="T94" fmla="*/ 500 w 1104"/>
              <a:gd name="T95" fmla="*/ 483 h 1042"/>
              <a:gd name="T96" fmla="*/ 648 w 1104"/>
              <a:gd name="T97" fmla="*/ 753 h 1042"/>
              <a:gd name="T98" fmla="*/ 656 w 1104"/>
              <a:gd name="T99" fmla="*/ 708 h 1042"/>
              <a:gd name="T100" fmla="*/ 643 w 1104"/>
              <a:gd name="T101" fmla="*/ 793 h 1042"/>
              <a:gd name="T102" fmla="*/ 497 w 1104"/>
              <a:gd name="T103" fmla="*/ 873 h 1042"/>
              <a:gd name="T104" fmla="*/ 497 w 1104"/>
              <a:gd name="T105" fmla="*/ 873 h 1042"/>
              <a:gd name="T106" fmla="*/ 725 w 1104"/>
              <a:gd name="T107" fmla="*/ 521 h 1042"/>
              <a:gd name="T108" fmla="*/ 602 w 1104"/>
              <a:gd name="T109" fmla="*/ 668 h 1042"/>
              <a:gd name="T110" fmla="*/ 679 w 1104"/>
              <a:gd name="T111" fmla="*/ 499 h 1042"/>
              <a:gd name="T112" fmla="*/ 608 w 1104"/>
              <a:gd name="T113" fmla="*/ 440 h 1042"/>
              <a:gd name="T114" fmla="*/ 561 w 1104"/>
              <a:gd name="T115" fmla="*/ 507 h 1042"/>
              <a:gd name="T116" fmla="*/ 497 w 1104"/>
              <a:gd name="T117" fmla="*/ 440 h 1042"/>
              <a:gd name="T118" fmla="*/ 422 w 1104"/>
              <a:gd name="T119" fmla="*/ 503 h 1042"/>
              <a:gd name="T120" fmla="*/ 500 w 1104"/>
              <a:gd name="T121" fmla="*/ 668 h 1042"/>
              <a:gd name="T122" fmla="*/ 379 w 1104"/>
              <a:gd name="T123" fmla="*/ 521 h 1042"/>
              <a:gd name="T124" fmla="*/ 552 w 1104"/>
              <a:gd name="T125" fmla="*/ 66 h 10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04" h="1042">
                <a:moveTo>
                  <a:pt x="1074" y="494"/>
                </a:moveTo>
                <a:cubicBezTo>
                  <a:pt x="1056" y="480"/>
                  <a:pt x="1040" y="460"/>
                  <a:pt x="1027" y="434"/>
                </a:cubicBezTo>
                <a:cubicBezTo>
                  <a:pt x="1019" y="418"/>
                  <a:pt x="1021" y="403"/>
                  <a:pt x="1024" y="383"/>
                </a:cubicBezTo>
                <a:cubicBezTo>
                  <a:pt x="1025" y="377"/>
                  <a:pt x="1026" y="371"/>
                  <a:pt x="1026" y="364"/>
                </a:cubicBezTo>
                <a:cubicBezTo>
                  <a:pt x="1041" y="226"/>
                  <a:pt x="935" y="106"/>
                  <a:pt x="830" y="53"/>
                </a:cubicBezTo>
                <a:cubicBezTo>
                  <a:pt x="744" y="9"/>
                  <a:pt x="645" y="0"/>
                  <a:pt x="552" y="25"/>
                </a:cubicBezTo>
                <a:cubicBezTo>
                  <a:pt x="459" y="0"/>
                  <a:pt x="360" y="9"/>
                  <a:pt x="274" y="53"/>
                </a:cubicBezTo>
                <a:cubicBezTo>
                  <a:pt x="169" y="106"/>
                  <a:pt x="63" y="226"/>
                  <a:pt x="78" y="364"/>
                </a:cubicBezTo>
                <a:cubicBezTo>
                  <a:pt x="78" y="371"/>
                  <a:pt x="79" y="377"/>
                  <a:pt x="80" y="383"/>
                </a:cubicBezTo>
                <a:cubicBezTo>
                  <a:pt x="83" y="403"/>
                  <a:pt x="85" y="418"/>
                  <a:pt x="77" y="434"/>
                </a:cubicBezTo>
                <a:cubicBezTo>
                  <a:pt x="64" y="460"/>
                  <a:pt x="48" y="480"/>
                  <a:pt x="30" y="494"/>
                </a:cubicBezTo>
                <a:cubicBezTo>
                  <a:pt x="9" y="511"/>
                  <a:pt x="0" y="537"/>
                  <a:pt x="8" y="561"/>
                </a:cubicBezTo>
                <a:cubicBezTo>
                  <a:pt x="13" y="579"/>
                  <a:pt x="28" y="592"/>
                  <a:pt x="46" y="594"/>
                </a:cubicBezTo>
                <a:cubicBezTo>
                  <a:pt x="48" y="594"/>
                  <a:pt x="49" y="595"/>
                  <a:pt x="50" y="596"/>
                </a:cubicBezTo>
                <a:cubicBezTo>
                  <a:pt x="52" y="598"/>
                  <a:pt x="53" y="602"/>
                  <a:pt x="53" y="604"/>
                </a:cubicBezTo>
                <a:cubicBezTo>
                  <a:pt x="49" y="614"/>
                  <a:pt x="33" y="657"/>
                  <a:pt x="55" y="670"/>
                </a:cubicBezTo>
                <a:cubicBezTo>
                  <a:pt x="56" y="671"/>
                  <a:pt x="58" y="672"/>
                  <a:pt x="59" y="672"/>
                </a:cubicBezTo>
                <a:cubicBezTo>
                  <a:pt x="55" y="682"/>
                  <a:pt x="53" y="693"/>
                  <a:pt x="61" y="704"/>
                </a:cubicBezTo>
                <a:cubicBezTo>
                  <a:pt x="62" y="705"/>
                  <a:pt x="63" y="707"/>
                  <a:pt x="64" y="708"/>
                </a:cubicBezTo>
                <a:cubicBezTo>
                  <a:pt x="67" y="712"/>
                  <a:pt x="76" y="724"/>
                  <a:pt x="77" y="730"/>
                </a:cubicBezTo>
                <a:cubicBezTo>
                  <a:pt x="72" y="751"/>
                  <a:pt x="65" y="791"/>
                  <a:pt x="87" y="817"/>
                </a:cubicBezTo>
                <a:cubicBezTo>
                  <a:pt x="107" y="841"/>
                  <a:pt x="138" y="854"/>
                  <a:pt x="174" y="854"/>
                </a:cubicBezTo>
                <a:cubicBezTo>
                  <a:pt x="174" y="854"/>
                  <a:pt x="174" y="854"/>
                  <a:pt x="174" y="854"/>
                </a:cubicBezTo>
                <a:cubicBezTo>
                  <a:pt x="190" y="854"/>
                  <a:pt x="206" y="855"/>
                  <a:pt x="223" y="856"/>
                </a:cubicBezTo>
                <a:cubicBezTo>
                  <a:pt x="239" y="857"/>
                  <a:pt x="255" y="858"/>
                  <a:pt x="271" y="858"/>
                </a:cubicBezTo>
                <a:cubicBezTo>
                  <a:pt x="275" y="860"/>
                  <a:pt x="287" y="865"/>
                  <a:pt x="288" y="886"/>
                </a:cubicBezTo>
                <a:cubicBezTo>
                  <a:pt x="289" y="893"/>
                  <a:pt x="290" y="899"/>
                  <a:pt x="290" y="904"/>
                </a:cubicBezTo>
                <a:cubicBezTo>
                  <a:pt x="292" y="921"/>
                  <a:pt x="293" y="927"/>
                  <a:pt x="280" y="1020"/>
                </a:cubicBezTo>
                <a:cubicBezTo>
                  <a:pt x="279" y="1026"/>
                  <a:pt x="281" y="1032"/>
                  <a:pt x="286" y="1037"/>
                </a:cubicBezTo>
                <a:cubicBezTo>
                  <a:pt x="289" y="1040"/>
                  <a:pt x="294" y="1042"/>
                  <a:pt x="299" y="1042"/>
                </a:cubicBezTo>
                <a:cubicBezTo>
                  <a:pt x="301" y="1042"/>
                  <a:pt x="302" y="1042"/>
                  <a:pt x="303" y="1042"/>
                </a:cubicBezTo>
                <a:cubicBezTo>
                  <a:pt x="311" y="1041"/>
                  <a:pt x="438" y="1015"/>
                  <a:pt x="552" y="955"/>
                </a:cubicBezTo>
                <a:cubicBezTo>
                  <a:pt x="598" y="979"/>
                  <a:pt x="646" y="997"/>
                  <a:pt x="686" y="1011"/>
                </a:cubicBezTo>
                <a:cubicBezTo>
                  <a:pt x="697" y="1014"/>
                  <a:pt x="708" y="1009"/>
                  <a:pt x="712" y="998"/>
                </a:cubicBezTo>
                <a:cubicBezTo>
                  <a:pt x="715" y="988"/>
                  <a:pt x="709" y="976"/>
                  <a:pt x="699" y="973"/>
                </a:cubicBezTo>
                <a:cubicBezTo>
                  <a:pt x="667" y="962"/>
                  <a:pt x="630" y="948"/>
                  <a:pt x="594" y="931"/>
                </a:cubicBezTo>
                <a:cubicBezTo>
                  <a:pt x="623" y="913"/>
                  <a:pt x="649" y="893"/>
                  <a:pt x="671" y="870"/>
                </a:cubicBezTo>
                <a:cubicBezTo>
                  <a:pt x="675" y="867"/>
                  <a:pt x="676" y="862"/>
                  <a:pt x="677" y="858"/>
                </a:cubicBezTo>
                <a:cubicBezTo>
                  <a:pt x="683" y="786"/>
                  <a:pt x="692" y="710"/>
                  <a:pt x="715" y="638"/>
                </a:cubicBezTo>
                <a:cubicBezTo>
                  <a:pt x="727" y="603"/>
                  <a:pt x="741" y="571"/>
                  <a:pt x="759" y="541"/>
                </a:cubicBezTo>
                <a:cubicBezTo>
                  <a:pt x="812" y="451"/>
                  <a:pt x="830" y="345"/>
                  <a:pt x="809" y="249"/>
                </a:cubicBezTo>
                <a:cubicBezTo>
                  <a:pt x="809" y="249"/>
                  <a:pt x="809" y="249"/>
                  <a:pt x="809" y="249"/>
                </a:cubicBezTo>
                <a:cubicBezTo>
                  <a:pt x="787" y="162"/>
                  <a:pt x="710" y="102"/>
                  <a:pt x="666" y="74"/>
                </a:cubicBezTo>
                <a:cubicBezTo>
                  <a:pt x="653" y="66"/>
                  <a:pt x="640" y="59"/>
                  <a:pt x="627" y="52"/>
                </a:cubicBezTo>
                <a:cubicBezTo>
                  <a:pt x="690" y="48"/>
                  <a:pt x="754" y="60"/>
                  <a:pt x="812" y="89"/>
                </a:cubicBezTo>
                <a:cubicBezTo>
                  <a:pt x="908" y="138"/>
                  <a:pt x="999" y="246"/>
                  <a:pt x="987" y="360"/>
                </a:cubicBezTo>
                <a:cubicBezTo>
                  <a:pt x="986" y="366"/>
                  <a:pt x="985" y="371"/>
                  <a:pt x="984" y="377"/>
                </a:cubicBezTo>
                <a:cubicBezTo>
                  <a:pt x="981" y="401"/>
                  <a:pt x="977" y="425"/>
                  <a:pt x="992" y="453"/>
                </a:cubicBezTo>
                <a:cubicBezTo>
                  <a:pt x="1007" y="483"/>
                  <a:pt x="1027" y="508"/>
                  <a:pt x="1049" y="525"/>
                </a:cubicBezTo>
                <a:cubicBezTo>
                  <a:pt x="1059" y="533"/>
                  <a:pt x="1060" y="543"/>
                  <a:pt x="1058" y="549"/>
                </a:cubicBezTo>
                <a:cubicBezTo>
                  <a:pt x="1057" y="552"/>
                  <a:pt x="1055" y="554"/>
                  <a:pt x="1055" y="554"/>
                </a:cubicBezTo>
                <a:cubicBezTo>
                  <a:pt x="1039" y="555"/>
                  <a:pt x="1026" y="564"/>
                  <a:pt x="1018" y="578"/>
                </a:cubicBezTo>
                <a:cubicBezTo>
                  <a:pt x="1010" y="591"/>
                  <a:pt x="1009" y="608"/>
                  <a:pt x="1014" y="619"/>
                </a:cubicBezTo>
                <a:cubicBezTo>
                  <a:pt x="1016" y="623"/>
                  <a:pt x="1019" y="633"/>
                  <a:pt x="1020" y="640"/>
                </a:cubicBezTo>
                <a:cubicBezTo>
                  <a:pt x="1019" y="641"/>
                  <a:pt x="1019" y="641"/>
                  <a:pt x="1018" y="641"/>
                </a:cubicBezTo>
                <a:cubicBezTo>
                  <a:pt x="1014" y="643"/>
                  <a:pt x="1010" y="646"/>
                  <a:pt x="1006" y="648"/>
                </a:cubicBezTo>
                <a:cubicBezTo>
                  <a:pt x="1001" y="651"/>
                  <a:pt x="998" y="655"/>
                  <a:pt x="997" y="661"/>
                </a:cubicBezTo>
                <a:cubicBezTo>
                  <a:pt x="996" y="666"/>
                  <a:pt x="997" y="672"/>
                  <a:pt x="999" y="676"/>
                </a:cubicBezTo>
                <a:cubicBezTo>
                  <a:pt x="1000" y="677"/>
                  <a:pt x="1002" y="679"/>
                  <a:pt x="1003" y="681"/>
                </a:cubicBezTo>
                <a:cubicBezTo>
                  <a:pt x="1004" y="682"/>
                  <a:pt x="1005" y="684"/>
                  <a:pt x="1007" y="686"/>
                </a:cubicBezTo>
                <a:cubicBezTo>
                  <a:pt x="995" y="702"/>
                  <a:pt x="984" y="720"/>
                  <a:pt x="988" y="737"/>
                </a:cubicBezTo>
                <a:cubicBezTo>
                  <a:pt x="991" y="751"/>
                  <a:pt x="997" y="779"/>
                  <a:pt x="987" y="791"/>
                </a:cubicBezTo>
                <a:cubicBezTo>
                  <a:pt x="971" y="810"/>
                  <a:pt x="947" y="814"/>
                  <a:pt x="930" y="814"/>
                </a:cubicBezTo>
                <a:cubicBezTo>
                  <a:pt x="930" y="814"/>
                  <a:pt x="930" y="814"/>
                  <a:pt x="930" y="814"/>
                </a:cubicBezTo>
                <a:cubicBezTo>
                  <a:pt x="913" y="814"/>
                  <a:pt x="895" y="815"/>
                  <a:pt x="879" y="816"/>
                </a:cubicBezTo>
                <a:cubicBezTo>
                  <a:pt x="863" y="817"/>
                  <a:pt x="846" y="818"/>
                  <a:pt x="830" y="818"/>
                </a:cubicBezTo>
                <a:cubicBezTo>
                  <a:pt x="817" y="818"/>
                  <a:pt x="779" y="834"/>
                  <a:pt x="776" y="883"/>
                </a:cubicBezTo>
                <a:cubicBezTo>
                  <a:pt x="775" y="890"/>
                  <a:pt x="775" y="895"/>
                  <a:pt x="774" y="899"/>
                </a:cubicBezTo>
                <a:cubicBezTo>
                  <a:pt x="772" y="922"/>
                  <a:pt x="772" y="932"/>
                  <a:pt x="785" y="1025"/>
                </a:cubicBezTo>
                <a:cubicBezTo>
                  <a:pt x="786" y="1035"/>
                  <a:pt x="795" y="1042"/>
                  <a:pt x="805" y="1042"/>
                </a:cubicBezTo>
                <a:cubicBezTo>
                  <a:pt x="805" y="1042"/>
                  <a:pt x="806" y="1042"/>
                  <a:pt x="807" y="1042"/>
                </a:cubicBezTo>
                <a:cubicBezTo>
                  <a:pt x="818" y="1041"/>
                  <a:pt x="826" y="1030"/>
                  <a:pt x="824" y="1020"/>
                </a:cubicBezTo>
                <a:cubicBezTo>
                  <a:pt x="811" y="927"/>
                  <a:pt x="812" y="921"/>
                  <a:pt x="814" y="904"/>
                </a:cubicBezTo>
                <a:cubicBezTo>
                  <a:pt x="814" y="899"/>
                  <a:pt x="815" y="893"/>
                  <a:pt x="816" y="886"/>
                </a:cubicBezTo>
                <a:cubicBezTo>
                  <a:pt x="817" y="865"/>
                  <a:pt x="829" y="860"/>
                  <a:pt x="833" y="858"/>
                </a:cubicBezTo>
                <a:cubicBezTo>
                  <a:pt x="849" y="858"/>
                  <a:pt x="865" y="857"/>
                  <a:pt x="881" y="856"/>
                </a:cubicBezTo>
                <a:cubicBezTo>
                  <a:pt x="898" y="855"/>
                  <a:pt x="913" y="854"/>
                  <a:pt x="929" y="854"/>
                </a:cubicBezTo>
                <a:cubicBezTo>
                  <a:pt x="930" y="854"/>
                  <a:pt x="930" y="854"/>
                  <a:pt x="930" y="854"/>
                </a:cubicBezTo>
                <a:cubicBezTo>
                  <a:pt x="966" y="854"/>
                  <a:pt x="997" y="841"/>
                  <a:pt x="1017" y="817"/>
                </a:cubicBezTo>
                <a:cubicBezTo>
                  <a:pt x="1039" y="791"/>
                  <a:pt x="1032" y="751"/>
                  <a:pt x="1027" y="730"/>
                </a:cubicBezTo>
                <a:cubicBezTo>
                  <a:pt x="1028" y="724"/>
                  <a:pt x="1037" y="712"/>
                  <a:pt x="1040" y="708"/>
                </a:cubicBezTo>
                <a:cubicBezTo>
                  <a:pt x="1041" y="707"/>
                  <a:pt x="1042" y="705"/>
                  <a:pt x="1043" y="704"/>
                </a:cubicBezTo>
                <a:cubicBezTo>
                  <a:pt x="1051" y="693"/>
                  <a:pt x="1049" y="682"/>
                  <a:pt x="1045" y="672"/>
                </a:cubicBezTo>
                <a:cubicBezTo>
                  <a:pt x="1046" y="672"/>
                  <a:pt x="1048" y="671"/>
                  <a:pt x="1049" y="670"/>
                </a:cubicBezTo>
                <a:cubicBezTo>
                  <a:pt x="1071" y="657"/>
                  <a:pt x="1055" y="614"/>
                  <a:pt x="1051" y="604"/>
                </a:cubicBezTo>
                <a:cubicBezTo>
                  <a:pt x="1051" y="602"/>
                  <a:pt x="1052" y="598"/>
                  <a:pt x="1054" y="596"/>
                </a:cubicBezTo>
                <a:cubicBezTo>
                  <a:pt x="1055" y="595"/>
                  <a:pt x="1056" y="594"/>
                  <a:pt x="1058" y="594"/>
                </a:cubicBezTo>
                <a:cubicBezTo>
                  <a:pt x="1076" y="592"/>
                  <a:pt x="1091" y="579"/>
                  <a:pt x="1096" y="561"/>
                </a:cubicBezTo>
                <a:cubicBezTo>
                  <a:pt x="1104" y="537"/>
                  <a:pt x="1095" y="511"/>
                  <a:pt x="1074" y="494"/>
                </a:cubicBezTo>
                <a:close/>
                <a:moveTo>
                  <a:pt x="323" y="996"/>
                </a:moveTo>
                <a:cubicBezTo>
                  <a:pt x="332" y="929"/>
                  <a:pt x="332" y="919"/>
                  <a:pt x="330" y="899"/>
                </a:cubicBezTo>
                <a:cubicBezTo>
                  <a:pt x="329" y="895"/>
                  <a:pt x="329" y="890"/>
                  <a:pt x="328" y="883"/>
                </a:cubicBezTo>
                <a:cubicBezTo>
                  <a:pt x="325" y="834"/>
                  <a:pt x="287" y="818"/>
                  <a:pt x="274" y="818"/>
                </a:cubicBezTo>
                <a:cubicBezTo>
                  <a:pt x="258" y="818"/>
                  <a:pt x="241" y="817"/>
                  <a:pt x="225" y="816"/>
                </a:cubicBezTo>
                <a:cubicBezTo>
                  <a:pt x="209" y="815"/>
                  <a:pt x="192" y="814"/>
                  <a:pt x="175" y="814"/>
                </a:cubicBezTo>
                <a:cubicBezTo>
                  <a:pt x="174" y="814"/>
                  <a:pt x="174" y="814"/>
                  <a:pt x="174" y="814"/>
                </a:cubicBezTo>
                <a:cubicBezTo>
                  <a:pt x="157" y="814"/>
                  <a:pt x="133" y="810"/>
                  <a:pt x="117" y="791"/>
                </a:cubicBezTo>
                <a:cubicBezTo>
                  <a:pt x="107" y="779"/>
                  <a:pt x="113" y="751"/>
                  <a:pt x="116" y="737"/>
                </a:cubicBezTo>
                <a:cubicBezTo>
                  <a:pt x="120" y="720"/>
                  <a:pt x="109" y="702"/>
                  <a:pt x="97" y="686"/>
                </a:cubicBezTo>
                <a:cubicBezTo>
                  <a:pt x="99" y="684"/>
                  <a:pt x="100" y="682"/>
                  <a:pt x="101" y="681"/>
                </a:cubicBezTo>
                <a:cubicBezTo>
                  <a:pt x="102" y="679"/>
                  <a:pt x="104" y="677"/>
                  <a:pt x="105" y="676"/>
                </a:cubicBezTo>
                <a:cubicBezTo>
                  <a:pt x="107" y="672"/>
                  <a:pt x="108" y="666"/>
                  <a:pt x="107" y="661"/>
                </a:cubicBezTo>
                <a:cubicBezTo>
                  <a:pt x="106" y="655"/>
                  <a:pt x="103" y="651"/>
                  <a:pt x="98" y="648"/>
                </a:cubicBezTo>
                <a:cubicBezTo>
                  <a:pt x="94" y="646"/>
                  <a:pt x="90" y="643"/>
                  <a:pt x="86" y="641"/>
                </a:cubicBezTo>
                <a:cubicBezTo>
                  <a:pt x="85" y="641"/>
                  <a:pt x="85" y="641"/>
                  <a:pt x="84" y="640"/>
                </a:cubicBezTo>
                <a:cubicBezTo>
                  <a:pt x="85" y="633"/>
                  <a:pt x="88" y="623"/>
                  <a:pt x="90" y="619"/>
                </a:cubicBezTo>
                <a:cubicBezTo>
                  <a:pt x="95" y="608"/>
                  <a:pt x="94" y="591"/>
                  <a:pt x="86" y="578"/>
                </a:cubicBezTo>
                <a:cubicBezTo>
                  <a:pt x="78" y="564"/>
                  <a:pt x="65" y="555"/>
                  <a:pt x="49" y="554"/>
                </a:cubicBezTo>
                <a:cubicBezTo>
                  <a:pt x="49" y="554"/>
                  <a:pt x="47" y="552"/>
                  <a:pt x="46" y="549"/>
                </a:cubicBezTo>
                <a:cubicBezTo>
                  <a:pt x="44" y="543"/>
                  <a:pt x="45" y="533"/>
                  <a:pt x="55" y="525"/>
                </a:cubicBezTo>
                <a:cubicBezTo>
                  <a:pt x="77" y="508"/>
                  <a:pt x="97" y="483"/>
                  <a:pt x="112" y="453"/>
                </a:cubicBezTo>
                <a:cubicBezTo>
                  <a:pt x="127" y="425"/>
                  <a:pt x="123" y="401"/>
                  <a:pt x="120" y="377"/>
                </a:cubicBezTo>
                <a:cubicBezTo>
                  <a:pt x="119" y="371"/>
                  <a:pt x="118" y="366"/>
                  <a:pt x="117" y="360"/>
                </a:cubicBezTo>
                <a:cubicBezTo>
                  <a:pt x="105" y="246"/>
                  <a:pt x="196" y="138"/>
                  <a:pt x="292" y="89"/>
                </a:cubicBezTo>
                <a:cubicBezTo>
                  <a:pt x="349" y="60"/>
                  <a:pt x="414" y="48"/>
                  <a:pt x="477" y="52"/>
                </a:cubicBezTo>
                <a:cubicBezTo>
                  <a:pt x="464" y="59"/>
                  <a:pt x="451" y="66"/>
                  <a:pt x="438" y="74"/>
                </a:cubicBezTo>
                <a:cubicBezTo>
                  <a:pt x="394" y="102"/>
                  <a:pt x="317" y="162"/>
                  <a:pt x="295" y="249"/>
                </a:cubicBezTo>
                <a:cubicBezTo>
                  <a:pt x="295" y="249"/>
                  <a:pt x="295" y="249"/>
                  <a:pt x="295" y="249"/>
                </a:cubicBezTo>
                <a:cubicBezTo>
                  <a:pt x="274" y="345"/>
                  <a:pt x="292" y="451"/>
                  <a:pt x="345" y="541"/>
                </a:cubicBezTo>
                <a:cubicBezTo>
                  <a:pt x="363" y="571"/>
                  <a:pt x="377" y="603"/>
                  <a:pt x="389" y="638"/>
                </a:cubicBezTo>
                <a:cubicBezTo>
                  <a:pt x="412" y="710"/>
                  <a:pt x="421" y="786"/>
                  <a:pt x="427" y="858"/>
                </a:cubicBezTo>
                <a:cubicBezTo>
                  <a:pt x="428" y="862"/>
                  <a:pt x="429" y="867"/>
                  <a:pt x="433" y="870"/>
                </a:cubicBezTo>
                <a:cubicBezTo>
                  <a:pt x="455" y="893"/>
                  <a:pt x="482" y="913"/>
                  <a:pt x="510" y="931"/>
                </a:cubicBezTo>
                <a:cubicBezTo>
                  <a:pt x="438" y="965"/>
                  <a:pt x="362" y="987"/>
                  <a:pt x="323" y="996"/>
                </a:cubicBezTo>
                <a:close/>
                <a:moveTo>
                  <a:pt x="601" y="506"/>
                </a:moveTo>
                <a:cubicBezTo>
                  <a:pt x="601" y="486"/>
                  <a:pt x="601" y="486"/>
                  <a:pt x="601" y="486"/>
                </a:cubicBezTo>
                <a:cubicBezTo>
                  <a:pt x="601" y="483"/>
                  <a:pt x="604" y="480"/>
                  <a:pt x="608" y="480"/>
                </a:cubicBezTo>
                <a:cubicBezTo>
                  <a:pt x="629" y="480"/>
                  <a:pt x="629" y="480"/>
                  <a:pt x="629" y="480"/>
                </a:cubicBezTo>
                <a:cubicBezTo>
                  <a:pt x="634" y="480"/>
                  <a:pt x="639" y="484"/>
                  <a:pt x="639" y="489"/>
                </a:cubicBezTo>
                <a:cubicBezTo>
                  <a:pt x="639" y="499"/>
                  <a:pt x="639" y="499"/>
                  <a:pt x="639" y="499"/>
                </a:cubicBezTo>
                <a:cubicBezTo>
                  <a:pt x="639" y="503"/>
                  <a:pt x="635" y="506"/>
                  <a:pt x="632" y="506"/>
                </a:cubicBezTo>
                <a:lnTo>
                  <a:pt x="601" y="506"/>
                </a:lnTo>
                <a:close/>
                <a:moveTo>
                  <a:pt x="540" y="547"/>
                </a:moveTo>
                <a:cubicBezTo>
                  <a:pt x="562" y="547"/>
                  <a:pt x="562" y="547"/>
                  <a:pt x="562" y="547"/>
                </a:cubicBezTo>
                <a:cubicBezTo>
                  <a:pt x="562" y="664"/>
                  <a:pt x="562" y="664"/>
                  <a:pt x="562" y="664"/>
                </a:cubicBezTo>
                <a:cubicBezTo>
                  <a:pt x="540" y="664"/>
                  <a:pt x="540" y="664"/>
                  <a:pt x="540" y="664"/>
                </a:cubicBezTo>
                <a:lnTo>
                  <a:pt x="540" y="547"/>
                </a:lnTo>
                <a:close/>
                <a:moveTo>
                  <a:pt x="500" y="506"/>
                </a:moveTo>
                <a:cubicBezTo>
                  <a:pt x="465" y="506"/>
                  <a:pt x="465" y="506"/>
                  <a:pt x="465" y="506"/>
                </a:cubicBezTo>
                <a:cubicBezTo>
                  <a:pt x="464" y="506"/>
                  <a:pt x="462" y="505"/>
                  <a:pt x="462" y="503"/>
                </a:cubicBezTo>
                <a:cubicBezTo>
                  <a:pt x="462" y="486"/>
                  <a:pt x="462" y="486"/>
                  <a:pt x="462" y="486"/>
                </a:cubicBezTo>
                <a:cubicBezTo>
                  <a:pt x="462" y="482"/>
                  <a:pt x="465" y="480"/>
                  <a:pt x="468" y="480"/>
                </a:cubicBezTo>
                <a:cubicBezTo>
                  <a:pt x="497" y="480"/>
                  <a:pt x="497" y="480"/>
                  <a:pt x="497" y="480"/>
                </a:cubicBezTo>
                <a:cubicBezTo>
                  <a:pt x="498" y="480"/>
                  <a:pt x="500" y="481"/>
                  <a:pt x="500" y="483"/>
                </a:cubicBezTo>
                <a:lnTo>
                  <a:pt x="500" y="506"/>
                </a:lnTo>
                <a:close/>
                <a:moveTo>
                  <a:pt x="656" y="708"/>
                </a:moveTo>
                <a:cubicBezTo>
                  <a:pt x="653" y="723"/>
                  <a:pt x="651" y="738"/>
                  <a:pt x="648" y="753"/>
                </a:cubicBezTo>
                <a:cubicBezTo>
                  <a:pt x="456" y="753"/>
                  <a:pt x="456" y="753"/>
                  <a:pt x="456" y="753"/>
                </a:cubicBezTo>
                <a:cubicBezTo>
                  <a:pt x="453" y="738"/>
                  <a:pt x="451" y="723"/>
                  <a:pt x="448" y="708"/>
                </a:cubicBezTo>
                <a:lnTo>
                  <a:pt x="656" y="708"/>
                </a:lnTo>
                <a:close/>
                <a:moveTo>
                  <a:pt x="465" y="833"/>
                </a:moveTo>
                <a:cubicBezTo>
                  <a:pt x="464" y="820"/>
                  <a:pt x="462" y="806"/>
                  <a:pt x="461" y="793"/>
                </a:cubicBezTo>
                <a:cubicBezTo>
                  <a:pt x="643" y="793"/>
                  <a:pt x="643" y="793"/>
                  <a:pt x="643" y="793"/>
                </a:cubicBezTo>
                <a:cubicBezTo>
                  <a:pt x="642" y="806"/>
                  <a:pt x="640" y="820"/>
                  <a:pt x="639" y="834"/>
                </a:cubicBezTo>
                <a:lnTo>
                  <a:pt x="465" y="833"/>
                </a:lnTo>
                <a:close/>
                <a:moveTo>
                  <a:pt x="497" y="873"/>
                </a:moveTo>
                <a:cubicBezTo>
                  <a:pt x="607" y="874"/>
                  <a:pt x="607" y="874"/>
                  <a:pt x="607" y="874"/>
                </a:cubicBezTo>
                <a:cubicBezTo>
                  <a:pt x="590" y="887"/>
                  <a:pt x="571" y="899"/>
                  <a:pt x="552" y="909"/>
                </a:cubicBezTo>
                <a:cubicBezTo>
                  <a:pt x="533" y="898"/>
                  <a:pt x="514" y="886"/>
                  <a:pt x="497" y="873"/>
                </a:cubicBezTo>
                <a:close/>
                <a:moveTo>
                  <a:pt x="644" y="108"/>
                </a:moveTo>
                <a:cubicBezTo>
                  <a:pt x="710" y="150"/>
                  <a:pt x="756" y="205"/>
                  <a:pt x="770" y="258"/>
                </a:cubicBezTo>
                <a:cubicBezTo>
                  <a:pt x="789" y="344"/>
                  <a:pt x="772" y="439"/>
                  <a:pt x="725" y="521"/>
                </a:cubicBezTo>
                <a:cubicBezTo>
                  <a:pt x="705" y="554"/>
                  <a:pt x="690" y="588"/>
                  <a:pt x="677" y="626"/>
                </a:cubicBezTo>
                <a:cubicBezTo>
                  <a:pt x="673" y="640"/>
                  <a:pt x="669" y="654"/>
                  <a:pt x="665" y="668"/>
                </a:cubicBezTo>
                <a:cubicBezTo>
                  <a:pt x="602" y="668"/>
                  <a:pt x="602" y="668"/>
                  <a:pt x="602" y="668"/>
                </a:cubicBezTo>
                <a:cubicBezTo>
                  <a:pt x="602" y="546"/>
                  <a:pt x="602" y="546"/>
                  <a:pt x="602" y="546"/>
                </a:cubicBezTo>
                <a:cubicBezTo>
                  <a:pt x="632" y="546"/>
                  <a:pt x="632" y="546"/>
                  <a:pt x="632" y="546"/>
                </a:cubicBezTo>
                <a:cubicBezTo>
                  <a:pt x="658" y="546"/>
                  <a:pt x="679" y="525"/>
                  <a:pt x="679" y="499"/>
                </a:cubicBezTo>
                <a:cubicBezTo>
                  <a:pt x="679" y="489"/>
                  <a:pt x="679" y="489"/>
                  <a:pt x="679" y="489"/>
                </a:cubicBezTo>
                <a:cubicBezTo>
                  <a:pt x="679" y="462"/>
                  <a:pt x="656" y="440"/>
                  <a:pt x="629" y="440"/>
                </a:cubicBezTo>
                <a:cubicBezTo>
                  <a:pt x="608" y="440"/>
                  <a:pt x="608" y="440"/>
                  <a:pt x="608" y="440"/>
                </a:cubicBezTo>
                <a:cubicBezTo>
                  <a:pt x="582" y="440"/>
                  <a:pt x="561" y="461"/>
                  <a:pt x="561" y="486"/>
                </a:cubicBezTo>
                <a:cubicBezTo>
                  <a:pt x="561" y="506"/>
                  <a:pt x="561" y="506"/>
                  <a:pt x="561" y="506"/>
                </a:cubicBezTo>
                <a:cubicBezTo>
                  <a:pt x="561" y="506"/>
                  <a:pt x="561" y="507"/>
                  <a:pt x="561" y="507"/>
                </a:cubicBezTo>
                <a:cubicBezTo>
                  <a:pt x="540" y="507"/>
                  <a:pt x="540" y="507"/>
                  <a:pt x="540" y="507"/>
                </a:cubicBezTo>
                <a:cubicBezTo>
                  <a:pt x="540" y="483"/>
                  <a:pt x="540" y="483"/>
                  <a:pt x="540" y="483"/>
                </a:cubicBezTo>
                <a:cubicBezTo>
                  <a:pt x="540" y="459"/>
                  <a:pt x="520" y="440"/>
                  <a:pt x="497" y="440"/>
                </a:cubicBezTo>
                <a:cubicBezTo>
                  <a:pt x="468" y="440"/>
                  <a:pt x="468" y="440"/>
                  <a:pt x="468" y="440"/>
                </a:cubicBezTo>
                <a:cubicBezTo>
                  <a:pt x="443" y="440"/>
                  <a:pt x="422" y="460"/>
                  <a:pt x="422" y="486"/>
                </a:cubicBezTo>
                <a:cubicBezTo>
                  <a:pt x="422" y="503"/>
                  <a:pt x="422" y="503"/>
                  <a:pt x="422" y="503"/>
                </a:cubicBezTo>
                <a:cubicBezTo>
                  <a:pt x="422" y="527"/>
                  <a:pt x="442" y="546"/>
                  <a:pt x="465" y="546"/>
                </a:cubicBezTo>
                <a:cubicBezTo>
                  <a:pt x="500" y="546"/>
                  <a:pt x="500" y="546"/>
                  <a:pt x="500" y="546"/>
                </a:cubicBezTo>
                <a:cubicBezTo>
                  <a:pt x="500" y="668"/>
                  <a:pt x="500" y="668"/>
                  <a:pt x="500" y="668"/>
                </a:cubicBezTo>
                <a:cubicBezTo>
                  <a:pt x="439" y="668"/>
                  <a:pt x="439" y="668"/>
                  <a:pt x="439" y="668"/>
                </a:cubicBezTo>
                <a:cubicBezTo>
                  <a:pt x="435" y="654"/>
                  <a:pt x="431" y="640"/>
                  <a:pt x="427" y="626"/>
                </a:cubicBezTo>
                <a:cubicBezTo>
                  <a:pt x="414" y="588"/>
                  <a:pt x="399" y="554"/>
                  <a:pt x="379" y="521"/>
                </a:cubicBezTo>
                <a:cubicBezTo>
                  <a:pt x="332" y="439"/>
                  <a:pt x="315" y="344"/>
                  <a:pt x="334" y="258"/>
                </a:cubicBezTo>
                <a:cubicBezTo>
                  <a:pt x="348" y="205"/>
                  <a:pt x="394" y="150"/>
                  <a:pt x="460" y="108"/>
                </a:cubicBezTo>
                <a:cubicBezTo>
                  <a:pt x="489" y="89"/>
                  <a:pt x="520" y="76"/>
                  <a:pt x="552" y="66"/>
                </a:cubicBezTo>
                <a:cubicBezTo>
                  <a:pt x="584" y="76"/>
                  <a:pt x="615" y="89"/>
                  <a:pt x="644" y="10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a:ln>
                <a:noFill/>
              </a:ln>
              <a:effectLst/>
              <a:uLnTx/>
              <a:uFillTx/>
              <a:latin typeface="Montserrat" panose="00000500000000000000"/>
            </a:endParaRPr>
          </a:p>
        </p:txBody>
      </p:sp>
      <p:sp>
        <p:nvSpPr>
          <p:cNvPr id="37" name="Freeform 6">
            <a:extLst>
              <a:ext uri="{FF2B5EF4-FFF2-40B4-BE49-F238E27FC236}">
                <a16:creationId xmlns:a16="http://schemas.microsoft.com/office/drawing/2014/main" id="{351D676A-4F3D-4F4C-8A6C-CC29B770CDB3}"/>
              </a:ext>
            </a:extLst>
          </p:cNvPr>
          <p:cNvSpPr>
            <a:spLocks/>
          </p:cNvSpPr>
          <p:nvPr/>
        </p:nvSpPr>
        <p:spPr bwMode="auto">
          <a:xfrm>
            <a:off x="9064147" y="2617467"/>
            <a:ext cx="121846" cy="62277"/>
          </a:xfrm>
          <a:custGeom>
            <a:avLst/>
            <a:gdLst>
              <a:gd name="T0" fmla="*/ 51 w 284"/>
              <a:gd name="T1" fmla="*/ 56 h 159"/>
              <a:gd name="T2" fmla="*/ 84 w 284"/>
              <a:gd name="T3" fmla="*/ 123 h 159"/>
              <a:gd name="T4" fmla="*/ 83 w 284"/>
              <a:gd name="T5" fmla="*/ 123 h 159"/>
              <a:gd name="T6" fmla="*/ 34 w 284"/>
              <a:gd name="T7" fmla="*/ 87 h 159"/>
              <a:gd name="T8" fmla="*/ 6 w 284"/>
              <a:gd name="T9" fmla="*/ 91 h 159"/>
              <a:gd name="T10" fmla="*/ 11 w 284"/>
              <a:gd name="T11" fmla="*/ 119 h 159"/>
              <a:gd name="T12" fmla="*/ 59 w 284"/>
              <a:gd name="T13" fmla="*/ 155 h 159"/>
              <a:gd name="T14" fmla="*/ 71 w 284"/>
              <a:gd name="T15" fmla="*/ 159 h 159"/>
              <a:gd name="T16" fmla="*/ 87 w 284"/>
              <a:gd name="T17" fmla="*/ 151 h 159"/>
              <a:gd name="T18" fmla="*/ 90 w 284"/>
              <a:gd name="T19" fmla="*/ 132 h 159"/>
              <a:gd name="T20" fmla="*/ 102 w 284"/>
              <a:gd name="T21" fmla="*/ 136 h 159"/>
              <a:gd name="T22" fmla="*/ 111 w 284"/>
              <a:gd name="T23" fmla="*/ 134 h 159"/>
              <a:gd name="T24" fmla="*/ 121 w 284"/>
              <a:gd name="T25" fmla="*/ 122 h 159"/>
              <a:gd name="T26" fmla="*/ 139 w 284"/>
              <a:gd name="T27" fmla="*/ 133 h 159"/>
              <a:gd name="T28" fmla="*/ 159 w 284"/>
              <a:gd name="T29" fmla="*/ 116 h 159"/>
              <a:gd name="T30" fmla="*/ 170 w 284"/>
              <a:gd name="T31" fmla="*/ 134 h 159"/>
              <a:gd name="T32" fmla="*/ 179 w 284"/>
              <a:gd name="T33" fmla="*/ 136 h 159"/>
              <a:gd name="T34" fmla="*/ 195 w 284"/>
              <a:gd name="T35" fmla="*/ 128 h 159"/>
              <a:gd name="T36" fmla="*/ 197 w 284"/>
              <a:gd name="T37" fmla="*/ 148 h 159"/>
              <a:gd name="T38" fmla="*/ 213 w 284"/>
              <a:gd name="T39" fmla="*/ 156 h 159"/>
              <a:gd name="T40" fmla="*/ 225 w 284"/>
              <a:gd name="T41" fmla="*/ 153 h 159"/>
              <a:gd name="T42" fmla="*/ 273 w 284"/>
              <a:gd name="T43" fmla="*/ 117 h 159"/>
              <a:gd name="T44" fmla="*/ 278 w 284"/>
              <a:gd name="T45" fmla="*/ 89 h 159"/>
              <a:gd name="T46" fmla="*/ 250 w 284"/>
              <a:gd name="T47" fmla="*/ 85 h 159"/>
              <a:gd name="T48" fmla="*/ 201 w 284"/>
              <a:gd name="T49" fmla="*/ 120 h 159"/>
              <a:gd name="T50" fmla="*/ 197 w 284"/>
              <a:gd name="T51" fmla="*/ 124 h 159"/>
              <a:gd name="T52" fmla="*/ 231 w 284"/>
              <a:gd name="T53" fmla="*/ 56 h 159"/>
              <a:gd name="T54" fmla="*/ 222 w 284"/>
              <a:gd name="T55" fmla="*/ 29 h 159"/>
              <a:gd name="T56" fmla="*/ 195 w 284"/>
              <a:gd name="T57" fmla="*/ 38 h 159"/>
              <a:gd name="T58" fmla="*/ 161 w 284"/>
              <a:gd name="T59" fmla="*/ 107 h 159"/>
              <a:gd name="T60" fmla="*/ 159 w 284"/>
              <a:gd name="T61" fmla="*/ 113 h 159"/>
              <a:gd name="T62" fmla="*/ 159 w 284"/>
              <a:gd name="T63" fmla="*/ 20 h 159"/>
              <a:gd name="T64" fmla="*/ 139 w 284"/>
              <a:gd name="T65" fmla="*/ 0 h 159"/>
              <a:gd name="T66" fmla="*/ 119 w 284"/>
              <a:gd name="T67" fmla="*/ 20 h 159"/>
              <a:gd name="T68" fmla="*/ 119 w 284"/>
              <a:gd name="T69" fmla="*/ 105 h 159"/>
              <a:gd name="T70" fmla="*/ 87 w 284"/>
              <a:gd name="T71" fmla="*/ 38 h 159"/>
              <a:gd name="T72" fmla="*/ 60 w 284"/>
              <a:gd name="T73" fmla="*/ 29 h 159"/>
              <a:gd name="T74" fmla="*/ 51 w 284"/>
              <a:gd name="T75" fmla="*/ 56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4" h="159">
                <a:moveTo>
                  <a:pt x="51" y="56"/>
                </a:moveTo>
                <a:cubicBezTo>
                  <a:pt x="84" y="123"/>
                  <a:pt x="84" y="123"/>
                  <a:pt x="84" y="123"/>
                </a:cubicBezTo>
                <a:cubicBezTo>
                  <a:pt x="83" y="123"/>
                  <a:pt x="83" y="123"/>
                  <a:pt x="83" y="123"/>
                </a:cubicBezTo>
                <a:cubicBezTo>
                  <a:pt x="34" y="87"/>
                  <a:pt x="34" y="87"/>
                  <a:pt x="34" y="87"/>
                </a:cubicBezTo>
                <a:cubicBezTo>
                  <a:pt x="25" y="81"/>
                  <a:pt x="13" y="82"/>
                  <a:pt x="6" y="91"/>
                </a:cubicBezTo>
                <a:cubicBezTo>
                  <a:pt x="0" y="100"/>
                  <a:pt x="2" y="113"/>
                  <a:pt x="11" y="119"/>
                </a:cubicBezTo>
                <a:cubicBezTo>
                  <a:pt x="59" y="155"/>
                  <a:pt x="59" y="155"/>
                  <a:pt x="59" y="155"/>
                </a:cubicBezTo>
                <a:cubicBezTo>
                  <a:pt x="63" y="158"/>
                  <a:pt x="67" y="159"/>
                  <a:pt x="71" y="159"/>
                </a:cubicBezTo>
                <a:cubicBezTo>
                  <a:pt x="77" y="159"/>
                  <a:pt x="83" y="156"/>
                  <a:pt x="87" y="151"/>
                </a:cubicBezTo>
                <a:cubicBezTo>
                  <a:pt x="91" y="145"/>
                  <a:pt x="92" y="138"/>
                  <a:pt x="90" y="132"/>
                </a:cubicBezTo>
                <a:cubicBezTo>
                  <a:pt x="93" y="134"/>
                  <a:pt x="98" y="136"/>
                  <a:pt x="102" y="136"/>
                </a:cubicBezTo>
                <a:cubicBezTo>
                  <a:pt x="105" y="136"/>
                  <a:pt x="108" y="135"/>
                  <a:pt x="111" y="134"/>
                </a:cubicBezTo>
                <a:cubicBezTo>
                  <a:pt x="116" y="132"/>
                  <a:pt x="120" y="127"/>
                  <a:pt x="121" y="122"/>
                </a:cubicBezTo>
                <a:cubicBezTo>
                  <a:pt x="124" y="129"/>
                  <a:pt x="131" y="133"/>
                  <a:pt x="139" y="133"/>
                </a:cubicBezTo>
                <a:cubicBezTo>
                  <a:pt x="150" y="133"/>
                  <a:pt x="158" y="126"/>
                  <a:pt x="159" y="116"/>
                </a:cubicBezTo>
                <a:cubicBezTo>
                  <a:pt x="159" y="123"/>
                  <a:pt x="163" y="130"/>
                  <a:pt x="170" y="134"/>
                </a:cubicBezTo>
                <a:cubicBezTo>
                  <a:pt x="173" y="135"/>
                  <a:pt x="176" y="136"/>
                  <a:pt x="179" y="136"/>
                </a:cubicBezTo>
                <a:cubicBezTo>
                  <a:pt x="185" y="136"/>
                  <a:pt x="191" y="133"/>
                  <a:pt x="195" y="128"/>
                </a:cubicBezTo>
                <a:cubicBezTo>
                  <a:pt x="192" y="134"/>
                  <a:pt x="192" y="142"/>
                  <a:pt x="197" y="148"/>
                </a:cubicBezTo>
                <a:cubicBezTo>
                  <a:pt x="201" y="154"/>
                  <a:pt x="207" y="156"/>
                  <a:pt x="213" y="156"/>
                </a:cubicBezTo>
                <a:cubicBezTo>
                  <a:pt x="217" y="156"/>
                  <a:pt x="221" y="155"/>
                  <a:pt x="225" y="153"/>
                </a:cubicBezTo>
                <a:cubicBezTo>
                  <a:pt x="273" y="117"/>
                  <a:pt x="273" y="117"/>
                  <a:pt x="273" y="117"/>
                </a:cubicBezTo>
                <a:cubicBezTo>
                  <a:pt x="282" y="110"/>
                  <a:pt x="284" y="98"/>
                  <a:pt x="278" y="89"/>
                </a:cubicBezTo>
                <a:cubicBezTo>
                  <a:pt x="271" y="80"/>
                  <a:pt x="258" y="78"/>
                  <a:pt x="250" y="85"/>
                </a:cubicBezTo>
                <a:cubicBezTo>
                  <a:pt x="201" y="120"/>
                  <a:pt x="201" y="120"/>
                  <a:pt x="201" y="120"/>
                </a:cubicBezTo>
                <a:cubicBezTo>
                  <a:pt x="199" y="121"/>
                  <a:pt x="198" y="123"/>
                  <a:pt x="197" y="124"/>
                </a:cubicBezTo>
                <a:cubicBezTo>
                  <a:pt x="231" y="56"/>
                  <a:pt x="231" y="56"/>
                  <a:pt x="231" y="56"/>
                </a:cubicBezTo>
                <a:cubicBezTo>
                  <a:pt x="236" y="46"/>
                  <a:pt x="231" y="34"/>
                  <a:pt x="222" y="29"/>
                </a:cubicBezTo>
                <a:cubicBezTo>
                  <a:pt x="212" y="24"/>
                  <a:pt x="200" y="28"/>
                  <a:pt x="195" y="38"/>
                </a:cubicBezTo>
                <a:cubicBezTo>
                  <a:pt x="161" y="107"/>
                  <a:pt x="161" y="107"/>
                  <a:pt x="161" y="107"/>
                </a:cubicBezTo>
                <a:cubicBezTo>
                  <a:pt x="160" y="109"/>
                  <a:pt x="160" y="111"/>
                  <a:pt x="159" y="113"/>
                </a:cubicBezTo>
                <a:cubicBezTo>
                  <a:pt x="159" y="20"/>
                  <a:pt x="159" y="20"/>
                  <a:pt x="159" y="20"/>
                </a:cubicBezTo>
                <a:cubicBezTo>
                  <a:pt x="159" y="9"/>
                  <a:pt x="150" y="0"/>
                  <a:pt x="139" y="0"/>
                </a:cubicBezTo>
                <a:cubicBezTo>
                  <a:pt x="128" y="0"/>
                  <a:pt x="119" y="9"/>
                  <a:pt x="119" y="20"/>
                </a:cubicBezTo>
                <a:cubicBezTo>
                  <a:pt x="119" y="105"/>
                  <a:pt x="119" y="105"/>
                  <a:pt x="119" y="105"/>
                </a:cubicBezTo>
                <a:cubicBezTo>
                  <a:pt x="87" y="38"/>
                  <a:pt x="87" y="38"/>
                  <a:pt x="87" y="38"/>
                </a:cubicBezTo>
                <a:cubicBezTo>
                  <a:pt x="82" y="28"/>
                  <a:pt x="70" y="24"/>
                  <a:pt x="60" y="29"/>
                </a:cubicBezTo>
                <a:cubicBezTo>
                  <a:pt x="50" y="34"/>
                  <a:pt x="46" y="46"/>
                  <a:pt x="51" y="5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a:ln>
                <a:noFill/>
              </a:ln>
              <a:effectLst/>
              <a:uLnTx/>
              <a:uFillTx/>
              <a:latin typeface="Montserrat" panose="00000500000000000000"/>
            </a:endParaRPr>
          </a:p>
        </p:txBody>
      </p:sp>
      <p:sp>
        <p:nvSpPr>
          <p:cNvPr id="38" name="Oval 17"/>
          <p:cNvSpPr>
            <a:spLocks noChangeArrowheads="1"/>
          </p:cNvSpPr>
          <p:nvPr/>
        </p:nvSpPr>
        <p:spPr bwMode="auto">
          <a:xfrm>
            <a:off x="4222807" y="4070949"/>
            <a:ext cx="864939" cy="864939"/>
          </a:xfrm>
          <a:prstGeom prst="ellipse">
            <a:avLst/>
          </a:prstGeom>
          <a:solidFill>
            <a:srgbClr val="FFFFFF"/>
          </a:solidFill>
          <a:ln w="19050">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US" sz="1200">
              <a:latin typeface="Montserrat" panose="00000500000000000000"/>
            </a:endParaRPr>
          </a:p>
        </p:txBody>
      </p:sp>
      <p:sp>
        <p:nvSpPr>
          <p:cNvPr id="39" name="Oval 19"/>
          <p:cNvSpPr>
            <a:spLocks noChangeArrowheads="1"/>
          </p:cNvSpPr>
          <p:nvPr/>
        </p:nvSpPr>
        <p:spPr bwMode="auto">
          <a:xfrm>
            <a:off x="4314106" y="4162248"/>
            <a:ext cx="682341" cy="682341"/>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200">
              <a:latin typeface="Montserrat" panose="00000500000000000000"/>
            </a:endParaRPr>
          </a:p>
        </p:txBody>
      </p:sp>
      <p:sp>
        <p:nvSpPr>
          <p:cNvPr id="40" name="Rectangle 39"/>
          <p:cNvSpPr/>
          <p:nvPr/>
        </p:nvSpPr>
        <p:spPr>
          <a:xfrm>
            <a:off x="3745403" y="2882911"/>
            <a:ext cx="1871613" cy="4473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22363" tIns="61181" rIns="122363" bIns="61181" rtlCol="0" anchor="ctr"/>
          <a:lstStyle/>
          <a:p>
            <a:pPr algn="ctr"/>
            <a:r>
              <a:rPr lang="en-GB" sz="1400" b="1" dirty="0">
                <a:solidFill>
                  <a:schemeClr val="tx1"/>
                </a:solidFill>
                <a:latin typeface="Montserrat" panose="00000500000000000000"/>
                <a:cs typeface="Calibri" panose="020F0502020204030204" pitchFamily="34" charset="0"/>
              </a:rPr>
              <a:t>2000 </a:t>
            </a:r>
          </a:p>
          <a:p>
            <a:pPr algn="ctr"/>
            <a:r>
              <a:rPr lang="en-GB" sz="1400" b="1" dirty="0" err="1">
                <a:solidFill>
                  <a:schemeClr val="tx1"/>
                </a:solidFill>
                <a:latin typeface="Montserrat" panose="00000500000000000000"/>
                <a:cs typeface="Calibri" panose="020F0502020204030204" pitchFamily="34" charset="0"/>
              </a:rPr>
              <a:t>Im</a:t>
            </a:r>
            <a:r>
              <a:rPr lang="en-GB" sz="1400" b="1" dirty="0">
                <a:solidFill>
                  <a:schemeClr val="tx1"/>
                </a:solidFill>
                <a:latin typeface="Montserrat" panose="00000500000000000000"/>
                <a:cs typeface="Calibri" panose="020F0502020204030204" pitchFamily="34" charset="0"/>
              </a:rPr>
              <a:t> KIS </a:t>
            </a:r>
            <a:r>
              <a:rPr lang="en-GB" sz="1400" b="1" dirty="0" err="1">
                <a:solidFill>
                  <a:schemeClr val="tx1"/>
                </a:solidFill>
                <a:latin typeface="Montserrat" panose="00000500000000000000"/>
                <a:cs typeface="Calibri" panose="020F0502020204030204" pitchFamily="34" charset="0"/>
              </a:rPr>
              <a:t>entstehen</a:t>
            </a:r>
            <a:r>
              <a:rPr lang="en-GB" sz="1400" b="1" dirty="0">
                <a:solidFill>
                  <a:schemeClr val="tx1"/>
                </a:solidFill>
                <a:latin typeface="Montserrat" panose="00000500000000000000"/>
                <a:cs typeface="Calibri" panose="020F0502020204030204" pitchFamily="34" charset="0"/>
              </a:rPr>
              <a:t> </a:t>
            </a:r>
            <a:r>
              <a:rPr lang="en-GB" sz="1400" b="1" dirty="0" err="1">
                <a:solidFill>
                  <a:schemeClr val="tx1"/>
                </a:solidFill>
                <a:latin typeface="Montserrat" panose="00000500000000000000"/>
                <a:cs typeface="Calibri" panose="020F0502020204030204" pitchFamily="34" charset="0"/>
              </a:rPr>
              <a:t>erste</a:t>
            </a:r>
            <a:r>
              <a:rPr lang="en-GB" sz="1400" b="1" dirty="0">
                <a:solidFill>
                  <a:schemeClr val="tx1"/>
                </a:solidFill>
                <a:latin typeface="Montserrat" panose="00000500000000000000"/>
                <a:cs typeface="Calibri" panose="020F0502020204030204" pitchFamily="34" charset="0"/>
              </a:rPr>
              <a:t> </a:t>
            </a:r>
            <a:r>
              <a:rPr lang="en-GB" sz="1400" b="1" dirty="0" err="1">
                <a:solidFill>
                  <a:schemeClr val="tx1"/>
                </a:solidFill>
                <a:latin typeface="Montserrat" panose="00000500000000000000"/>
                <a:cs typeface="Calibri" panose="020F0502020204030204" pitchFamily="34" charset="0"/>
              </a:rPr>
              <a:t>digitale</a:t>
            </a:r>
            <a:r>
              <a:rPr lang="en-GB" sz="1400" b="1" dirty="0">
                <a:solidFill>
                  <a:schemeClr val="tx1"/>
                </a:solidFill>
                <a:latin typeface="Montserrat" panose="00000500000000000000"/>
                <a:cs typeface="Calibri" panose="020F0502020204030204" pitchFamily="34" charset="0"/>
              </a:rPr>
              <a:t> </a:t>
            </a:r>
            <a:r>
              <a:rPr lang="en-GB" sz="1400" b="1" dirty="0" err="1">
                <a:solidFill>
                  <a:schemeClr val="tx1"/>
                </a:solidFill>
                <a:latin typeface="Montserrat" panose="00000500000000000000"/>
                <a:cs typeface="Calibri" panose="020F0502020204030204" pitchFamily="34" charset="0"/>
              </a:rPr>
              <a:t>Dokumente</a:t>
            </a:r>
            <a:r>
              <a:rPr lang="en-GB" sz="1400" b="1" dirty="0">
                <a:solidFill>
                  <a:schemeClr val="tx1"/>
                </a:solidFill>
                <a:latin typeface="Montserrat" panose="00000500000000000000"/>
                <a:cs typeface="Calibri" panose="020F0502020204030204" pitchFamily="34" charset="0"/>
              </a:rPr>
              <a:t> die </a:t>
            </a:r>
            <a:r>
              <a:rPr lang="en-GB" sz="1400" b="1" dirty="0" err="1">
                <a:solidFill>
                  <a:schemeClr val="tx1"/>
                </a:solidFill>
                <a:latin typeface="Montserrat" panose="00000500000000000000"/>
                <a:cs typeface="Calibri" panose="020F0502020204030204" pitchFamily="34" charset="0"/>
              </a:rPr>
              <a:t>aber</a:t>
            </a:r>
            <a:r>
              <a:rPr lang="en-GB" sz="1400" b="1" dirty="0">
                <a:solidFill>
                  <a:schemeClr val="tx1"/>
                </a:solidFill>
                <a:latin typeface="Montserrat" panose="00000500000000000000"/>
                <a:cs typeface="Calibri" panose="020F0502020204030204" pitchFamily="34" charset="0"/>
              </a:rPr>
              <a:t> </a:t>
            </a:r>
            <a:r>
              <a:rPr lang="en-GB" sz="1400" b="1" dirty="0" err="1">
                <a:solidFill>
                  <a:schemeClr val="tx1"/>
                </a:solidFill>
                <a:latin typeface="Montserrat" panose="00000500000000000000"/>
                <a:cs typeface="Calibri" panose="020F0502020204030204" pitchFamily="34" charset="0"/>
              </a:rPr>
              <a:t>gedruckt</a:t>
            </a:r>
            <a:r>
              <a:rPr lang="en-GB" sz="1400" b="1" dirty="0">
                <a:solidFill>
                  <a:schemeClr val="tx1"/>
                </a:solidFill>
                <a:latin typeface="Montserrat" panose="00000500000000000000"/>
                <a:cs typeface="Calibri" panose="020F0502020204030204" pitchFamily="34" charset="0"/>
              </a:rPr>
              <a:t> </a:t>
            </a:r>
            <a:r>
              <a:rPr lang="en-GB" sz="1400" b="1" dirty="0" err="1">
                <a:solidFill>
                  <a:schemeClr val="tx1"/>
                </a:solidFill>
                <a:latin typeface="Montserrat" panose="00000500000000000000"/>
                <a:cs typeface="Calibri" panose="020F0502020204030204" pitchFamily="34" charset="0"/>
              </a:rPr>
              <a:t>werden</a:t>
            </a:r>
            <a:endParaRPr lang="en-GB" sz="1400" b="1" dirty="0">
              <a:solidFill>
                <a:schemeClr val="tx1"/>
              </a:solidFill>
              <a:latin typeface="Montserrat" panose="00000500000000000000"/>
              <a:cs typeface="Calibri" panose="020F0502020204030204" pitchFamily="34" charset="0"/>
            </a:endParaRPr>
          </a:p>
          <a:p>
            <a:pPr algn="ctr"/>
            <a:r>
              <a:rPr lang="en-GB" sz="1400" b="1" dirty="0">
                <a:solidFill>
                  <a:schemeClr val="tx1"/>
                </a:solidFill>
                <a:latin typeface="Montserrat" panose="00000500000000000000"/>
                <a:cs typeface="Calibri" panose="020F0502020204030204" pitchFamily="34" charset="0"/>
              </a:rPr>
              <a:t>+</a:t>
            </a:r>
          </a:p>
          <a:p>
            <a:pPr algn="ctr"/>
            <a:r>
              <a:rPr lang="en-GB" sz="1400" b="1" dirty="0" err="1">
                <a:solidFill>
                  <a:schemeClr val="tx1"/>
                </a:solidFill>
                <a:latin typeface="Montserrat" panose="00000500000000000000"/>
                <a:cs typeface="Calibri" panose="020F0502020204030204" pitchFamily="34" charset="0"/>
              </a:rPr>
              <a:t>Mikrofilm</a:t>
            </a:r>
            <a:r>
              <a:rPr lang="en-GB" sz="1400" b="1" dirty="0">
                <a:solidFill>
                  <a:schemeClr val="tx1"/>
                </a:solidFill>
                <a:latin typeface="Montserrat" panose="00000500000000000000"/>
                <a:cs typeface="Calibri" panose="020F0502020204030204" pitchFamily="34" charset="0"/>
              </a:rPr>
              <a:t> </a:t>
            </a:r>
            <a:r>
              <a:rPr lang="en-GB" sz="1400" b="1" dirty="0" err="1">
                <a:solidFill>
                  <a:schemeClr val="tx1"/>
                </a:solidFill>
                <a:latin typeface="Montserrat" panose="00000500000000000000"/>
                <a:cs typeface="Calibri" panose="020F0502020204030204" pitchFamily="34" charset="0"/>
              </a:rPr>
              <a:t>ist</a:t>
            </a:r>
            <a:r>
              <a:rPr lang="en-GB" sz="1400" b="1" dirty="0">
                <a:solidFill>
                  <a:schemeClr val="tx1"/>
                </a:solidFill>
                <a:latin typeface="Montserrat" panose="00000500000000000000"/>
                <a:cs typeface="Calibri" panose="020F0502020204030204" pitchFamily="34" charset="0"/>
              </a:rPr>
              <a:t> </a:t>
            </a:r>
            <a:r>
              <a:rPr lang="en-GB" sz="1400" b="1" dirty="0" err="1">
                <a:solidFill>
                  <a:schemeClr val="tx1"/>
                </a:solidFill>
                <a:latin typeface="Montserrat" panose="00000500000000000000"/>
                <a:cs typeface="Calibri" panose="020F0502020204030204" pitchFamily="34" charset="0"/>
              </a:rPr>
              <a:t>rechtssicher</a:t>
            </a:r>
            <a:endParaRPr lang="en-GB" sz="1400" b="1" dirty="0">
              <a:solidFill>
                <a:schemeClr val="tx1"/>
              </a:solidFill>
              <a:latin typeface="Montserrat" panose="00000500000000000000"/>
              <a:cs typeface="Calibri" panose="020F0502020204030204" pitchFamily="34" charset="0"/>
            </a:endParaRPr>
          </a:p>
          <a:p>
            <a:pPr algn="ctr"/>
            <a:r>
              <a:rPr lang="en-GB" sz="1400" b="1" dirty="0" err="1">
                <a:solidFill>
                  <a:schemeClr val="tx1"/>
                </a:solidFill>
                <a:latin typeface="Montserrat" panose="00000500000000000000"/>
                <a:cs typeface="Calibri" panose="020F0502020204030204" pitchFamily="34" charset="0"/>
              </a:rPr>
              <a:t>Hybrides</a:t>
            </a:r>
            <a:r>
              <a:rPr lang="en-GB" sz="1400" b="1" dirty="0">
                <a:solidFill>
                  <a:schemeClr val="tx1"/>
                </a:solidFill>
                <a:latin typeface="Montserrat" panose="00000500000000000000"/>
                <a:cs typeface="Calibri" panose="020F0502020204030204" pitchFamily="34" charset="0"/>
              </a:rPr>
              <a:t> </a:t>
            </a:r>
            <a:r>
              <a:rPr lang="en-GB" sz="1400" b="1" dirty="0" err="1">
                <a:solidFill>
                  <a:schemeClr val="tx1"/>
                </a:solidFill>
                <a:latin typeface="Montserrat" panose="00000500000000000000"/>
                <a:cs typeface="Calibri" panose="020F0502020204030204" pitchFamily="34" charset="0"/>
              </a:rPr>
              <a:t>Scannen</a:t>
            </a:r>
            <a:endParaRPr lang="en-GB" sz="1400" b="1" dirty="0">
              <a:solidFill>
                <a:schemeClr val="tx1"/>
              </a:solidFill>
              <a:latin typeface="Montserrat" panose="00000500000000000000"/>
              <a:cs typeface="Calibri" panose="020F0502020204030204" pitchFamily="34" charset="0"/>
            </a:endParaRPr>
          </a:p>
          <a:p>
            <a:pPr algn="ctr"/>
            <a:endParaRPr lang="en-GB" sz="1400" b="1" dirty="0">
              <a:solidFill>
                <a:schemeClr val="tx1"/>
              </a:solidFill>
              <a:latin typeface="Montserrat" panose="00000500000000000000"/>
              <a:cs typeface="Calibri" panose="020F0502020204030204" pitchFamily="34" charset="0"/>
            </a:endParaRPr>
          </a:p>
        </p:txBody>
      </p:sp>
      <p:sp>
        <p:nvSpPr>
          <p:cNvPr id="41" name="Freeform 40"/>
          <p:cNvSpPr>
            <a:spLocks/>
          </p:cNvSpPr>
          <p:nvPr/>
        </p:nvSpPr>
        <p:spPr bwMode="auto">
          <a:xfrm>
            <a:off x="4638986" y="4388470"/>
            <a:ext cx="237443" cy="336377"/>
          </a:xfrm>
          <a:custGeom>
            <a:avLst/>
            <a:gdLst>
              <a:gd name="T0" fmla="*/ 272 w 768"/>
              <a:gd name="T1" fmla="*/ 764 h 1088"/>
              <a:gd name="T2" fmla="*/ 272 w 768"/>
              <a:gd name="T3" fmla="*/ 846 h 1088"/>
              <a:gd name="T4" fmla="*/ 286 w 768"/>
              <a:gd name="T5" fmla="*/ 1088 h 1088"/>
              <a:gd name="T6" fmla="*/ 0 w 768"/>
              <a:gd name="T7" fmla="*/ 1088 h 1088"/>
              <a:gd name="T8" fmla="*/ 26 w 768"/>
              <a:gd name="T9" fmla="*/ 838 h 1088"/>
              <a:gd name="T10" fmla="*/ 36 w 768"/>
              <a:gd name="T11" fmla="*/ 746 h 1088"/>
              <a:gd name="T12" fmla="*/ 44 w 768"/>
              <a:gd name="T13" fmla="*/ 652 h 1088"/>
              <a:gd name="T14" fmla="*/ 46 w 768"/>
              <a:gd name="T15" fmla="*/ 632 h 1088"/>
              <a:gd name="T16" fmla="*/ 54 w 768"/>
              <a:gd name="T17" fmla="*/ 598 h 1088"/>
              <a:gd name="T18" fmla="*/ 72 w 768"/>
              <a:gd name="T19" fmla="*/ 568 h 1088"/>
              <a:gd name="T20" fmla="*/ 96 w 768"/>
              <a:gd name="T21" fmla="*/ 542 h 1088"/>
              <a:gd name="T22" fmla="*/ 110 w 768"/>
              <a:gd name="T23" fmla="*/ 530 h 1088"/>
              <a:gd name="T24" fmla="*/ 174 w 768"/>
              <a:gd name="T25" fmla="*/ 488 h 1088"/>
              <a:gd name="T26" fmla="*/ 244 w 768"/>
              <a:gd name="T27" fmla="*/ 456 h 1088"/>
              <a:gd name="T28" fmla="*/ 278 w 768"/>
              <a:gd name="T29" fmla="*/ 442 h 1088"/>
              <a:gd name="T30" fmla="*/ 338 w 768"/>
              <a:gd name="T31" fmla="*/ 410 h 1088"/>
              <a:gd name="T32" fmla="*/ 394 w 768"/>
              <a:gd name="T33" fmla="*/ 370 h 1088"/>
              <a:gd name="T34" fmla="*/ 444 w 768"/>
              <a:gd name="T35" fmla="*/ 322 h 1088"/>
              <a:gd name="T36" fmla="*/ 466 w 768"/>
              <a:gd name="T37" fmla="*/ 294 h 1088"/>
              <a:gd name="T38" fmla="*/ 488 w 768"/>
              <a:gd name="T39" fmla="*/ 272 h 1088"/>
              <a:gd name="T40" fmla="*/ 504 w 768"/>
              <a:gd name="T41" fmla="*/ 266 h 1088"/>
              <a:gd name="T42" fmla="*/ 524 w 768"/>
              <a:gd name="T43" fmla="*/ 266 h 1088"/>
              <a:gd name="T44" fmla="*/ 534 w 768"/>
              <a:gd name="T45" fmla="*/ 270 h 1088"/>
              <a:gd name="T46" fmla="*/ 538 w 768"/>
              <a:gd name="T47" fmla="*/ 286 h 1088"/>
              <a:gd name="T48" fmla="*/ 534 w 768"/>
              <a:gd name="T49" fmla="*/ 302 h 1088"/>
              <a:gd name="T50" fmla="*/ 518 w 768"/>
              <a:gd name="T51" fmla="*/ 328 h 1088"/>
              <a:gd name="T52" fmla="*/ 486 w 768"/>
              <a:gd name="T53" fmla="*/ 368 h 1088"/>
              <a:gd name="T54" fmla="*/ 418 w 768"/>
              <a:gd name="T55" fmla="*/ 442 h 1088"/>
              <a:gd name="T56" fmla="*/ 382 w 768"/>
              <a:gd name="T57" fmla="*/ 478 h 1088"/>
              <a:gd name="T58" fmla="*/ 364 w 768"/>
              <a:gd name="T59" fmla="*/ 496 h 1088"/>
              <a:gd name="T60" fmla="*/ 358 w 768"/>
              <a:gd name="T61" fmla="*/ 508 h 1088"/>
              <a:gd name="T62" fmla="*/ 358 w 768"/>
              <a:gd name="T63" fmla="*/ 522 h 1088"/>
              <a:gd name="T64" fmla="*/ 366 w 768"/>
              <a:gd name="T65" fmla="*/ 526 h 1088"/>
              <a:gd name="T66" fmla="*/ 378 w 768"/>
              <a:gd name="T67" fmla="*/ 530 h 1088"/>
              <a:gd name="T68" fmla="*/ 394 w 768"/>
              <a:gd name="T69" fmla="*/ 524 h 1088"/>
              <a:gd name="T70" fmla="*/ 404 w 768"/>
              <a:gd name="T71" fmla="*/ 516 h 1088"/>
              <a:gd name="T72" fmla="*/ 462 w 768"/>
              <a:gd name="T73" fmla="*/ 466 h 1088"/>
              <a:gd name="T74" fmla="*/ 512 w 768"/>
              <a:gd name="T75" fmla="*/ 410 h 1088"/>
              <a:gd name="T76" fmla="*/ 552 w 768"/>
              <a:gd name="T77" fmla="*/ 348 h 1088"/>
              <a:gd name="T78" fmla="*/ 578 w 768"/>
              <a:gd name="T79" fmla="*/ 274 h 1088"/>
              <a:gd name="T80" fmla="*/ 588 w 768"/>
              <a:gd name="T81" fmla="*/ 240 h 1088"/>
              <a:gd name="T82" fmla="*/ 614 w 768"/>
              <a:gd name="T83" fmla="*/ 174 h 1088"/>
              <a:gd name="T84" fmla="*/ 646 w 768"/>
              <a:gd name="T85" fmla="*/ 112 h 1088"/>
              <a:gd name="T86" fmla="*/ 706 w 768"/>
              <a:gd name="T87" fmla="*/ 24 h 1088"/>
              <a:gd name="T88" fmla="*/ 714 w 768"/>
              <a:gd name="T89" fmla="*/ 14 h 1088"/>
              <a:gd name="T90" fmla="*/ 730 w 768"/>
              <a:gd name="T91" fmla="*/ 2 h 1088"/>
              <a:gd name="T92" fmla="*/ 744 w 768"/>
              <a:gd name="T93" fmla="*/ 0 h 1088"/>
              <a:gd name="T94" fmla="*/ 754 w 768"/>
              <a:gd name="T95" fmla="*/ 2 h 1088"/>
              <a:gd name="T96" fmla="*/ 766 w 768"/>
              <a:gd name="T97" fmla="*/ 26 h 1088"/>
              <a:gd name="T98" fmla="*/ 768 w 768"/>
              <a:gd name="T99" fmla="*/ 52 h 1088"/>
              <a:gd name="T100" fmla="*/ 766 w 768"/>
              <a:gd name="T101" fmla="*/ 80 h 1088"/>
              <a:gd name="T102" fmla="*/ 760 w 768"/>
              <a:gd name="T103" fmla="*/ 108 h 1088"/>
              <a:gd name="T104" fmla="*/ 730 w 768"/>
              <a:gd name="T105" fmla="*/ 206 h 1088"/>
              <a:gd name="T106" fmla="*/ 692 w 768"/>
              <a:gd name="T107" fmla="*/ 300 h 1088"/>
              <a:gd name="T108" fmla="*/ 648 w 768"/>
              <a:gd name="T109" fmla="*/ 386 h 1088"/>
              <a:gd name="T110" fmla="*/ 594 w 768"/>
              <a:gd name="T111" fmla="*/ 468 h 1088"/>
              <a:gd name="T112" fmla="*/ 534 w 768"/>
              <a:gd name="T113" fmla="*/ 544 h 1088"/>
              <a:gd name="T114" fmla="*/ 466 w 768"/>
              <a:gd name="T115" fmla="*/ 616 h 1088"/>
              <a:gd name="T116" fmla="*/ 390 w 768"/>
              <a:gd name="T117" fmla="*/ 680 h 1088"/>
              <a:gd name="T118" fmla="*/ 306 w 768"/>
              <a:gd name="T119" fmla="*/ 740 h 1088"/>
              <a:gd name="T120" fmla="*/ 272 w 768"/>
              <a:gd name="T121" fmla="*/ 764 h 10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68" h="1088">
                <a:moveTo>
                  <a:pt x="272" y="764"/>
                </a:moveTo>
                <a:lnTo>
                  <a:pt x="272" y="764"/>
                </a:lnTo>
                <a:lnTo>
                  <a:pt x="270" y="804"/>
                </a:lnTo>
                <a:lnTo>
                  <a:pt x="272" y="846"/>
                </a:lnTo>
                <a:lnTo>
                  <a:pt x="276" y="926"/>
                </a:lnTo>
                <a:lnTo>
                  <a:pt x="286" y="1088"/>
                </a:lnTo>
                <a:lnTo>
                  <a:pt x="286" y="1088"/>
                </a:lnTo>
                <a:lnTo>
                  <a:pt x="0" y="1088"/>
                </a:lnTo>
                <a:lnTo>
                  <a:pt x="0" y="1088"/>
                </a:lnTo>
                <a:lnTo>
                  <a:pt x="26" y="838"/>
                </a:lnTo>
                <a:lnTo>
                  <a:pt x="26" y="838"/>
                </a:lnTo>
                <a:lnTo>
                  <a:pt x="36" y="746"/>
                </a:lnTo>
                <a:lnTo>
                  <a:pt x="40" y="698"/>
                </a:lnTo>
                <a:lnTo>
                  <a:pt x="44" y="652"/>
                </a:lnTo>
                <a:lnTo>
                  <a:pt x="44" y="652"/>
                </a:lnTo>
                <a:lnTo>
                  <a:pt x="46" y="632"/>
                </a:lnTo>
                <a:lnTo>
                  <a:pt x="50" y="614"/>
                </a:lnTo>
                <a:lnTo>
                  <a:pt x="54" y="598"/>
                </a:lnTo>
                <a:lnTo>
                  <a:pt x="62" y="582"/>
                </a:lnTo>
                <a:lnTo>
                  <a:pt x="72" y="568"/>
                </a:lnTo>
                <a:lnTo>
                  <a:pt x="82" y="556"/>
                </a:lnTo>
                <a:lnTo>
                  <a:pt x="96" y="542"/>
                </a:lnTo>
                <a:lnTo>
                  <a:pt x="110" y="530"/>
                </a:lnTo>
                <a:lnTo>
                  <a:pt x="110" y="530"/>
                </a:lnTo>
                <a:lnTo>
                  <a:pt x="140" y="508"/>
                </a:lnTo>
                <a:lnTo>
                  <a:pt x="174" y="488"/>
                </a:lnTo>
                <a:lnTo>
                  <a:pt x="208" y="472"/>
                </a:lnTo>
                <a:lnTo>
                  <a:pt x="244" y="456"/>
                </a:lnTo>
                <a:lnTo>
                  <a:pt x="244" y="456"/>
                </a:lnTo>
                <a:lnTo>
                  <a:pt x="278" y="442"/>
                </a:lnTo>
                <a:lnTo>
                  <a:pt x="308" y="428"/>
                </a:lnTo>
                <a:lnTo>
                  <a:pt x="338" y="410"/>
                </a:lnTo>
                <a:lnTo>
                  <a:pt x="368" y="390"/>
                </a:lnTo>
                <a:lnTo>
                  <a:pt x="394" y="370"/>
                </a:lnTo>
                <a:lnTo>
                  <a:pt x="420" y="346"/>
                </a:lnTo>
                <a:lnTo>
                  <a:pt x="444" y="322"/>
                </a:lnTo>
                <a:lnTo>
                  <a:pt x="466" y="294"/>
                </a:lnTo>
                <a:lnTo>
                  <a:pt x="466" y="294"/>
                </a:lnTo>
                <a:lnTo>
                  <a:pt x="480" y="278"/>
                </a:lnTo>
                <a:lnTo>
                  <a:pt x="488" y="272"/>
                </a:lnTo>
                <a:lnTo>
                  <a:pt x="496" y="268"/>
                </a:lnTo>
                <a:lnTo>
                  <a:pt x="504" y="266"/>
                </a:lnTo>
                <a:lnTo>
                  <a:pt x="514" y="264"/>
                </a:lnTo>
                <a:lnTo>
                  <a:pt x="524" y="266"/>
                </a:lnTo>
                <a:lnTo>
                  <a:pt x="534" y="270"/>
                </a:lnTo>
                <a:lnTo>
                  <a:pt x="534" y="270"/>
                </a:lnTo>
                <a:lnTo>
                  <a:pt x="538" y="278"/>
                </a:lnTo>
                <a:lnTo>
                  <a:pt x="538" y="286"/>
                </a:lnTo>
                <a:lnTo>
                  <a:pt x="536" y="294"/>
                </a:lnTo>
                <a:lnTo>
                  <a:pt x="534" y="302"/>
                </a:lnTo>
                <a:lnTo>
                  <a:pt x="526" y="316"/>
                </a:lnTo>
                <a:lnTo>
                  <a:pt x="518" y="328"/>
                </a:lnTo>
                <a:lnTo>
                  <a:pt x="518" y="328"/>
                </a:lnTo>
                <a:lnTo>
                  <a:pt x="486" y="368"/>
                </a:lnTo>
                <a:lnTo>
                  <a:pt x="454" y="406"/>
                </a:lnTo>
                <a:lnTo>
                  <a:pt x="418" y="442"/>
                </a:lnTo>
                <a:lnTo>
                  <a:pt x="382" y="478"/>
                </a:lnTo>
                <a:lnTo>
                  <a:pt x="382" y="478"/>
                </a:lnTo>
                <a:lnTo>
                  <a:pt x="372" y="486"/>
                </a:lnTo>
                <a:lnTo>
                  <a:pt x="364" y="496"/>
                </a:lnTo>
                <a:lnTo>
                  <a:pt x="360" y="502"/>
                </a:lnTo>
                <a:lnTo>
                  <a:pt x="358" y="508"/>
                </a:lnTo>
                <a:lnTo>
                  <a:pt x="358" y="514"/>
                </a:lnTo>
                <a:lnTo>
                  <a:pt x="358" y="522"/>
                </a:lnTo>
                <a:lnTo>
                  <a:pt x="358" y="522"/>
                </a:lnTo>
                <a:lnTo>
                  <a:pt x="366" y="526"/>
                </a:lnTo>
                <a:lnTo>
                  <a:pt x="372" y="528"/>
                </a:lnTo>
                <a:lnTo>
                  <a:pt x="378" y="530"/>
                </a:lnTo>
                <a:lnTo>
                  <a:pt x="384" y="528"/>
                </a:lnTo>
                <a:lnTo>
                  <a:pt x="394" y="524"/>
                </a:lnTo>
                <a:lnTo>
                  <a:pt x="404" y="516"/>
                </a:lnTo>
                <a:lnTo>
                  <a:pt x="404" y="516"/>
                </a:lnTo>
                <a:lnTo>
                  <a:pt x="434" y="492"/>
                </a:lnTo>
                <a:lnTo>
                  <a:pt x="462" y="466"/>
                </a:lnTo>
                <a:lnTo>
                  <a:pt x="488" y="438"/>
                </a:lnTo>
                <a:lnTo>
                  <a:pt x="512" y="410"/>
                </a:lnTo>
                <a:lnTo>
                  <a:pt x="534" y="380"/>
                </a:lnTo>
                <a:lnTo>
                  <a:pt x="552" y="348"/>
                </a:lnTo>
                <a:lnTo>
                  <a:pt x="566" y="312"/>
                </a:lnTo>
                <a:lnTo>
                  <a:pt x="578" y="274"/>
                </a:lnTo>
                <a:lnTo>
                  <a:pt x="578" y="274"/>
                </a:lnTo>
                <a:lnTo>
                  <a:pt x="588" y="240"/>
                </a:lnTo>
                <a:lnTo>
                  <a:pt x="600" y="208"/>
                </a:lnTo>
                <a:lnTo>
                  <a:pt x="614" y="174"/>
                </a:lnTo>
                <a:lnTo>
                  <a:pt x="630" y="144"/>
                </a:lnTo>
                <a:lnTo>
                  <a:pt x="646" y="112"/>
                </a:lnTo>
                <a:lnTo>
                  <a:pt x="666" y="82"/>
                </a:lnTo>
                <a:lnTo>
                  <a:pt x="706" y="24"/>
                </a:lnTo>
                <a:lnTo>
                  <a:pt x="706" y="24"/>
                </a:lnTo>
                <a:lnTo>
                  <a:pt x="714" y="14"/>
                </a:lnTo>
                <a:lnTo>
                  <a:pt x="724" y="6"/>
                </a:lnTo>
                <a:lnTo>
                  <a:pt x="730" y="2"/>
                </a:lnTo>
                <a:lnTo>
                  <a:pt x="736" y="0"/>
                </a:lnTo>
                <a:lnTo>
                  <a:pt x="744" y="0"/>
                </a:lnTo>
                <a:lnTo>
                  <a:pt x="754" y="2"/>
                </a:lnTo>
                <a:lnTo>
                  <a:pt x="754" y="2"/>
                </a:lnTo>
                <a:lnTo>
                  <a:pt x="760" y="14"/>
                </a:lnTo>
                <a:lnTo>
                  <a:pt x="766" y="26"/>
                </a:lnTo>
                <a:lnTo>
                  <a:pt x="768" y="40"/>
                </a:lnTo>
                <a:lnTo>
                  <a:pt x="768" y="52"/>
                </a:lnTo>
                <a:lnTo>
                  <a:pt x="768" y="66"/>
                </a:lnTo>
                <a:lnTo>
                  <a:pt x="766" y="80"/>
                </a:lnTo>
                <a:lnTo>
                  <a:pt x="760" y="108"/>
                </a:lnTo>
                <a:lnTo>
                  <a:pt x="760" y="108"/>
                </a:lnTo>
                <a:lnTo>
                  <a:pt x="746" y="158"/>
                </a:lnTo>
                <a:lnTo>
                  <a:pt x="730" y="206"/>
                </a:lnTo>
                <a:lnTo>
                  <a:pt x="712" y="254"/>
                </a:lnTo>
                <a:lnTo>
                  <a:pt x="692" y="300"/>
                </a:lnTo>
                <a:lnTo>
                  <a:pt x="670" y="344"/>
                </a:lnTo>
                <a:lnTo>
                  <a:pt x="648" y="386"/>
                </a:lnTo>
                <a:lnTo>
                  <a:pt x="622" y="428"/>
                </a:lnTo>
                <a:lnTo>
                  <a:pt x="594" y="468"/>
                </a:lnTo>
                <a:lnTo>
                  <a:pt x="564" y="508"/>
                </a:lnTo>
                <a:lnTo>
                  <a:pt x="534" y="544"/>
                </a:lnTo>
                <a:lnTo>
                  <a:pt x="500" y="580"/>
                </a:lnTo>
                <a:lnTo>
                  <a:pt x="466" y="616"/>
                </a:lnTo>
                <a:lnTo>
                  <a:pt x="428" y="648"/>
                </a:lnTo>
                <a:lnTo>
                  <a:pt x="390" y="680"/>
                </a:lnTo>
                <a:lnTo>
                  <a:pt x="348" y="710"/>
                </a:lnTo>
                <a:lnTo>
                  <a:pt x="306" y="740"/>
                </a:lnTo>
                <a:lnTo>
                  <a:pt x="306" y="740"/>
                </a:lnTo>
                <a:lnTo>
                  <a:pt x="272" y="764"/>
                </a:lnTo>
                <a:lnTo>
                  <a:pt x="272" y="76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Montserrat" panose="00000500000000000000"/>
              <a:cs typeface="Arial" panose="020B0604020202020204" pitchFamily="34" charset="0"/>
            </a:endParaRPr>
          </a:p>
        </p:txBody>
      </p:sp>
      <p:sp>
        <p:nvSpPr>
          <p:cNvPr id="42" name="Freeform 6"/>
          <p:cNvSpPr>
            <a:spLocks/>
          </p:cNvSpPr>
          <p:nvPr/>
        </p:nvSpPr>
        <p:spPr bwMode="auto">
          <a:xfrm>
            <a:off x="4387940" y="4388470"/>
            <a:ext cx="237443" cy="335758"/>
          </a:xfrm>
          <a:custGeom>
            <a:avLst/>
            <a:gdLst>
              <a:gd name="T0" fmla="*/ 24 w 768"/>
              <a:gd name="T1" fmla="*/ 0 h 1086"/>
              <a:gd name="T2" fmla="*/ 38 w 768"/>
              <a:gd name="T3" fmla="*/ 2 h 1086"/>
              <a:gd name="T4" fmla="*/ 50 w 768"/>
              <a:gd name="T5" fmla="*/ 8 h 1086"/>
              <a:gd name="T6" fmla="*/ 68 w 768"/>
              <a:gd name="T7" fmla="*/ 30 h 1086"/>
              <a:gd name="T8" fmla="*/ 90 w 768"/>
              <a:gd name="T9" fmla="*/ 60 h 1086"/>
              <a:gd name="T10" fmla="*/ 128 w 768"/>
              <a:gd name="T11" fmla="*/ 122 h 1086"/>
              <a:gd name="T12" fmla="*/ 160 w 768"/>
              <a:gd name="T13" fmla="*/ 188 h 1086"/>
              <a:gd name="T14" fmla="*/ 188 w 768"/>
              <a:gd name="T15" fmla="*/ 256 h 1086"/>
              <a:gd name="T16" fmla="*/ 198 w 768"/>
              <a:gd name="T17" fmla="*/ 292 h 1086"/>
              <a:gd name="T18" fmla="*/ 226 w 768"/>
              <a:gd name="T19" fmla="*/ 362 h 1086"/>
              <a:gd name="T20" fmla="*/ 266 w 768"/>
              <a:gd name="T21" fmla="*/ 422 h 1086"/>
              <a:gd name="T22" fmla="*/ 316 w 768"/>
              <a:gd name="T23" fmla="*/ 474 h 1086"/>
              <a:gd name="T24" fmla="*/ 374 w 768"/>
              <a:gd name="T25" fmla="*/ 522 h 1086"/>
              <a:gd name="T26" fmla="*/ 384 w 768"/>
              <a:gd name="T27" fmla="*/ 528 h 1086"/>
              <a:gd name="T28" fmla="*/ 392 w 768"/>
              <a:gd name="T29" fmla="*/ 528 h 1086"/>
              <a:gd name="T30" fmla="*/ 416 w 768"/>
              <a:gd name="T31" fmla="*/ 516 h 1086"/>
              <a:gd name="T32" fmla="*/ 414 w 768"/>
              <a:gd name="T33" fmla="*/ 508 h 1086"/>
              <a:gd name="T34" fmla="*/ 404 w 768"/>
              <a:gd name="T35" fmla="*/ 492 h 1086"/>
              <a:gd name="T36" fmla="*/ 384 w 768"/>
              <a:gd name="T37" fmla="*/ 472 h 1086"/>
              <a:gd name="T38" fmla="*/ 318 w 768"/>
              <a:gd name="T39" fmla="*/ 406 h 1086"/>
              <a:gd name="T40" fmla="*/ 258 w 768"/>
              <a:gd name="T41" fmla="*/ 334 h 1086"/>
              <a:gd name="T42" fmla="*/ 248 w 768"/>
              <a:gd name="T43" fmla="*/ 320 h 1086"/>
              <a:gd name="T44" fmla="*/ 236 w 768"/>
              <a:gd name="T45" fmla="*/ 298 h 1086"/>
              <a:gd name="T46" fmla="*/ 234 w 768"/>
              <a:gd name="T47" fmla="*/ 282 h 1086"/>
              <a:gd name="T48" fmla="*/ 234 w 768"/>
              <a:gd name="T49" fmla="*/ 272 h 1086"/>
              <a:gd name="T50" fmla="*/ 254 w 768"/>
              <a:gd name="T51" fmla="*/ 264 h 1086"/>
              <a:gd name="T52" fmla="*/ 272 w 768"/>
              <a:gd name="T53" fmla="*/ 266 h 1086"/>
              <a:gd name="T54" fmla="*/ 286 w 768"/>
              <a:gd name="T55" fmla="*/ 274 h 1086"/>
              <a:gd name="T56" fmla="*/ 300 w 768"/>
              <a:gd name="T57" fmla="*/ 288 h 1086"/>
              <a:gd name="T58" fmla="*/ 326 w 768"/>
              <a:gd name="T59" fmla="*/ 320 h 1086"/>
              <a:gd name="T60" fmla="*/ 382 w 768"/>
              <a:gd name="T61" fmla="*/ 374 h 1086"/>
              <a:gd name="T62" fmla="*/ 446 w 768"/>
              <a:gd name="T63" fmla="*/ 418 h 1086"/>
              <a:gd name="T64" fmla="*/ 516 w 768"/>
              <a:gd name="T65" fmla="*/ 452 h 1086"/>
              <a:gd name="T66" fmla="*/ 554 w 768"/>
              <a:gd name="T67" fmla="*/ 468 h 1086"/>
              <a:gd name="T68" fmla="*/ 602 w 768"/>
              <a:gd name="T69" fmla="*/ 490 h 1086"/>
              <a:gd name="T70" fmla="*/ 648 w 768"/>
              <a:gd name="T71" fmla="*/ 520 h 1086"/>
              <a:gd name="T72" fmla="*/ 664 w 768"/>
              <a:gd name="T73" fmla="*/ 532 h 1086"/>
              <a:gd name="T74" fmla="*/ 692 w 768"/>
              <a:gd name="T75" fmla="*/ 560 h 1086"/>
              <a:gd name="T76" fmla="*/ 712 w 768"/>
              <a:gd name="T77" fmla="*/ 594 h 1086"/>
              <a:gd name="T78" fmla="*/ 726 w 768"/>
              <a:gd name="T79" fmla="*/ 632 h 1086"/>
              <a:gd name="T80" fmla="*/ 728 w 768"/>
              <a:gd name="T81" fmla="*/ 654 h 1086"/>
              <a:gd name="T82" fmla="*/ 748 w 768"/>
              <a:gd name="T83" fmla="*/ 860 h 1086"/>
              <a:gd name="T84" fmla="*/ 768 w 768"/>
              <a:gd name="T85" fmla="*/ 1066 h 1086"/>
              <a:gd name="T86" fmla="*/ 768 w 768"/>
              <a:gd name="T87" fmla="*/ 1086 h 1086"/>
              <a:gd name="T88" fmla="*/ 484 w 768"/>
              <a:gd name="T89" fmla="*/ 1086 h 1086"/>
              <a:gd name="T90" fmla="*/ 496 w 768"/>
              <a:gd name="T91" fmla="*/ 926 h 1086"/>
              <a:gd name="T92" fmla="*/ 498 w 768"/>
              <a:gd name="T93" fmla="*/ 804 h 1086"/>
              <a:gd name="T94" fmla="*/ 496 w 768"/>
              <a:gd name="T95" fmla="*/ 762 h 1086"/>
              <a:gd name="T96" fmla="*/ 352 w 768"/>
              <a:gd name="T97" fmla="*/ 652 h 1086"/>
              <a:gd name="T98" fmla="*/ 304 w 768"/>
              <a:gd name="T99" fmla="*/ 612 h 1086"/>
              <a:gd name="T100" fmla="*/ 246 w 768"/>
              <a:gd name="T101" fmla="*/ 556 h 1086"/>
              <a:gd name="T102" fmla="*/ 196 w 768"/>
              <a:gd name="T103" fmla="*/ 498 h 1086"/>
              <a:gd name="T104" fmla="*/ 152 w 768"/>
              <a:gd name="T105" fmla="*/ 434 h 1086"/>
              <a:gd name="T106" fmla="*/ 112 w 768"/>
              <a:gd name="T107" fmla="*/ 368 h 1086"/>
              <a:gd name="T108" fmla="*/ 80 w 768"/>
              <a:gd name="T109" fmla="*/ 300 h 1086"/>
              <a:gd name="T110" fmla="*/ 26 w 768"/>
              <a:gd name="T111" fmla="*/ 154 h 1086"/>
              <a:gd name="T112" fmla="*/ 4 w 768"/>
              <a:gd name="T113" fmla="*/ 78 h 1086"/>
              <a:gd name="T114" fmla="*/ 0 w 768"/>
              <a:gd name="T115" fmla="*/ 48 h 1086"/>
              <a:gd name="T116" fmla="*/ 4 w 768"/>
              <a:gd name="T117" fmla="*/ 26 h 1086"/>
              <a:gd name="T118" fmla="*/ 14 w 768"/>
              <a:gd name="T119" fmla="*/ 8 h 1086"/>
              <a:gd name="T120" fmla="*/ 24 w 768"/>
              <a:gd name="T121" fmla="*/ 0 h 10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68" h="1086">
                <a:moveTo>
                  <a:pt x="24" y="0"/>
                </a:moveTo>
                <a:lnTo>
                  <a:pt x="24" y="0"/>
                </a:lnTo>
                <a:lnTo>
                  <a:pt x="32" y="0"/>
                </a:lnTo>
                <a:lnTo>
                  <a:pt x="38" y="2"/>
                </a:lnTo>
                <a:lnTo>
                  <a:pt x="46" y="4"/>
                </a:lnTo>
                <a:lnTo>
                  <a:pt x="50" y="8"/>
                </a:lnTo>
                <a:lnTo>
                  <a:pt x="60" y="18"/>
                </a:lnTo>
                <a:lnTo>
                  <a:pt x="68" y="30"/>
                </a:lnTo>
                <a:lnTo>
                  <a:pt x="68" y="30"/>
                </a:lnTo>
                <a:lnTo>
                  <a:pt x="90" y="60"/>
                </a:lnTo>
                <a:lnTo>
                  <a:pt x="110" y="90"/>
                </a:lnTo>
                <a:lnTo>
                  <a:pt x="128" y="122"/>
                </a:lnTo>
                <a:lnTo>
                  <a:pt x="146" y="154"/>
                </a:lnTo>
                <a:lnTo>
                  <a:pt x="160" y="188"/>
                </a:lnTo>
                <a:lnTo>
                  <a:pt x="174" y="222"/>
                </a:lnTo>
                <a:lnTo>
                  <a:pt x="188" y="256"/>
                </a:lnTo>
                <a:lnTo>
                  <a:pt x="198" y="292"/>
                </a:lnTo>
                <a:lnTo>
                  <a:pt x="198" y="292"/>
                </a:lnTo>
                <a:lnTo>
                  <a:pt x="210" y="328"/>
                </a:lnTo>
                <a:lnTo>
                  <a:pt x="226" y="362"/>
                </a:lnTo>
                <a:lnTo>
                  <a:pt x="244" y="392"/>
                </a:lnTo>
                <a:lnTo>
                  <a:pt x="266" y="422"/>
                </a:lnTo>
                <a:lnTo>
                  <a:pt x="290" y="448"/>
                </a:lnTo>
                <a:lnTo>
                  <a:pt x="316" y="474"/>
                </a:lnTo>
                <a:lnTo>
                  <a:pt x="344" y="498"/>
                </a:lnTo>
                <a:lnTo>
                  <a:pt x="374" y="522"/>
                </a:lnTo>
                <a:lnTo>
                  <a:pt x="374" y="522"/>
                </a:lnTo>
                <a:lnTo>
                  <a:pt x="384" y="528"/>
                </a:lnTo>
                <a:lnTo>
                  <a:pt x="388" y="528"/>
                </a:lnTo>
                <a:lnTo>
                  <a:pt x="392" y="528"/>
                </a:lnTo>
                <a:lnTo>
                  <a:pt x="402" y="526"/>
                </a:lnTo>
                <a:lnTo>
                  <a:pt x="416" y="516"/>
                </a:lnTo>
                <a:lnTo>
                  <a:pt x="416" y="516"/>
                </a:lnTo>
                <a:lnTo>
                  <a:pt x="414" y="508"/>
                </a:lnTo>
                <a:lnTo>
                  <a:pt x="412" y="502"/>
                </a:lnTo>
                <a:lnTo>
                  <a:pt x="404" y="492"/>
                </a:lnTo>
                <a:lnTo>
                  <a:pt x="384" y="472"/>
                </a:lnTo>
                <a:lnTo>
                  <a:pt x="384" y="472"/>
                </a:lnTo>
                <a:lnTo>
                  <a:pt x="350" y="440"/>
                </a:lnTo>
                <a:lnTo>
                  <a:pt x="318" y="406"/>
                </a:lnTo>
                <a:lnTo>
                  <a:pt x="286" y="370"/>
                </a:lnTo>
                <a:lnTo>
                  <a:pt x="258" y="334"/>
                </a:lnTo>
                <a:lnTo>
                  <a:pt x="258" y="334"/>
                </a:lnTo>
                <a:lnTo>
                  <a:pt x="248" y="320"/>
                </a:lnTo>
                <a:lnTo>
                  <a:pt x="238" y="306"/>
                </a:lnTo>
                <a:lnTo>
                  <a:pt x="236" y="298"/>
                </a:lnTo>
                <a:lnTo>
                  <a:pt x="234" y="290"/>
                </a:lnTo>
                <a:lnTo>
                  <a:pt x="234" y="282"/>
                </a:lnTo>
                <a:lnTo>
                  <a:pt x="234" y="272"/>
                </a:lnTo>
                <a:lnTo>
                  <a:pt x="234" y="272"/>
                </a:lnTo>
                <a:lnTo>
                  <a:pt x="244" y="268"/>
                </a:lnTo>
                <a:lnTo>
                  <a:pt x="254" y="264"/>
                </a:lnTo>
                <a:lnTo>
                  <a:pt x="264" y="264"/>
                </a:lnTo>
                <a:lnTo>
                  <a:pt x="272" y="266"/>
                </a:lnTo>
                <a:lnTo>
                  <a:pt x="280" y="270"/>
                </a:lnTo>
                <a:lnTo>
                  <a:pt x="286" y="274"/>
                </a:lnTo>
                <a:lnTo>
                  <a:pt x="294" y="280"/>
                </a:lnTo>
                <a:lnTo>
                  <a:pt x="300" y="288"/>
                </a:lnTo>
                <a:lnTo>
                  <a:pt x="300" y="288"/>
                </a:lnTo>
                <a:lnTo>
                  <a:pt x="326" y="320"/>
                </a:lnTo>
                <a:lnTo>
                  <a:pt x="352" y="348"/>
                </a:lnTo>
                <a:lnTo>
                  <a:pt x="382" y="374"/>
                </a:lnTo>
                <a:lnTo>
                  <a:pt x="414" y="398"/>
                </a:lnTo>
                <a:lnTo>
                  <a:pt x="446" y="418"/>
                </a:lnTo>
                <a:lnTo>
                  <a:pt x="480" y="436"/>
                </a:lnTo>
                <a:lnTo>
                  <a:pt x="516" y="452"/>
                </a:lnTo>
                <a:lnTo>
                  <a:pt x="554" y="468"/>
                </a:lnTo>
                <a:lnTo>
                  <a:pt x="554" y="468"/>
                </a:lnTo>
                <a:lnTo>
                  <a:pt x="578" y="478"/>
                </a:lnTo>
                <a:lnTo>
                  <a:pt x="602" y="490"/>
                </a:lnTo>
                <a:lnTo>
                  <a:pt x="624" y="504"/>
                </a:lnTo>
                <a:lnTo>
                  <a:pt x="648" y="520"/>
                </a:lnTo>
                <a:lnTo>
                  <a:pt x="648" y="520"/>
                </a:lnTo>
                <a:lnTo>
                  <a:pt x="664" y="532"/>
                </a:lnTo>
                <a:lnTo>
                  <a:pt x="678" y="546"/>
                </a:lnTo>
                <a:lnTo>
                  <a:pt x="692" y="560"/>
                </a:lnTo>
                <a:lnTo>
                  <a:pt x="704" y="576"/>
                </a:lnTo>
                <a:lnTo>
                  <a:pt x="712" y="594"/>
                </a:lnTo>
                <a:lnTo>
                  <a:pt x="720" y="612"/>
                </a:lnTo>
                <a:lnTo>
                  <a:pt x="726" y="632"/>
                </a:lnTo>
                <a:lnTo>
                  <a:pt x="728" y="654"/>
                </a:lnTo>
                <a:lnTo>
                  <a:pt x="728" y="654"/>
                </a:lnTo>
                <a:lnTo>
                  <a:pt x="738" y="756"/>
                </a:lnTo>
                <a:lnTo>
                  <a:pt x="748" y="860"/>
                </a:lnTo>
                <a:lnTo>
                  <a:pt x="768" y="1066"/>
                </a:lnTo>
                <a:lnTo>
                  <a:pt x="768" y="1066"/>
                </a:lnTo>
                <a:lnTo>
                  <a:pt x="768" y="1086"/>
                </a:lnTo>
                <a:lnTo>
                  <a:pt x="768" y="1086"/>
                </a:lnTo>
                <a:lnTo>
                  <a:pt x="484" y="1086"/>
                </a:lnTo>
                <a:lnTo>
                  <a:pt x="484" y="1086"/>
                </a:lnTo>
                <a:lnTo>
                  <a:pt x="490" y="1006"/>
                </a:lnTo>
                <a:lnTo>
                  <a:pt x="496" y="926"/>
                </a:lnTo>
                <a:lnTo>
                  <a:pt x="498" y="844"/>
                </a:lnTo>
                <a:lnTo>
                  <a:pt x="498" y="804"/>
                </a:lnTo>
                <a:lnTo>
                  <a:pt x="496" y="762"/>
                </a:lnTo>
                <a:lnTo>
                  <a:pt x="496" y="762"/>
                </a:lnTo>
                <a:lnTo>
                  <a:pt x="400" y="690"/>
                </a:lnTo>
                <a:lnTo>
                  <a:pt x="352" y="652"/>
                </a:lnTo>
                <a:lnTo>
                  <a:pt x="304" y="612"/>
                </a:lnTo>
                <a:lnTo>
                  <a:pt x="304" y="612"/>
                </a:lnTo>
                <a:lnTo>
                  <a:pt x="274" y="584"/>
                </a:lnTo>
                <a:lnTo>
                  <a:pt x="246" y="556"/>
                </a:lnTo>
                <a:lnTo>
                  <a:pt x="220" y="528"/>
                </a:lnTo>
                <a:lnTo>
                  <a:pt x="196" y="498"/>
                </a:lnTo>
                <a:lnTo>
                  <a:pt x="172" y="466"/>
                </a:lnTo>
                <a:lnTo>
                  <a:pt x="152" y="434"/>
                </a:lnTo>
                <a:lnTo>
                  <a:pt x="132" y="402"/>
                </a:lnTo>
                <a:lnTo>
                  <a:pt x="112" y="368"/>
                </a:lnTo>
                <a:lnTo>
                  <a:pt x="96" y="334"/>
                </a:lnTo>
                <a:lnTo>
                  <a:pt x="80" y="300"/>
                </a:lnTo>
                <a:lnTo>
                  <a:pt x="50" y="228"/>
                </a:lnTo>
                <a:lnTo>
                  <a:pt x="26" y="154"/>
                </a:lnTo>
                <a:lnTo>
                  <a:pt x="4" y="78"/>
                </a:lnTo>
                <a:lnTo>
                  <a:pt x="4" y="78"/>
                </a:lnTo>
                <a:lnTo>
                  <a:pt x="0" y="58"/>
                </a:lnTo>
                <a:lnTo>
                  <a:pt x="0" y="48"/>
                </a:lnTo>
                <a:lnTo>
                  <a:pt x="0" y="36"/>
                </a:lnTo>
                <a:lnTo>
                  <a:pt x="4" y="26"/>
                </a:lnTo>
                <a:lnTo>
                  <a:pt x="8" y="16"/>
                </a:lnTo>
                <a:lnTo>
                  <a:pt x="14" y="8"/>
                </a:lnTo>
                <a:lnTo>
                  <a:pt x="24" y="0"/>
                </a:lnTo>
                <a:lnTo>
                  <a:pt x="2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Montserrat" panose="00000500000000000000"/>
              <a:cs typeface="Arial" panose="020B0604020202020204" pitchFamily="34" charset="0"/>
            </a:endParaRPr>
          </a:p>
        </p:txBody>
      </p:sp>
      <p:sp>
        <p:nvSpPr>
          <p:cNvPr id="43" name="Freeform 7"/>
          <p:cNvSpPr>
            <a:spLocks/>
          </p:cNvSpPr>
          <p:nvPr/>
        </p:nvSpPr>
        <p:spPr bwMode="auto">
          <a:xfrm>
            <a:off x="4507898" y="4351370"/>
            <a:ext cx="127378" cy="126141"/>
          </a:xfrm>
          <a:custGeom>
            <a:avLst/>
            <a:gdLst>
              <a:gd name="T0" fmla="*/ 240 w 412"/>
              <a:gd name="T1" fmla="*/ 238 h 408"/>
              <a:gd name="T2" fmla="*/ 312 w 412"/>
              <a:gd name="T3" fmla="*/ 318 h 408"/>
              <a:gd name="T4" fmla="*/ 374 w 412"/>
              <a:gd name="T5" fmla="*/ 408 h 408"/>
              <a:gd name="T6" fmla="*/ 348 w 412"/>
              <a:gd name="T7" fmla="*/ 408 h 408"/>
              <a:gd name="T8" fmla="*/ 300 w 412"/>
              <a:gd name="T9" fmla="*/ 408 h 408"/>
              <a:gd name="T10" fmla="*/ 256 w 412"/>
              <a:gd name="T11" fmla="*/ 402 h 408"/>
              <a:gd name="T12" fmla="*/ 216 w 412"/>
              <a:gd name="T13" fmla="*/ 392 h 408"/>
              <a:gd name="T14" fmla="*/ 178 w 412"/>
              <a:gd name="T15" fmla="*/ 378 h 408"/>
              <a:gd name="T16" fmla="*/ 144 w 412"/>
              <a:gd name="T17" fmla="*/ 358 h 408"/>
              <a:gd name="T18" fmla="*/ 112 w 412"/>
              <a:gd name="T19" fmla="*/ 336 h 408"/>
              <a:gd name="T20" fmla="*/ 74 w 412"/>
              <a:gd name="T21" fmla="*/ 296 h 408"/>
              <a:gd name="T22" fmla="*/ 34 w 412"/>
              <a:gd name="T23" fmla="*/ 234 h 408"/>
              <a:gd name="T24" fmla="*/ 10 w 412"/>
              <a:gd name="T25" fmla="*/ 162 h 408"/>
              <a:gd name="T26" fmla="*/ 0 w 412"/>
              <a:gd name="T27" fmla="*/ 84 h 408"/>
              <a:gd name="T28" fmla="*/ 8 w 412"/>
              <a:gd name="T29" fmla="*/ 0 h 408"/>
              <a:gd name="T30" fmla="*/ 20 w 412"/>
              <a:gd name="T31" fmla="*/ 18 h 408"/>
              <a:gd name="T32" fmla="*/ 50 w 412"/>
              <a:gd name="T33" fmla="*/ 46 h 408"/>
              <a:gd name="T34" fmla="*/ 86 w 412"/>
              <a:gd name="T35" fmla="*/ 66 h 408"/>
              <a:gd name="T36" fmla="*/ 142 w 412"/>
              <a:gd name="T37" fmla="*/ 90 h 408"/>
              <a:gd name="T38" fmla="*/ 192 w 412"/>
              <a:gd name="T39" fmla="*/ 110 h 408"/>
              <a:gd name="T40" fmla="*/ 242 w 412"/>
              <a:gd name="T41" fmla="*/ 126 h 408"/>
              <a:gd name="T42" fmla="*/ 264 w 412"/>
              <a:gd name="T43" fmla="*/ 134 h 408"/>
              <a:gd name="T44" fmla="*/ 304 w 412"/>
              <a:gd name="T45" fmla="*/ 152 h 408"/>
              <a:gd name="T46" fmla="*/ 336 w 412"/>
              <a:gd name="T47" fmla="*/ 176 h 408"/>
              <a:gd name="T48" fmla="*/ 362 w 412"/>
              <a:gd name="T49" fmla="*/ 204 h 408"/>
              <a:gd name="T50" fmla="*/ 382 w 412"/>
              <a:gd name="T51" fmla="*/ 238 h 408"/>
              <a:gd name="T52" fmla="*/ 396 w 412"/>
              <a:gd name="T53" fmla="*/ 274 h 408"/>
              <a:gd name="T54" fmla="*/ 406 w 412"/>
              <a:gd name="T55" fmla="*/ 314 h 408"/>
              <a:gd name="T56" fmla="*/ 412 w 412"/>
              <a:gd name="T57" fmla="*/ 380 h 408"/>
              <a:gd name="T58" fmla="*/ 412 w 412"/>
              <a:gd name="T59" fmla="*/ 388 h 408"/>
              <a:gd name="T60" fmla="*/ 410 w 412"/>
              <a:gd name="T61" fmla="*/ 400 h 408"/>
              <a:gd name="T62" fmla="*/ 402 w 412"/>
              <a:gd name="T63" fmla="*/ 406 h 408"/>
              <a:gd name="T64" fmla="*/ 394 w 412"/>
              <a:gd name="T65" fmla="*/ 406 h 408"/>
              <a:gd name="T66" fmla="*/ 400 w 412"/>
              <a:gd name="T67" fmla="*/ 404 h 408"/>
              <a:gd name="T68" fmla="*/ 396 w 412"/>
              <a:gd name="T69" fmla="*/ 394 h 408"/>
              <a:gd name="T70" fmla="*/ 364 w 412"/>
              <a:gd name="T71" fmla="*/ 350 h 408"/>
              <a:gd name="T72" fmla="*/ 310 w 412"/>
              <a:gd name="T73" fmla="*/ 288 h 408"/>
              <a:gd name="T74" fmla="*/ 272 w 412"/>
              <a:gd name="T75" fmla="*/ 248 h 408"/>
              <a:gd name="T76" fmla="*/ 250 w 412"/>
              <a:gd name="T77" fmla="*/ 230 h 408"/>
              <a:gd name="T78" fmla="*/ 230 w 412"/>
              <a:gd name="T79" fmla="*/ 218 h 408"/>
              <a:gd name="T80" fmla="*/ 218 w 412"/>
              <a:gd name="T81" fmla="*/ 204 h 408"/>
              <a:gd name="T82" fmla="*/ 210 w 412"/>
              <a:gd name="T83" fmla="*/ 200 h 408"/>
              <a:gd name="T84" fmla="*/ 206 w 412"/>
              <a:gd name="T85" fmla="*/ 202 h 408"/>
              <a:gd name="T86" fmla="*/ 208 w 412"/>
              <a:gd name="T87" fmla="*/ 208 h 408"/>
              <a:gd name="T88" fmla="*/ 214 w 412"/>
              <a:gd name="T89" fmla="*/ 210 h 408"/>
              <a:gd name="T90" fmla="*/ 224 w 412"/>
              <a:gd name="T91" fmla="*/ 222 h 408"/>
              <a:gd name="T92" fmla="*/ 240 w 412"/>
              <a:gd name="T93" fmla="*/ 238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12" h="408">
                <a:moveTo>
                  <a:pt x="240" y="238"/>
                </a:moveTo>
                <a:lnTo>
                  <a:pt x="240" y="238"/>
                </a:lnTo>
                <a:lnTo>
                  <a:pt x="278" y="278"/>
                </a:lnTo>
                <a:lnTo>
                  <a:pt x="312" y="318"/>
                </a:lnTo>
                <a:lnTo>
                  <a:pt x="344" y="362"/>
                </a:lnTo>
                <a:lnTo>
                  <a:pt x="374" y="408"/>
                </a:lnTo>
                <a:lnTo>
                  <a:pt x="374" y="408"/>
                </a:lnTo>
                <a:lnTo>
                  <a:pt x="348" y="408"/>
                </a:lnTo>
                <a:lnTo>
                  <a:pt x="324" y="408"/>
                </a:lnTo>
                <a:lnTo>
                  <a:pt x="300" y="408"/>
                </a:lnTo>
                <a:lnTo>
                  <a:pt x="278" y="406"/>
                </a:lnTo>
                <a:lnTo>
                  <a:pt x="256" y="402"/>
                </a:lnTo>
                <a:lnTo>
                  <a:pt x="236" y="398"/>
                </a:lnTo>
                <a:lnTo>
                  <a:pt x="216" y="392"/>
                </a:lnTo>
                <a:lnTo>
                  <a:pt x="196" y="386"/>
                </a:lnTo>
                <a:lnTo>
                  <a:pt x="178" y="378"/>
                </a:lnTo>
                <a:lnTo>
                  <a:pt x="160" y="368"/>
                </a:lnTo>
                <a:lnTo>
                  <a:pt x="144" y="358"/>
                </a:lnTo>
                <a:lnTo>
                  <a:pt x="128" y="348"/>
                </a:lnTo>
                <a:lnTo>
                  <a:pt x="112" y="336"/>
                </a:lnTo>
                <a:lnTo>
                  <a:pt x="98" y="324"/>
                </a:lnTo>
                <a:lnTo>
                  <a:pt x="74" y="296"/>
                </a:lnTo>
                <a:lnTo>
                  <a:pt x="52" y="266"/>
                </a:lnTo>
                <a:lnTo>
                  <a:pt x="34" y="234"/>
                </a:lnTo>
                <a:lnTo>
                  <a:pt x="20" y="198"/>
                </a:lnTo>
                <a:lnTo>
                  <a:pt x="10" y="162"/>
                </a:lnTo>
                <a:lnTo>
                  <a:pt x="2" y="124"/>
                </a:lnTo>
                <a:lnTo>
                  <a:pt x="0" y="84"/>
                </a:lnTo>
                <a:lnTo>
                  <a:pt x="2" y="42"/>
                </a:lnTo>
                <a:lnTo>
                  <a:pt x="8" y="0"/>
                </a:lnTo>
                <a:lnTo>
                  <a:pt x="8" y="0"/>
                </a:lnTo>
                <a:lnTo>
                  <a:pt x="20" y="18"/>
                </a:lnTo>
                <a:lnTo>
                  <a:pt x="34" y="34"/>
                </a:lnTo>
                <a:lnTo>
                  <a:pt x="50" y="46"/>
                </a:lnTo>
                <a:lnTo>
                  <a:pt x="68" y="58"/>
                </a:lnTo>
                <a:lnTo>
                  <a:pt x="86" y="66"/>
                </a:lnTo>
                <a:lnTo>
                  <a:pt x="104" y="76"/>
                </a:lnTo>
                <a:lnTo>
                  <a:pt x="142" y="90"/>
                </a:lnTo>
                <a:lnTo>
                  <a:pt x="142" y="90"/>
                </a:lnTo>
                <a:lnTo>
                  <a:pt x="192" y="110"/>
                </a:lnTo>
                <a:lnTo>
                  <a:pt x="216" y="120"/>
                </a:lnTo>
                <a:lnTo>
                  <a:pt x="242" y="126"/>
                </a:lnTo>
                <a:lnTo>
                  <a:pt x="242" y="126"/>
                </a:lnTo>
                <a:lnTo>
                  <a:pt x="264" y="134"/>
                </a:lnTo>
                <a:lnTo>
                  <a:pt x="286" y="142"/>
                </a:lnTo>
                <a:lnTo>
                  <a:pt x="304" y="152"/>
                </a:lnTo>
                <a:lnTo>
                  <a:pt x="320" y="164"/>
                </a:lnTo>
                <a:lnTo>
                  <a:pt x="336" y="176"/>
                </a:lnTo>
                <a:lnTo>
                  <a:pt x="350" y="190"/>
                </a:lnTo>
                <a:lnTo>
                  <a:pt x="362" y="204"/>
                </a:lnTo>
                <a:lnTo>
                  <a:pt x="372" y="220"/>
                </a:lnTo>
                <a:lnTo>
                  <a:pt x="382" y="238"/>
                </a:lnTo>
                <a:lnTo>
                  <a:pt x="390" y="256"/>
                </a:lnTo>
                <a:lnTo>
                  <a:pt x="396" y="274"/>
                </a:lnTo>
                <a:lnTo>
                  <a:pt x="402" y="294"/>
                </a:lnTo>
                <a:lnTo>
                  <a:pt x="406" y="314"/>
                </a:lnTo>
                <a:lnTo>
                  <a:pt x="410" y="336"/>
                </a:lnTo>
                <a:lnTo>
                  <a:pt x="412" y="380"/>
                </a:lnTo>
                <a:lnTo>
                  <a:pt x="412" y="380"/>
                </a:lnTo>
                <a:lnTo>
                  <a:pt x="412" y="388"/>
                </a:lnTo>
                <a:lnTo>
                  <a:pt x="412" y="398"/>
                </a:lnTo>
                <a:lnTo>
                  <a:pt x="410" y="400"/>
                </a:lnTo>
                <a:lnTo>
                  <a:pt x="406" y="404"/>
                </a:lnTo>
                <a:lnTo>
                  <a:pt x="402" y="406"/>
                </a:lnTo>
                <a:lnTo>
                  <a:pt x="396" y="406"/>
                </a:lnTo>
                <a:lnTo>
                  <a:pt x="394" y="406"/>
                </a:lnTo>
                <a:lnTo>
                  <a:pt x="394" y="406"/>
                </a:lnTo>
                <a:lnTo>
                  <a:pt x="400" y="404"/>
                </a:lnTo>
                <a:lnTo>
                  <a:pt x="400" y="400"/>
                </a:lnTo>
                <a:lnTo>
                  <a:pt x="396" y="394"/>
                </a:lnTo>
                <a:lnTo>
                  <a:pt x="396" y="394"/>
                </a:lnTo>
                <a:lnTo>
                  <a:pt x="364" y="350"/>
                </a:lnTo>
                <a:lnTo>
                  <a:pt x="328" y="308"/>
                </a:lnTo>
                <a:lnTo>
                  <a:pt x="310" y="288"/>
                </a:lnTo>
                <a:lnTo>
                  <a:pt x="292" y="268"/>
                </a:lnTo>
                <a:lnTo>
                  <a:pt x="272" y="248"/>
                </a:lnTo>
                <a:lnTo>
                  <a:pt x="250" y="230"/>
                </a:lnTo>
                <a:lnTo>
                  <a:pt x="250" y="230"/>
                </a:lnTo>
                <a:lnTo>
                  <a:pt x="230" y="218"/>
                </a:lnTo>
                <a:lnTo>
                  <a:pt x="230" y="218"/>
                </a:lnTo>
                <a:lnTo>
                  <a:pt x="218" y="204"/>
                </a:lnTo>
                <a:lnTo>
                  <a:pt x="218" y="204"/>
                </a:lnTo>
                <a:lnTo>
                  <a:pt x="212" y="200"/>
                </a:lnTo>
                <a:lnTo>
                  <a:pt x="210" y="200"/>
                </a:lnTo>
                <a:lnTo>
                  <a:pt x="206" y="202"/>
                </a:lnTo>
                <a:lnTo>
                  <a:pt x="206" y="202"/>
                </a:lnTo>
                <a:lnTo>
                  <a:pt x="206" y="206"/>
                </a:lnTo>
                <a:lnTo>
                  <a:pt x="208" y="208"/>
                </a:lnTo>
                <a:lnTo>
                  <a:pt x="214" y="210"/>
                </a:lnTo>
                <a:lnTo>
                  <a:pt x="214" y="210"/>
                </a:lnTo>
                <a:lnTo>
                  <a:pt x="224" y="222"/>
                </a:lnTo>
                <a:lnTo>
                  <a:pt x="224" y="222"/>
                </a:lnTo>
                <a:lnTo>
                  <a:pt x="240" y="238"/>
                </a:lnTo>
                <a:lnTo>
                  <a:pt x="240" y="23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Montserrat" panose="00000500000000000000"/>
              <a:cs typeface="Arial" panose="020B0604020202020204" pitchFamily="34" charset="0"/>
            </a:endParaRPr>
          </a:p>
        </p:txBody>
      </p:sp>
      <p:sp>
        <p:nvSpPr>
          <p:cNvPr id="44" name="Freeform 8"/>
          <p:cNvSpPr>
            <a:spLocks noEditPoints="1"/>
          </p:cNvSpPr>
          <p:nvPr/>
        </p:nvSpPr>
        <p:spPr bwMode="auto">
          <a:xfrm>
            <a:off x="4640223" y="4400219"/>
            <a:ext cx="72964" cy="82857"/>
          </a:xfrm>
          <a:custGeom>
            <a:avLst/>
            <a:gdLst>
              <a:gd name="T0" fmla="*/ 230 w 236"/>
              <a:gd name="T1" fmla="*/ 0 h 268"/>
              <a:gd name="T2" fmla="*/ 236 w 236"/>
              <a:gd name="T3" fmla="*/ 54 h 268"/>
              <a:gd name="T4" fmla="*/ 234 w 236"/>
              <a:gd name="T5" fmla="*/ 102 h 268"/>
              <a:gd name="T6" fmla="*/ 224 w 236"/>
              <a:gd name="T7" fmla="*/ 144 h 268"/>
              <a:gd name="T8" fmla="*/ 206 w 236"/>
              <a:gd name="T9" fmla="*/ 180 h 268"/>
              <a:gd name="T10" fmla="*/ 178 w 236"/>
              <a:gd name="T11" fmla="*/ 210 h 268"/>
              <a:gd name="T12" fmla="*/ 144 w 236"/>
              <a:gd name="T13" fmla="*/ 236 h 268"/>
              <a:gd name="T14" fmla="*/ 102 w 236"/>
              <a:gd name="T15" fmla="*/ 254 h 268"/>
              <a:gd name="T16" fmla="*/ 52 w 236"/>
              <a:gd name="T17" fmla="*/ 266 h 268"/>
              <a:gd name="T18" fmla="*/ 38 w 236"/>
              <a:gd name="T19" fmla="*/ 268 h 268"/>
              <a:gd name="T20" fmla="*/ 16 w 236"/>
              <a:gd name="T21" fmla="*/ 268 h 268"/>
              <a:gd name="T22" fmla="*/ 4 w 236"/>
              <a:gd name="T23" fmla="*/ 258 h 268"/>
              <a:gd name="T24" fmla="*/ 0 w 236"/>
              <a:gd name="T25" fmla="*/ 238 h 268"/>
              <a:gd name="T26" fmla="*/ 0 w 236"/>
              <a:gd name="T27" fmla="*/ 224 h 268"/>
              <a:gd name="T28" fmla="*/ 6 w 236"/>
              <a:gd name="T29" fmla="*/ 178 h 268"/>
              <a:gd name="T30" fmla="*/ 22 w 236"/>
              <a:gd name="T31" fmla="*/ 142 h 268"/>
              <a:gd name="T32" fmla="*/ 50 w 236"/>
              <a:gd name="T33" fmla="*/ 110 h 268"/>
              <a:gd name="T34" fmla="*/ 90 w 236"/>
              <a:gd name="T35" fmla="*/ 88 h 268"/>
              <a:gd name="T36" fmla="*/ 128 w 236"/>
              <a:gd name="T37" fmla="*/ 72 h 268"/>
              <a:gd name="T38" fmla="*/ 184 w 236"/>
              <a:gd name="T39" fmla="*/ 44 h 268"/>
              <a:gd name="T40" fmla="*/ 216 w 236"/>
              <a:gd name="T41" fmla="*/ 18 h 268"/>
              <a:gd name="T42" fmla="*/ 230 w 236"/>
              <a:gd name="T43" fmla="*/ 0 h 268"/>
              <a:gd name="T44" fmla="*/ 82 w 236"/>
              <a:gd name="T45" fmla="*/ 164 h 268"/>
              <a:gd name="T46" fmla="*/ 68 w 236"/>
              <a:gd name="T47" fmla="*/ 176 h 268"/>
              <a:gd name="T48" fmla="*/ 64 w 236"/>
              <a:gd name="T49" fmla="*/ 184 h 268"/>
              <a:gd name="T50" fmla="*/ 66 w 236"/>
              <a:gd name="T51" fmla="*/ 188 h 268"/>
              <a:gd name="T52" fmla="*/ 72 w 236"/>
              <a:gd name="T53" fmla="*/ 188 h 268"/>
              <a:gd name="T54" fmla="*/ 74 w 236"/>
              <a:gd name="T55" fmla="*/ 182 h 268"/>
              <a:gd name="T56" fmla="*/ 86 w 236"/>
              <a:gd name="T57" fmla="*/ 168 h 268"/>
              <a:gd name="T58" fmla="*/ 90 w 236"/>
              <a:gd name="T59" fmla="*/ 160 h 268"/>
              <a:gd name="T60" fmla="*/ 88 w 236"/>
              <a:gd name="T61" fmla="*/ 156 h 268"/>
              <a:gd name="T62" fmla="*/ 82 w 236"/>
              <a:gd name="T63" fmla="*/ 164 h 268"/>
              <a:gd name="T64" fmla="*/ 10 w 236"/>
              <a:gd name="T65" fmla="*/ 268 h 268"/>
              <a:gd name="T66" fmla="*/ 28 w 236"/>
              <a:gd name="T67" fmla="*/ 254 h 268"/>
              <a:gd name="T68" fmla="*/ 38 w 236"/>
              <a:gd name="T69" fmla="*/ 240 h 268"/>
              <a:gd name="T70" fmla="*/ 50 w 236"/>
              <a:gd name="T71" fmla="*/ 212 h 268"/>
              <a:gd name="T72" fmla="*/ 38 w 236"/>
              <a:gd name="T73" fmla="*/ 222 h 268"/>
              <a:gd name="T74" fmla="*/ 18 w 236"/>
              <a:gd name="T75" fmla="*/ 248 h 268"/>
              <a:gd name="T76" fmla="*/ 10 w 236"/>
              <a:gd name="T77" fmla="*/ 268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36" h="268">
                <a:moveTo>
                  <a:pt x="230" y="0"/>
                </a:moveTo>
                <a:lnTo>
                  <a:pt x="230" y="0"/>
                </a:lnTo>
                <a:lnTo>
                  <a:pt x="234" y="28"/>
                </a:lnTo>
                <a:lnTo>
                  <a:pt x="236" y="54"/>
                </a:lnTo>
                <a:lnTo>
                  <a:pt x="236" y="78"/>
                </a:lnTo>
                <a:lnTo>
                  <a:pt x="234" y="102"/>
                </a:lnTo>
                <a:lnTo>
                  <a:pt x="230" y="122"/>
                </a:lnTo>
                <a:lnTo>
                  <a:pt x="224" y="144"/>
                </a:lnTo>
                <a:lnTo>
                  <a:pt x="216" y="162"/>
                </a:lnTo>
                <a:lnTo>
                  <a:pt x="206" y="180"/>
                </a:lnTo>
                <a:lnTo>
                  <a:pt x="192" y="196"/>
                </a:lnTo>
                <a:lnTo>
                  <a:pt x="178" y="210"/>
                </a:lnTo>
                <a:lnTo>
                  <a:pt x="162" y="224"/>
                </a:lnTo>
                <a:lnTo>
                  <a:pt x="144" y="236"/>
                </a:lnTo>
                <a:lnTo>
                  <a:pt x="124" y="246"/>
                </a:lnTo>
                <a:lnTo>
                  <a:pt x="102" y="254"/>
                </a:lnTo>
                <a:lnTo>
                  <a:pt x="78" y="260"/>
                </a:lnTo>
                <a:lnTo>
                  <a:pt x="52" y="266"/>
                </a:lnTo>
                <a:lnTo>
                  <a:pt x="52" y="266"/>
                </a:lnTo>
                <a:lnTo>
                  <a:pt x="38" y="268"/>
                </a:lnTo>
                <a:lnTo>
                  <a:pt x="26" y="268"/>
                </a:lnTo>
                <a:lnTo>
                  <a:pt x="16" y="268"/>
                </a:lnTo>
                <a:lnTo>
                  <a:pt x="10" y="264"/>
                </a:lnTo>
                <a:lnTo>
                  <a:pt x="4" y="258"/>
                </a:lnTo>
                <a:lnTo>
                  <a:pt x="2" y="250"/>
                </a:lnTo>
                <a:lnTo>
                  <a:pt x="0" y="238"/>
                </a:lnTo>
                <a:lnTo>
                  <a:pt x="0" y="224"/>
                </a:lnTo>
                <a:lnTo>
                  <a:pt x="0" y="224"/>
                </a:lnTo>
                <a:lnTo>
                  <a:pt x="2" y="200"/>
                </a:lnTo>
                <a:lnTo>
                  <a:pt x="6" y="178"/>
                </a:lnTo>
                <a:lnTo>
                  <a:pt x="12" y="160"/>
                </a:lnTo>
                <a:lnTo>
                  <a:pt x="22" y="142"/>
                </a:lnTo>
                <a:lnTo>
                  <a:pt x="34" y="124"/>
                </a:lnTo>
                <a:lnTo>
                  <a:pt x="50" y="110"/>
                </a:lnTo>
                <a:lnTo>
                  <a:pt x="68" y="98"/>
                </a:lnTo>
                <a:lnTo>
                  <a:pt x="90" y="88"/>
                </a:lnTo>
                <a:lnTo>
                  <a:pt x="90" y="88"/>
                </a:lnTo>
                <a:lnTo>
                  <a:pt x="128" y="72"/>
                </a:lnTo>
                <a:lnTo>
                  <a:pt x="166" y="54"/>
                </a:lnTo>
                <a:lnTo>
                  <a:pt x="184" y="44"/>
                </a:lnTo>
                <a:lnTo>
                  <a:pt x="200" y="32"/>
                </a:lnTo>
                <a:lnTo>
                  <a:pt x="216" y="18"/>
                </a:lnTo>
                <a:lnTo>
                  <a:pt x="230" y="0"/>
                </a:lnTo>
                <a:lnTo>
                  <a:pt x="230" y="0"/>
                </a:lnTo>
                <a:close/>
                <a:moveTo>
                  <a:pt x="82" y="164"/>
                </a:moveTo>
                <a:lnTo>
                  <a:pt x="82" y="164"/>
                </a:lnTo>
                <a:lnTo>
                  <a:pt x="68" y="176"/>
                </a:lnTo>
                <a:lnTo>
                  <a:pt x="68" y="176"/>
                </a:lnTo>
                <a:lnTo>
                  <a:pt x="64" y="182"/>
                </a:lnTo>
                <a:lnTo>
                  <a:pt x="64" y="184"/>
                </a:lnTo>
                <a:lnTo>
                  <a:pt x="66" y="188"/>
                </a:lnTo>
                <a:lnTo>
                  <a:pt x="66" y="188"/>
                </a:lnTo>
                <a:lnTo>
                  <a:pt x="70" y="188"/>
                </a:lnTo>
                <a:lnTo>
                  <a:pt x="72" y="188"/>
                </a:lnTo>
                <a:lnTo>
                  <a:pt x="74" y="182"/>
                </a:lnTo>
                <a:lnTo>
                  <a:pt x="74" y="182"/>
                </a:lnTo>
                <a:lnTo>
                  <a:pt x="86" y="168"/>
                </a:lnTo>
                <a:lnTo>
                  <a:pt x="86" y="168"/>
                </a:lnTo>
                <a:lnTo>
                  <a:pt x="90" y="162"/>
                </a:lnTo>
                <a:lnTo>
                  <a:pt x="90" y="160"/>
                </a:lnTo>
                <a:lnTo>
                  <a:pt x="88" y="156"/>
                </a:lnTo>
                <a:lnTo>
                  <a:pt x="88" y="156"/>
                </a:lnTo>
                <a:lnTo>
                  <a:pt x="82" y="164"/>
                </a:lnTo>
                <a:lnTo>
                  <a:pt x="82" y="164"/>
                </a:lnTo>
                <a:close/>
                <a:moveTo>
                  <a:pt x="10" y="268"/>
                </a:moveTo>
                <a:lnTo>
                  <a:pt x="10" y="268"/>
                </a:lnTo>
                <a:lnTo>
                  <a:pt x="20" y="262"/>
                </a:lnTo>
                <a:lnTo>
                  <a:pt x="28" y="254"/>
                </a:lnTo>
                <a:lnTo>
                  <a:pt x="34" y="248"/>
                </a:lnTo>
                <a:lnTo>
                  <a:pt x="38" y="240"/>
                </a:lnTo>
                <a:lnTo>
                  <a:pt x="44" y="226"/>
                </a:lnTo>
                <a:lnTo>
                  <a:pt x="50" y="212"/>
                </a:lnTo>
                <a:lnTo>
                  <a:pt x="50" y="212"/>
                </a:lnTo>
                <a:lnTo>
                  <a:pt x="38" y="222"/>
                </a:lnTo>
                <a:lnTo>
                  <a:pt x="26" y="234"/>
                </a:lnTo>
                <a:lnTo>
                  <a:pt x="18" y="248"/>
                </a:lnTo>
                <a:lnTo>
                  <a:pt x="10" y="268"/>
                </a:lnTo>
                <a:lnTo>
                  <a:pt x="10" y="26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Montserrat" panose="00000500000000000000"/>
              <a:cs typeface="Arial" panose="020B0604020202020204" pitchFamily="34" charset="0"/>
            </a:endParaRPr>
          </a:p>
        </p:txBody>
      </p:sp>
      <p:sp>
        <p:nvSpPr>
          <p:cNvPr id="45" name="Freeform 9"/>
          <p:cNvSpPr>
            <a:spLocks/>
          </p:cNvSpPr>
          <p:nvPr/>
        </p:nvSpPr>
        <p:spPr bwMode="auto">
          <a:xfrm>
            <a:off x="4629711" y="4476893"/>
            <a:ext cx="14222" cy="61216"/>
          </a:xfrm>
          <a:custGeom>
            <a:avLst/>
            <a:gdLst>
              <a:gd name="T0" fmla="*/ 2 w 46"/>
              <a:gd name="T1" fmla="*/ 0 h 198"/>
              <a:gd name="T2" fmla="*/ 2 w 46"/>
              <a:gd name="T3" fmla="*/ 0 h 198"/>
              <a:gd name="T4" fmla="*/ 0 w 46"/>
              <a:gd name="T5" fmla="*/ 8 h 198"/>
              <a:gd name="T6" fmla="*/ 2 w 46"/>
              <a:gd name="T7" fmla="*/ 16 h 198"/>
              <a:gd name="T8" fmla="*/ 6 w 46"/>
              <a:gd name="T9" fmla="*/ 24 h 198"/>
              <a:gd name="T10" fmla="*/ 10 w 46"/>
              <a:gd name="T11" fmla="*/ 30 h 198"/>
              <a:gd name="T12" fmla="*/ 18 w 46"/>
              <a:gd name="T13" fmla="*/ 42 h 198"/>
              <a:gd name="T14" fmla="*/ 20 w 46"/>
              <a:gd name="T15" fmla="*/ 50 h 198"/>
              <a:gd name="T16" fmla="*/ 22 w 46"/>
              <a:gd name="T17" fmla="*/ 56 h 198"/>
              <a:gd name="T18" fmla="*/ 22 w 46"/>
              <a:gd name="T19" fmla="*/ 56 h 198"/>
              <a:gd name="T20" fmla="*/ 28 w 46"/>
              <a:gd name="T21" fmla="*/ 58 h 198"/>
              <a:gd name="T22" fmla="*/ 34 w 46"/>
              <a:gd name="T23" fmla="*/ 56 h 198"/>
              <a:gd name="T24" fmla="*/ 36 w 46"/>
              <a:gd name="T25" fmla="*/ 52 h 198"/>
              <a:gd name="T26" fmla="*/ 40 w 46"/>
              <a:gd name="T27" fmla="*/ 48 h 198"/>
              <a:gd name="T28" fmla="*/ 40 w 46"/>
              <a:gd name="T29" fmla="*/ 48 h 198"/>
              <a:gd name="T30" fmla="*/ 36 w 46"/>
              <a:gd name="T31" fmla="*/ 66 h 198"/>
              <a:gd name="T32" fmla="*/ 34 w 46"/>
              <a:gd name="T33" fmla="*/ 86 h 198"/>
              <a:gd name="T34" fmla="*/ 36 w 46"/>
              <a:gd name="T35" fmla="*/ 104 h 198"/>
              <a:gd name="T36" fmla="*/ 38 w 46"/>
              <a:gd name="T37" fmla="*/ 122 h 198"/>
              <a:gd name="T38" fmla="*/ 44 w 46"/>
              <a:gd name="T39" fmla="*/ 156 h 198"/>
              <a:gd name="T40" fmla="*/ 46 w 46"/>
              <a:gd name="T41" fmla="*/ 174 h 198"/>
              <a:gd name="T42" fmla="*/ 46 w 46"/>
              <a:gd name="T43" fmla="*/ 192 h 198"/>
              <a:gd name="T44" fmla="*/ 46 w 46"/>
              <a:gd name="T45" fmla="*/ 192 h 198"/>
              <a:gd name="T46" fmla="*/ 38 w 46"/>
              <a:gd name="T47" fmla="*/ 198 h 198"/>
              <a:gd name="T48" fmla="*/ 30 w 46"/>
              <a:gd name="T49" fmla="*/ 198 h 198"/>
              <a:gd name="T50" fmla="*/ 10 w 46"/>
              <a:gd name="T51" fmla="*/ 194 h 198"/>
              <a:gd name="T52" fmla="*/ 10 w 46"/>
              <a:gd name="T53" fmla="*/ 194 h 198"/>
              <a:gd name="T54" fmla="*/ 14 w 46"/>
              <a:gd name="T55" fmla="*/ 146 h 198"/>
              <a:gd name="T56" fmla="*/ 12 w 46"/>
              <a:gd name="T57" fmla="*/ 98 h 198"/>
              <a:gd name="T58" fmla="*/ 8 w 46"/>
              <a:gd name="T59" fmla="*/ 48 h 198"/>
              <a:gd name="T60" fmla="*/ 0 w 46"/>
              <a:gd name="T61" fmla="*/ 0 h 198"/>
              <a:gd name="T62" fmla="*/ 0 w 46"/>
              <a:gd name="T63" fmla="*/ 0 h 198"/>
              <a:gd name="T64" fmla="*/ 2 w 46"/>
              <a:gd name="T65" fmla="*/ 0 h 198"/>
              <a:gd name="T66" fmla="*/ 2 w 46"/>
              <a:gd name="T67"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6" h="198">
                <a:moveTo>
                  <a:pt x="2" y="0"/>
                </a:moveTo>
                <a:lnTo>
                  <a:pt x="2" y="0"/>
                </a:lnTo>
                <a:lnTo>
                  <a:pt x="0" y="8"/>
                </a:lnTo>
                <a:lnTo>
                  <a:pt x="2" y="16"/>
                </a:lnTo>
                <a:lnTo>
                  <a:pt x="6" y="24"/>
                </a:lnTo>
                <a:lnTo>
                  <a:pt x="10" y="30"/>
                </a:lnTo>
                <a:lnTo>
                  <a:pt x="18" y="42"/>
                </a:lnTo>
                <a:lnTo>
                  <a:pt x="20" y="50"/>
                </a:lnTo>
                <a:lnTo>
                  <a:pt x="22" y="56"/>
                </a:lnTo>
                <a:lnTo>
                  <a:pt x="22" y="56"/>
                </a:lnTo>
                <a:lnTo>
                  <a:pt x="28" y="58"/>
                </a:lnTo>
                <a:lnTo>
                  <a:pt x="34" y="56"/>
                </a:lnTo>
                <a:lnTo>
                  <a:pt x="36" y="52"/>
                </a:lnTo>
                <a:lnTo>
                  <a:pt x="40" y="48"/>
                </a:lnTo>
                <a:lnTo>
                  <a:pt x="40" y="48"/>
                </a:lnTo>
                <a:lnTo>
                  <a:pt x="36" y="66"/>
                </a:lnTo>
                <a:lnTo>
                  <a:pt x="34" y="86"/>
                </a:lnTo>
                <a:lnTo>
                  <a:pt x="36" y="104"/>
                </a:lnTo>
                <a:lnTo>
                  <a:pt x="38" y="122"/>
                </a:lnTo>
                <a:lnTo>
                  <a:pt x="44" y="156"/>
                </a:lnTo>
                <a:lnTo>
                  <a:pt x="46" y="174"/>
                </a:lnTo>
                <a:lnTo>
                  <a:pt x="46" y="192"/>
                </a:lnTo>
                <a:lnTo>
                  <a:pt x="46" y="192"/>
                </a:lnTo>
                <a:lnTo>
                  <a:pt x="38" y="198"/>
                </a:lnTo>
                <a:lnTo>
                  <a:pt x="30" y="198"/>
                </a:lnTo>
                <a:lnTo>
                  <a:pt x="10" y="194"/>
                </a:lnTo>
                <a:lnTo>
                  <a:pt x="10" y="194"/>
                </a:lnTo>
                <a:lnTo>
                  <a:pt x="14" y="146"/>
                </a:lnTo>
                <a:lnTo>
                  <a:pt x="12" y="98"/>
                </a:lnTo>
                <a:lnTo>
                  <a:pt x="8" y="48"/>
                </a:lnTo>
                <a:lnTo>
                  <a:pt x="0" y="0"/>
                </a:lnTo>
                <a:lnTo>
                  <a:pt x="0" y="0"/>
                </a:lnTo>
                <a:lnTo>
                  <a:pt x="2" y="0"/>
                </a:lnTo>
                <a:lnTo>
                  <a:pt x="2"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Montserrat" panose="00000500000000000000"/>
              <a:cs typeface="Arial" panose="020B0604020202020204" pitchFamily="34" charset="0"/>
            </a:endParaRPr>
          </a:p>
        </p:txBody>
      </p:sp>
      <p:sp>
        <p:nvSpPr>
          <p:cNvPr id="46" name="Rectangle 45"/>
          <p:cNvSpPr/>
          <p:nvPr/>
        </p:nvSpPr>
        <p:spPr>
          <a:xfrm>
            <a:off x="5492448" y="2306420"/>
            <a:ext cx="1409857" cy="4473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22363" tIns="61181" rIns="122363" bIns="61181" rtlCol="0" anchor="ctr"/>
          <a:lstStyle/>
          <a:p>
            <a:pPr algn="ctr">
              <a:spcBef>
                <a:spcPts val="400"/>
              </a:spcBef>
              <a:spcAft>
                <a:spcPts val="400"/>
              </a:spcAft>
              <a:buClr>
                <a:schemeClr val="accent2"/>
              </a:buClr>
              <a:buSzPct val="120000"/>
            </a:pPr>
            <a:r>
              <a:rPr lang="en-US" sz="1400" b="1" dirty="0">
                <a:solidFill>
                  <a:schemeClr val="tx1"/>
                </a:solidFill>
                <a:latin typeface="Montserrat" panose="00000500000000000000"/>
                <a:ea typeface="Roboto" panose="02000000000000000000" pitchFamily="2" charset="0"/>
                <a:cs typeface="Arial" panose="020B0604020202020204" pitchFamily="34" charset="0"/>
              </a:rPr>
              <a:t>2003</a:t>
            </a:r>
          </a:p>
          <a:p>
            <a:pPr algn="ctr">
              <a:spcBef>
                <a:spcPts val="400"/>
              </a:spcBef>
              <a:spcAft>
                <a:spcPts val="400"/>
              </a:spcAft>
              <a:buClr>
                <a:schemeClr val="accent2"/>
              </a:buClr>
              <a:buSzPct val="120000"/>
            </a:pPr>
            <a:r>
              <a:rPr lang="en-US" sz="1400" b="1" dirty="0">
                <a:solidFill>
                  <a:schemeClr val="tx1"/>
                </a:solidFill>
                <a:latin typeface="Montserrat" panose="00000500000000000000"/>
                <a:ea typeface="Roboto" panose="02000000000000000000" pitchFamily="2" charset="0"/>
                <a:cs typeface="Arial" panose="020B0604020202020204" pitchFamily="34" charset="0"/>
              </a:rPr>
              <a:t>Die KIS </a:t>
            </a:r>
            <a:r>
              <a:rPr lang="en-US" sz="1400" b="1" dirty="0" err="1">
                <a:solidFill>
                  <a:schemeClr val="tx1"/>
                </a:solidFill>
                <a:latin typeface="Montserrat" panose="00000500000000000000"/>
                <a:ea typeface="Roboto" panose="02000000000000000000" pitchFamily="2" charset="0"/>
                <a:cs typeface="Arial" panose="020B0604020202020204" pitchFamily="34" charset="0"/>
              </a:rPr>
              <a:t>fangen</a:t>
            </a:r>
            <a:r>
              <a:rPr lang="en-US" sz="1400" b="1" dirty="0">
                <a:solidFill>
                  <a:schemeClr val="tx1"/>
                </a:solidFill>
                <a:latin typeface="Montserrat" panose="00000500000000000000"/>
                <a:ea typeface="Roboto" panose="02000000000000000000" pitchFamily="2" charset="0"/>
                <a:cs typeface="Arial" panose="020B0604020202020204" pitchFamily="34" charset="0"/>
              </a:rPr>
              <a:t> an </a:t>
            </a:r>
            <a:r>
              <a:rPr lang="en-US" sz="1400" b="1" dirty="0" err="1">
                <a:solidFill>
                  <a:schemeClr val="tx1"/>
                </a:solidFill>
                <a:latin typeface="Montserrat" panose="00000500000000000000"/>
                <a:ea typeface="Roboto" panose="02000000000000000000" pitchFamily="2" charset="0"/>
                <a:cs typeface="Arial" panose="020B0604020202020204" pitchFamily="34" charset="0"/>
              </a:rPr>
              <a:t>Archivsysteme</a:t>
            </a:r>
            <a:r>
              <a:rPr lang="en-US" sz="1400" b="1" dirty="0">
                <a:solidFill>
                  <a:schemeClr val="tx1"/>
                </a:solidFill>
                <a:latin typeface="Montserrat" panose="00000500000000000000"/>
                <a:ea typeface="Roboto" panose="02000000000000000000" pitchFamily="2" charset="0"/>
                <a:cs typeface="Arial" panose="020B0604020202020204" pitchFamily="34" charset="0"/>
              </a:rPr>
              <a:t> </a:t>
            </a:r>
            <a:r>
              <a:rPr lang="en-US" sz="1400" b="1" dirty="0" err="1">
                <a:solidFill>
                  <a:schemeClr val="tx1"/>
                </a:solidFill>
                <a:latin typeface="Montserrat" panose="00000500000000000000"/>
                <a:ea typeface="Roboto" panose="02000000000000000000" pitchFamily="2" charset="0"/>
                <a:cs typeface="Arial" panose="020B0604020202020204" pitchFamily="34" charset="0"/>
              </a:rPr>
              <a:t>zu</a:t>
            </a:r>
            <a:r>
              <a:rPr lang="en-US" sz="1400" b="1" dirty="0">
                <a:solidFill>
                  <a:schemeClr val="tx1"/>
                </a:solidFill>
                <a:latin typeface="Montserrat" panose="00000500000000000000"/>
                <a:ea typeface="Roboto" panose="02000000000000000000" pitchFamily="2" charset="0"/>
                <a:cs typeface="Arial" panose="020B0604020202020204" pitchFamily="34" charset="0"/>
              </a:rPr>
              <a:t> </a:t>
            </a:r>
            <a:r>
              <a:rPr lang="en-US" sz="1400" b="1" dirty="0" err="1">
                <a:solidFill>
                  <a:schemeClr val="tx1"/>
                </a:solidFill>
                <a:latin typeface="Montserrat" panose="00000500000000000000"/>
                <a:ea typeface="Roboto" panose="02000000000000000000" pitchFamily="2" charset="0"/>
                <a:cs typeface="Arial" panose="020B0604020202020204" pitchFamily="34" charset="0"/>
              </a:rPr>
              <a:t>integrieren</a:t>
            </a:r>
            <a:r>
              <a:rPr lang="en-US" sz="1400" b="1" dirty="0">
                <a:solidFill>
                  <a:schemeClr val="tx1"/>
                </a:solidFill>
                <a:latin typeface="Montserrat" panose="00000500000000000000"/>
                <a:ea typeface="Roboto" panose="02000000000000000000" pitchFamily="2" charset="0"/>
                <a:cs typeface="Arial" panose="020B0604020202020204" pitchFamily="34" charset="0"/>
              </a:rPr>
              <a:t> um </a:t>
            </a:r>
            <a:r>
              <a:rPr lang="en-US" sz="1400" b="1" dirty="0" err="1">
                <a:solidFill>
                  <a:schemeClr val="tx1"/>
                </a:solidFill>
                <a:latin typeface="Montserrat" panose="00000500000000000000"/>
                <a:ea typeface="Roboto" panose="02000000000000000000" pitchFamily="2" charset="0"/>
                <a:cs typeface="Arial" panose="020B0604020202020204" pitchFamily="34" charset="0"/>
              </a:rPr>
              <a:t>Papierdokumente</a:t>
            </a:r>
            <a:r>
              <a:rPr lang="en-US" sz="1400" b="1" dirty="0">
                <a:solidFill>
                  <a:schemeClr val="tx1"/>
                </a:solidFill>
                <a:latin typeface="Montserrat" panose="00000500000000000000"/>
                <a:ea typeface="Roboto" panose="02000000000000000000" pitchFamily="2" charset="0"/>
                <a:cs typeface="Arial" panose="020B0604020202020204" pitchFamily="34" charset="0"/>
              </a:rPr>
              <a:t> </a:t>
            </a:r>
            <a:r>
              <a:rPr lang="en-US" sz="1400" b="1" dirty="0" err="1">
                <a:solidFill>
                  <a:schemeClr val="tx1"/>
                </a:solidFill>
                <a:latin typeface="Montserrat" panose="00000500000000000000"/>
                <a:ea typeface="Roboto" panose="02000000000000000000" pitchFamily="2" charset="0"/>
                <a:cs typeface="Arial" panose="020B0604020202020204" pitchFamily="34" charset="0"/>
              </a:rPr>
              <a:t>einzubinden</a:t>
            </a:r>
            <a:endParaRPr lang="en-US" sz="1400" b="1" dirty="0">
              <a:solidFill>
                <a:schemeClr val="tx1"/>
              </a:solidFill>
              <a:latin typeface="Montserrat" panose="00000500000000000000"/>
              <a:ea typeface="Roboto" panose="02000000000000000000" pitchFamily="2" charset="0"/>
              <a:cs typeface="Arial" panose="020B0604020202020204" pitchFamily="34" charset="0"/>
            </a:endParaRPr>
          </a:p>
          <a:p>
            <a:pPr algn="ctr">
              <a:spcBef>
                <a:spcPts val="400"/>
              </a:spcBef>
              <a:spcAft>
                <a:spcPts val="400"/>
              </a:spcAft>
              <a:buClr>
                <a:schemeClr val="accent2"/>
              </a:buClr>
              <a:buSzPct val="120000"/>
            </a:pPr>
            <a:r>
              <a:rPr lang="en-US" sz="1400" b="1" dirty="0">
                <a:solidFill>
                  <a:schemeClr val="tx1"/>
                </a:solidFill>
                <a:latin typeface="Montserrat" panose="00000500000000000000"/>
                <a:ea typeface="Roboto" panose="02000000000000000000" pitchFamily="2" charset="0"/>
                <a:cs typeface="Arial" panose="020B0604020202020204" pitchFamily="34" charset="0"/>
              </a:rPr>
              <a:t> </a:t>
            </a:r>
          </a:p>
          <a:p>
            <a:pPr algn="ctr">
              <a:spcBef>
                <a:spcPts val="400"/>
              </a:spcBef>
              <a:spcAft>
                <a:spcPts val="400"/>
              </a:spcAft>
              <a:buClr>
                <a:schemeClr val="accent2"/>
              </a:buClr>
              <a:buSzPct val="120000"/>
            </a:pPr>
            <a:endParaRPr lang="en-US" sz="1400" b="1" dirty="0">
              <a:solidFill>
                <a:schemeClr val="tx1"/>
              </a:solidFill>
              <a:latin typeface="Montserrat" panose="00000500000000000000"/>
              <a:ea typeface="Roboto" panose="02000000000000000000" pitchFamily="2" charset="0"/>
              <a:cs typeface="Arial" panose="020B0604020202020204" pitchFamily="34" charset="0"/>
            </a:endParaRPr>
          </a:p>
        </p:txBody>
      </p:sp>
      <p:sp>
        <p:nvSpPr>
          <p:cNvPr id="47" name="Oval 17"/>
          <p:cNvSpPr>
            <a:spLocks noChangeArrowheads="1"/>
          </p:cNvSpPr>
          <p:nvPr/>
        </p:nvSpPr>
        <p:spPr bwMode="auto">
          <a:xfrm>
            <a:off x="5764908" y="3671757"/>
            <a:ext cx="864939" cy="864939"/>
          </a:xfrm>
          <a:prstGeom prst="ellipse">
            <a:avLst/>
          </a:prstGeom>
          <a:solidFill>
            <a:srgbClr val="FFFFFF"/>
          </a:solidFill>
          <a:ln w="19050">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US" sz="1200">
              <a:latin typeface="Montserrat" panose="00000500000000000000"/>
            </a:endParaRPr>
          </a:p>
        </p:txBody>
      </p:sp>
      <p:sp>
        <p:nvSpPr>
          <p:cNvPr id="48" name="Oval 19"/>
          <p:cNvSpPr>
            <a:spLocks noChangeArrowheads="1"/>
          </p:cNvSpPr>
          <p:nvPr/>
        </p:nvSpPr>
        <p:spPr bwMode="auto">
          <a:xfrm>
            <a:off x="5856207" y="3763056"/>
            <a:ext cx="682341" cy="682341"/>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200">
              <a:latin typeface="Montserrat" panose="00000500000000000000"/>
            </a:endParaRPr>
          </a:p>
        </p:txBody>
      </p:sp>
      <p:sp>
        <p:nvSpPr>
          <p:cNvPr id="49" name="Freeform 16"/>
          <p:cNvSpPr>
            <a:spLocks noEditPoints="1"/>
          </p:cNvSpPr>
          <p:nvPr/>
        </p:nvSpPr>
        <p:spPr bwMode="auto">
          <a:xfrm>
            <a:off x="5958138" y="3869782"/>
            <a:ext cx="346165" cy="352989"/>
          </a:xfrm>
          <a:custGeom>
            <a:avLst/>
            <a:gdLst>
              <a:gd name="T0" fmla="*/ 8 w 1116"/>
              <a:gd name="T1" fmla="*/ 478 h 1138"/>
              <a:gd name="T2" fmla="*/ 112 w 1116"/>
              <a:gd name="T3" fmla="*/ 234 h 1138"/>
              <a:gd name="T4" fmla="*/ 84 w 1116"/>
              <a:gd name="T5" fmla="*/ 368 h 1138"/>
              <a:gd name="T6" fmla="*/ 44 w 1116"/>
              <a:gd name="T7" fmla="*/ 546 h 1138"/>
              <a:gd name="T8" fmla="*/ 196 w 1116"/>
              <a:gd name="T9" fmla="*/ 546 h 1138"/>
              <a:gd name="T10" fmla="*/ 128 w 1116"/>
              <a:gd name="T11" fmla="*/ 592 h 1138"/>
              <a:gd name="T12" fmla="*/ 76 w 1116"/>
              <a:gd name="T13" fmla="*/ 750 h 1138"/>
              <a:gd name="T14" fmla="*/ 124 w 1116"/>
              <a:gd name="T15" fmla="*/ 848 h 1138"/>
              <a:gd name="T16" fmla="*/ 204 w 1116"/>
              <a:gd name="T17" fmla="*/ 918 h 1138"/>
              <a:gd name="T18" fmla="*/ 296 w 1116"/>
              <a:gd name="T19" fmla="*/ 718 h 1138"/>
              <a:gd name="T20" fmla="*/ 320 w 1116"/>
              <a:gd name="T21" fmla="*/ 638 h 1138"/>
              <a:gd name="T22" fmla="*/ 350 w 1116"/>
              <a:gd name="T23" fmla="*/ 750 h 1138"/>
              <a:gd name="T24" fmla="*/ 390 w 1116"/>
              <a:gd name="T25" fmla="*/ 842 h 1138"/>
              <a:gd name="T26" fmla="*/ 548 w 1116"/>
              <a:gd name="T27" fmla="*/ 760 h 1138"/>
              <a:gd name="T28" fmla="*/ 546 w 1116"/>
              <a:gd name="T29" fmla="*/ 616 h 1138"/>
              <a:gd name="T30" fmla="*/ 416 w 1116"/>
              <a:gd name="T31" fmla="*/ 592 h 1138"/>
              <a:gd name="T32" fmla="*/ 434 w 1116"/>
              <a:gd name="T33" fmla="*/ 548 h 1138"/>
              <a:gd name="T34" fmla="*/ 548 w 1116"/>
              <a:gd name="T35" fmla="*/ 514 h 1138"/>
              <a:gd name="T36" fmla="*/ 546 w 1116"/>
              <a:gd name="T37" fmla="*/ 358 h 1138"/>
              <a:gd name="T38" fmla="*/ 492 w 1116"/>
              <a:gd name="T39" fmla="*/ 272 h 1138"/>
              <a:gd name="T40" fmla="*/ 548 w 1116"/>
              <a:gd name="T41" fmla="*/ 160 h 1138"/>
              <a:gd name="T42" fmla="*/ 476 w 1116"/>
              <a:gd name="T43" fmla="*/ 142 h 1138"/>
              <a:gd name="T44" fmla="*/ 452 w 1116"/>
              <a:gd name="T45" fmla="*/ 56 h 1138"/>
              <a:gd name="T46" fmla="*/ 368 w 1116"/>
              <a:gd name="T47" fmla="*/ 36 h 1138"/>
              <a:gd name="T48" fmla="*/ 752 w 1116"/>
              <a:gd name="T49" fmla="*/ 30 h 1138"/>
              <a:gd name="T50" fmla="*/ 872 w 1116"/>
              <a:gd name="T51" fmla="*/ 86 h 1138"/>
              <a:gd name="T52" fmla="*/ 1006 w 1116"/>
              <a:gd name="T53" fmla="*/ 204 h 1138"/>
              <a:gd name="T54" fmla="*/ 1092 w 1116"/>
              <a:gd name="T55" fmla="*/ 342 h 1138"/>
              <a:gd name="T56" fmla="*/ 1062 w 1116"/>
              <a:gd name="T57" fmla="*/ 386 h 1138"/>
              <a:gd name="T58" fmla="*/ 1004 w 1116"/>
              <a:gd name="T59" fmla="*/ 274 h 1138"/>
              <a:gd name="T60" fmla="*/ 896 w 1116"/>
              <a:gd name="T61" fmla="*/ 238 h 1138"/>
              <a:gd name="T62" fmla="*/ 808 w 1116"/>
              <a:gd name="T63" fmla="*/ 388 h 1138"/>
              <a:gd name="T64" fmla="*/ 754 w 1116"/>
              <a:gd name="T65" fmla="*/ 296 h 1138"/>
              <a:gd name="T66" fmla="*/ 590 w 1116"/>
              <a:gd name="T67" fmla="*/ 462 h 1138"/>
              <a:gd name="T68" fmla="*/ 630 w 1116"/>
              <a:gd name="T69" fmla="*/ 546 h 1138"/>
              <a:gd name="T70" fmla="*/ 590 w 1116"/>
              <a:gd name="T71" fmla="*/ 624 h 1138"/>
              <a:gd name="T72" fmla="*/ 592 w 1116"/>
              <a:gd name="T73" fmla="*/ 780 h 1138"/>
              <a:gd name="T74" fmla="*/ 664 w 1116"/>
              <a:gd name="T75" fmla="*/ 852 h 1138"/>
              <a:gd name="T76" fmla="*/ 592 w 1116"/>
              <a:gd name="T77" fmla="*/ 888 h 1138"/>
              <a:gd name="T78" fmla="*/ 590 w 1116"/>
              <a:gd name="T79" fmla="*/ 1032 h 1138"/>
              <a:gd name="T80" fmla="*/ 734 w 1116"/>
              <a:gd name="T81" fmla="*/ 932 h 1138"/>
              <a:gd name="T82" fmla="*/ 696 w 1116"/>
              <a:gd name="T83" fmla="*/ 1078 h 1138"/>
              <a:gd name="T84" fmla="*/ 928 w 1116"/>
              <a:gd name="T85" fmla="*/ 1006 h 1138"/>
              <a:gd name="T86" fmla="*/ 676 w 1116"/>
              <a:gd name="T87" fmla="*/ 1128 h 1138"/>
              <a:gd name="T88" fmla="*/ 460 w 1116"/>
              <a:gd name="T89" fmla="*/ 1128 h 1138"/>
              <a:gd name="T90" fmla="*/ 302 w 1116"/>
              <a:gd name="T91" fmla="*/ 1072 h 1138"/>
              <a:gd name="T92" fmla="*/ 156 w 1116"/>
              <a:gd name="T93" fmla="*/ 960 h 1138"/>
              <a:gd name="T94" fmla="*/ 66 w 1116"/>
              <a:gd name="T95" fmla="*/ 836 h 1138"/>
              <a:gd name="T96" fmla="*/ 418 w 1116"/>
              <a:gd name="T97" fmla="*/ 910 h 1138"/>
              <a:gd name="T98" fmla="*/ 488 w 1116"/>
              <a:gd name="T99" fmla="*/ 1006 h 1138"/>
              <a:gd name="T100" fmla="*/ 548 w 1116"/>
              <a:gd name="T101" fmla="*/ 950 h 1138"/>
              <a:gd name="T102" fmla="*/ 460 w 1116"/>
              <a:gd name="T103" fmla="*/ 872 h 1138"/>
              <a:gd name="T104" fmla="*/ 750 w 1116"/>
              <a:gd name="T105" fmla="*/ 190 h 1138"/>
              <a:gd name="T106" fmla="*/ 878 w 1116"/>
              <a:gd name="T107" fmla="*/ 200 h 1138"/>
              <a:gd name="T108" fmla="*/ 814 w 1116"/>
              <a:gd name="T109" fmla="*/ 104 h 1138"/>
              <a:gd name="T110" fmla="*/ 710 w 1116"/>
              <a:gd name="T111" fmla="*/ 62 h 1138"/>
              <a:gd name="T112" fmla="*/ 412 w 1116"/>
              <a:gd name="T113" fmla="*/ 980 h 1138"/>
              <a:gd name="T114" fmla="*/ 330 w 1116"/>
              <a:gd name="T115" fmla="*/ 906 h 1138"/>
              <a:gd name="T116" fmla="*/ 304 w 1116"/>
              <a:gd name="T117" fmla="*/ 1022 h 1138"/>
              <a:gd name="T118" fmla="*/ 402 w 1116"/>
              <a:gd name="T119" fmla="*/ 1068 h 1138"/>
              <a:gd name="T120" fmla="*/ 718 w 1116"/>
              <a:gd name="T121" fmla="*/ 226 h 1138"/>
              <a:gd name="T122" fmla="*/ 624 w 1116"/>
              <a:gd name="T123" fmla="*/ 102 h 1138"/>
              <a:gd name="T124" fmla="*/ 592 w 1116"/>
              <a:gd name="T125" fmla="*/ 274 h 1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16" h="1138">
                <a:moveTo>
                  <a:pt x="44" y="790"/>
                </a:moveTo>
                <a:lnTo>
                  <a:pt x="44" y="790"/>
                </a:lnTo>
                <a:lnTo>
                  <a:pt x="34" y="764"/>
                </a:lnTo>
                <a:lnTo>
                  <a:pt x="34" y="764"/>
                </a:lnTo>
                <a:lnTo>
                  <a:pt x="32" y="758"/>
                </a:lnTo>
                <a:lnTo>
                  <a:pt x="30" y="752"/>
                </a:lnTo>
                <a:lnTo>
                  <a:pt x="30" y="752"/>
                </a:lnTo>
                <a:lnTo>
                  <a:pt x="20" y="718"/>
                </a:lnTo>
                <a:lnTo>
                  <a:pt x="12" y="686"/>
                </a:lnTo>
                <a:lnTo>
                  <a:pt x="6" y="650"/>
                </a:lnTo>
                <a:lnTo>
                  <a:pt x="2" y="616"/>
                </a:lnTo>
                <a:lnTo>
                  <a:pt x="2" y="616"/>
                </a:lnTo>
                <a:lnTo>
                  <a:pt x="0" y="588"/>
                </a:lnTo>
                <a:lnTo>
                  <a:pt x="0" y="560"/>
                </a:lnTo>
                <a:lnTo>
                  <a:pt x="2" y="534"/>
                </a:lnTo>
                <a:lnTo>
                  <a:pt x="4" y="506"/>
                </a:lnTo>
                <a:lnTo>
                  <a:pt x="8" y="478"/>
                </a:lnTo>
                <a:lnTo>
                  <a:pt x="12" y="452"/>
                </a:lnTo>
                <a:lnTo>
                  <a:pt x="18" y="424"/>
                </a:lnTo>
                <a:lnTo>
                  <a:pt x="26" y="398"/>
                </a:lnTo>
                <a:lnTo>
                  <a:pt x="26" y="398"/>
                </a:lnTo>
                <a:lnTo>
                  <a:pt x="30" y="388"/>
                </a:lnTo>
                <a:lnTo>
                  <a:pt x="30" y="388"/>
                </a:lnTo>
                <a:lnTo>
                  <a:pt x="36" y="368"/>
                </a:lnTo>
                <a:lnTo>
                  <a:pt x="36" y="368"/>
                </a:lnTo>
                <a:lnTo>
                  <a:pt x="54" y="328"/>
                </a:lnTo>
                <a:lnTo>
                  <a:pt x="72" y="290"/>
                </a:lnTo>
                <a:lnTo>
                  <a:pt x="72" y="290"/>
                </a:lnTo>
                <a:lnTo>
                  <a:pt x="94" y="256"/>
                </a:lnTo>
                <a:lnTo>
                  <a:pt x="94" y="256"/>
                </a:lnTo>
                <a:lnTo>
                  <a:pt x="98" y="250"/>
                </a:lnTo>
                <a:lnTo>
                  <a:pt x="102" y="244"/>
                </a:lnTo>
                <a:lnTo>
                  <a:pt x="106" y="238"/>
                </a:lnTo>
                <a:lnTo>
                  <a:pt x="112" y="234"/>
                </a:lnTo>
                <a:lnTo>
                  <a:pt x="112" y="234"/>
                </a:lnTo>
                <a:lnTo>
                  <a:pt x="112" y="242"/>
                </a:lnTo>
                <a:lnTo>
                  <a:pt x="112" y="242"/>
                </a:lnTo>
                <a:lnTo>
                  <a:pt x="114" y="260"/>
                </a:lnTo>
                <a:lnTo>
                  <a:pt x="118" y="278"/>
                </a:lnTo>
                <a:lnTo>
                  <a:pt x="118" y="278"/>
                </a:lnTo>
                <a:lnTo>
                  <a:pt x="120" y="288"/>
                </a:lnTo>
                <a:lnTo>
                  <a:pt x="120" y="288"/>
                </a:lnTo>
                <a:lnTo>
                  <a:pt x="122" y="292"/>
                </a:lnTo>
                <a:lnTo>
                  <a:pt x="120" y="296"/>
                </a:lnTo>
                <a:lnTo>
                  <a:pt x="116" y="302"/>
                </a:lnTo>
                <a:lnTo>
                  <a:pt x="116" y="302"/>
                </a:lnTo>
                <a:lnTo>
                  <a:pt x="102" y="328"/>
                </a:lnTo>
                <a:lnTo>
                  <a:pt x="96" y="342"/>
                </a:lnTo>
                <a:lnTo>
                  <a:pt x="90" y="356"/>
                </a:lnTo>
                <a:lnTo>
                  <a:pt x="90" y="356"/>
                </a:lnTo>
                <a:lnTo>
                  <a:pt x="84" y="368"/>
                </a:lnTo>
                <a:lnTo>
                  <a:pt x="78" y="382"/>
                </a:lnTo>
                <a:lnTo>
                  <a:pt x="78" y="382"/>
                </a:lnTo>
                <a:lnTo>
                  <a:pt x="68" y="412"/>
                </a:lnTo>
                <a:lnTo>
                  <a:pt x="60" y="442"/>
                </a:lnTo>
                <a:lnTo>
                  <a:pt x="60" y="442"/>
                </a:lnTo>
                <a:lnTo>
                  <a:pt x="58" y="450"/>
                </a:lnTo>
                <a:lnTo>
                  <a:pt x="56" y="458"/>
                </a:lnTo>
                <a:lnTo>
                  <a:pt x="56" y="458"/>
                </a:lnTo>
                <a:lnTo>
                  <a:pt x="50" y="484"/>
                </a:lnTo>
                <a:lnTo>
                  <a:pt x="48" y="508"/>
                </a:lnTo>
                <a:lnTo>
                  <a:pt x="48" y="508"/>
                </a:lnTo>
                <a:lnTo>
                  <a:pt x="46" y="516"/>
                </a:lnTo>
                <a:lnTo>
                  <a:pt x="46" y="524"/>
                </a:lnTo>
                <a:lnTo>
                  <a:pt x="46" y="524"/>
                </a:lnTo>
                <a:lnTo>
                  <a:pt x="44" y="536"/>
                </a:lnTo>
                <a:lnTo>
                  <a:pt x="44" y="546"/>
                </a:lnTo>
                <a:lnTo>
                  <a:pt x="44" y="546"/>
                </a:lnTo>
                <a:lnTo>
                  <a:pt x="60" y="548"/>
                </a:lnTo>
                <a:lnTo>
                  <a:pt x="74" y="546"/>
                </a:lnTo>
                <a:lnTo>
                  <a:pt x="74" y="546"/>
                </a:lnTo>
                <a:lnTo>
                  <a:pt x="80" y="548"/>
                </a:lnTo>
                <a:lnTo>
                  <a:pt x="86" y="546"/>
                </a:lnTo>
                <a:lnTo>
                  <a:pt x="86" y="546"/>
                </a:lnTo>
                <a:lnTo>
                  <a:pt x="108" y="548"/>
                </a:lnTo>
                <a:lnTo>
                  <a:pt x="128" y="546"/>
                </a:lnTo>
                <a:lnTo>
                  <a:pt x="128" y="546"/>
                </a:lnTo>
                <a:lnTo>
                  <a:pt x="134" y="548"/>
                </a:lnTo>
                <a:lnTo>
                  <a:pt x="142" y="546"/>
                </a:lnTo>
                <a:lnTo>
                  <a:pt x="142" y="546"/>
                </a:lnTo>
                <a:lnTo>
                  <a:pt x="162" y="548"/>
                </a:lnTo>
                <a:lnTo>
                  <a:pt x="182" y="546"/>
                </a:lnTo>
                <a:lnTo>
                  <a:pt x="182" y="546"/>
                </a:lnTo>
                <a:lnTo>
                  <a:pt x="188" y="548"/>
                </a:lnTo>
                <a:lnTo>
                  <a:pt x="196" y="546"/>
                </a:lnTo>
                <a:lnTo>
                  <a:pt x="196" y="546"/>
                </a:lnTo>
                <a:lnTo>
                  <a:pt x="234" y="548"/>
                </a:lnTo>
                <a:lnTo>
                  <a:pt x="234" y="548"/>
                </a:lnTo>
                <a:lnTo>
                  <a:pt x="234" y="554"/>
                </a:lnTo>
                <a:lnTo>
                  <a:pt x="234" y="554"/>
                </a:lnTo>
                <a:lnTo>
                  <a:pt x="234" y="590"/>
                </a:lnTo>
                <a:lnTo>
                  <a:pt x="234" y="590"/>
                </a:lnTo>
                <a:lnTo>
                  <a:pt x="198" y="592"/>
                </a:lnTo>
                <a:lnTo>
                  <a:pt x="198" y="592"/>
                </a:lnTo>
                <a:lnTo>
                  <a:pt x="190" y="590"/>
                </a:lnTo>
                <a:lnTo>
                  <a:pt x="182" y="592"/>
                </a:lnTo>
                <a:lnTo>
                  <a:pt x="182" y="592"/>
                </a:lnTo>
                <a:lnTo>
                  <a:pt x="164" y="590"/>
                </a:lnTo>
                <a:lnTo>
                  <a:pt x="144" y="592"/>
                </a:lnTo>
                <a:lnTo>
                  <a:pt x="144" y="592"/>
                </a:lnTo>
                <a:lnTo>
                  <a:pt x="136" y="590"/>
                </a:lnTo>
                <a:lnTo>
                  <a:pt x="128" y="592"/>
                </a:lnTo>
                <a:lnTo>
                  <a:pt x="128" y="592"/>
                </a:lnTo>
                <a:lnTo>
                  <a:pt x="86" y="590"/>
                </a:lnTo>
                <a:lnTo>
                  <a:pt x="44" y="592"/>
                </a:lnTo>
                <a:lnTo>
                  <a:pt x="44" y="592"/>
                </a:lnTo>
                <a:lnTo>
                  <a:pt x="48" y="630"/>
                </a:lnTo>
                <a:lnTo>
                  <a:pt x="54" y="666"/>
                </a:lnTo>
                <a:lnTo>
                  <a:pt x="54" y="666"/>
                </a:lnTo>
                <a:lnTo>
                  <a:pt x="56" y="680"/>
                </a:lnTo>
                <a:lnTo>
                  <a:pt x="56" y="680"/>
                </a:lnTo>
                <a:lnTo>
                  <a:pt x="60" y="696"/>
                </a:lnTo>
                <a:lnTo>
                  <a:pt x="64" y="714"/>
                </a:lnTo>
                <a:lnTo>
                  <a:pt x="64" y="714"/>
                </a:lnTo>
                <a:lnTo>
                  <a:pt x="66" y="718"/>
                </a:lnTo>
                <a:lnTo>
                  <a:pt x="68" y="722"/>
                </a:lnTo>
                <a:lnTo>
                  <a:pt x="68" y="722"/>
                </a:lnTo>
                <a:lnTo>
                  <a:pt x="70" y="736"/>
                </a:lnTo>
                <a:lnTo>
                  <a:pt x="76" y="750"/>
                </a:lnTo>
                <a:lnTo>
                  <a:pt x="76" y="750"/>
                </a:lnTo>
                <a:lnTo>
                  <a:pt x="78" y="756"/>
                </a:lnTo>
                <a:lnTo>
                  <a:pt x="80" y="760"/>
                </a:lnTo>
                <a:lnTo>
                  <a:pt x="80" y="760"/>
                </a:lnTo>
                <a:lnTo>
                  <a:pt x="86" y="776"/>
                </a:lnTo>
                <a:lnTo>
                  <a:pt x="94" y="790"/>
                </a:lnTo>
                <a:lnTo>
                  <a:pt x="94" y="790"/>
                </a:lnTo>
                <a:lnTo>
                  <a:pt x="94" y="796"/>
                </a:lnTo>
                <a:lnTo>
                  <a:pt x="98" y="798"/>
                </a:lnTo>
                <a:lnTo>
                  <a:pt x="98" y="798"/>
                </a:lnTo>
                <a:lnTo>
                  <a:pt x="104" y="812"/>
                </a:lnTo>
                <a:lnTo>
                  <a:pt x="112" y="826"/>
                </a:lnTo>
                <a:lnTo>
                  <a:pt x="112" y="826"/>
                </a:lnTo>
                <a:lnTo>
                  <a:pt x="114" y="830"/>
                </a:lnTo>
                <a:lnTo>
                  <a:pt x="116" y="834"/>
                </a:lnTo>
                <a:lnTo>
                  <a:pt x="116" y="834"/>
                </a:lnTo>
                <a:lnTo>
                  <a:pt x="124" y="848"/>
                </a:lnTo>
                <a:lnTo>
                  <a:pt x="134" y="862"/>
                </a:lnTo>
                <a:lnTo>
                  <a:pt x="134" y="862"/>
                </a:lnTo>
                <a:lnTo>
                  <a:pt x="138" y="868"/>
                </a:lnTo>
                <a:lnTo>
                  <a:pt x="138" y="868"/>
                </a:lnTo>
                <a:lnTo>
                  <a:pt x="146" y="880"/>
                </a:lnTo>
                <a:lnTo>
                  <a:pt x="154" y="892"/>
                </a:lnTo>
                <a:lnTo>
                  <a:pt x="154" y="892"/>
                </a:lnTo>
                <a:lnTo>
                  <a:pt x="162" y="900"/>
                </a:lnTo>
                <a:lnTo>
                  <a:pt x="162" y="900"/>
                </a:lnTo>
                <a:lnTo>
                  <a:pt x="170" y="910"/>
                </a:lnTo>
                <a:lnTo>
                  <a:pt x="180" y="920"/>
                </a:lnTo>
                <a:lnTo>
                  <a:pt x="180" y="920"/>
                </a:lnTo>
                <a:lnTo>
                  <a:pt x="184" y="926"/>
                </a:lnTo>
                <a:lnTo>
                  <a:pt x="188" y="928"/>
                </a:lnTo>
                <a:lnTo>
                  <a:pt x="188" y="928"/>
                </a:lnTo>
                <a:lnTo>
                  <a:pt x="204" y="918"/>
                </a:lnTo>
                <a:lnTo>
                  <a:pt x="204" y="918"/>
                </a:lnTo>
                <a:lnTo>
                  <a:pt x="286" y="878"/>
                </a:lnTo>
                <a:lnTo>
                  <a:pt x="286" y="878"/>
                </a:lnTo>
                <a:lnTo>
                  <a:pt x="342" y="856"/>
                </a:lnTo>
                <a:lnTo>
                  <a:pt x="342" y="856"/>
                </a:lnTo>
                <a:lnTo>
                  <a:pt x="330" y="830"/>
                </a:lnTo>
                <a:lnTo>
                  <a:pt x="330" y="830"/>
                </a:lnTo>
                <a:lnTo>
                  <a:pt x="320" y="804"/>
                </a:lnTo>
                <a:lnTo>
                  <a:pt x="320" y="804"/>
                </a:lnTo>
                <a:lnTo>
                  <a:pt x="318" y="798"/>
                </a:lnTo>
                <a:lnTo>
                  <a:pt x="316" y="790"/>
                </a:lnTo>
                <a:lnTo>
                  <a:pt x="316" y="790"/>
                </a:lnTo>
                <a:lnTo>
                  <a:pt x="306" y="760"/>
                </a:lnTo>
                <a:lnTo>
                  <a:pt x="306" y="760"/>
                </a:lnTo>
                <a:lnTo>
                  <a:pt x="304" y="750"/>
                </a:lnTo>
                <a:lnTo>
                  <a:pt x="304" y="750"/>
                </a:lnTo>
                <a:lnTo>
                  <a:pt x="296" y="718"/>
                </a:lnTo>
                <a:lnTo>
                  <a:pt x="296" y="718"/>
                </a:lnTo>
                <a:lnTo>
                  <a:pt x="296" y="712"/>
                </a:lnTo>
                <a:lnTo>
                  <a:pt x="294" y="706"/>
                </a:lnTo>
                <a:lnTo>
                  <a:pt x="294" y="706"/>
                </a:lnTo>
                <a:lnTo>
                  <a:pt x="288" y="672"/>
                </a:lnTo>
                <a:lnTo>
                  <a:pt x="288" y="672"/>
                </a:lnTo>
                <a:lnTo>
                  <a:pt x="288" y="666"/>
                </a:lnTo>
                <a:lnTo>
                  <a:pt x="286" y="660"/>
                </a:lnTo>
                <a:lnTo>
                  <a:pt x="286" y="660"/>
                </a:lnTo>
                <a:lnTo>
                  <a:pt x="286" y="650"/>
                </a:lnTo>
                <a:lnTo>
                  <a:pt x="286" y="646"/>
                </a:lnTo>
                <a:lnTo>
                  <a:pt x="286" y="640"/>
                </a:lnTo>
                <a:lnTo>
                  <a:pt x="286" y="640"/>
                </a:lnTo>
                <a:lnTo>
                  <a:pt x="304" y="640"/>
                </a:lnTo>
                <a:lnTo>
                  <a:pt x="304" y="640"/>
                </a:lnTo>
                <a:lnTo>
                  <a:pt x="312" y="642"/>
                </a:lnTo>
                <a:lnTo>
                  <a:pt x="316" y="640"/>
                </a:lnTo>
                <a:lnTo>
                  <a:pt x="320" y="638"/>
                </a:lnTo>
                <a:lnTo>
                  <a:pt x="320" y="638"/>
                </a:lnTo>
                <a:lnTo>
                  <a:pt x="324" y="638"/>
                </a:lnTo>
                <a:lnTo>
                  <a:pt x="328" y="640"/>
                </a:lnTo>
                <a:lnTo>
                  <a:pt x="328" y="640"/>
                </a:lnTo>
                <a:lnTo>
                  <a:pt x="332" y="660"/>
                </a:lnTo>
                <a:lnTo>
                  <a:pt x="332" y="660"/>
                </a:lnTo>
                <a:lnTo>
                  <a:pt x="332" y="668"/>
                </a:lnTo>
                <a:lnTo>
                  <a:pt x="334" y="674"/>
                </a:lnTo>
                <a:lnTo>
                  <a:pt x="334" y="674"/>
                </a:lnTo>
                <a:lnTo>
                  <a:pt x="336" y="690"/>
                </a:lnTo>
                <a:lnTo>
                  <a:pt x="340" y="706"/>
                </a:lnTo>
                <a:lnTo>
                  <a:pt x="340" y="706"/>
                </a:lnTo>
                <a:lnTo>
                  <a:pt x="340" y="712"/>
                </a:lnTo>
                <a:lnTo>
                  <a:pt x="342" y="718"/>
                </a:lnTo>
                <a:lnTo>
                  <a:pt x="342" y="718"/>
                </a:lnTo>
                <a:lnTo>
                  <a:pt x="344" y="734"/>
                </a:lnTo>
                <a:lnTo>
                  <a:pt x="350" y="750"/>
                </a:lnTo>
                <a:lnTo>
                  <a:pt x="350" y="750"/>
                </a:lnTo>
                <a:lnTo>
                  <a:pt x="350" y="756"/>
                </a:lnTo>
                <a:lnTo>
                  <a:pt x="354" y="760"/>
                </a:lnTo>
                <a:lnTo>
                  <a:pt x="354" y="760"/>
                </a:lnTo>
                <a:lnTo>
                  <a:pt x="358" y="776"/>
                </a:lnTo>
                <a:lnTo>
                  <a:pt x="362" y="792"/>
                </a:lnTo>
                <a:lnTo>
                  <a:pt x="362" y="792"/>
                </a:lnTo>
                <a:lnTo>
                  <a:pt x="368" y="802"/>
                </a:lnTo>
                <a:lnTo>
                  <a:pt x="368" y="802"/>
                </a:lnTo>
                <a:lnTo>
                  <a:pt x="372" y="816"/>
                </a:lnTo>
                <a:lnTo>
                  <a:pt x="378" y="832"/>
                </a:lnTo>
                <a:lnTo>
                  <a:pt x="378" y="832"/>
                </a:lnTo>
                <a:lnTo>
                  <a:pt x="382" y="840"/>
                </a:lnTo>
                <a:lnTo>
                  <a:pt x="382" y="840"/>
                </a:lnTo>
                <a:lnTo>
                  <a:pt x="386" y="842"/>
                </a:lnTo>
                <a:lnTo>
                  <a:pt x="390" y="842"/>
                </a:lnTo>
                <a:lnTo>
                  <a:pt x="390" y="842"/>
                </a:lnTo>
                <a:lnTo>
                  <a:pt x="444" y="830"/>
                </a:lnTo>
                <a:lnTo>
                  <a:pt x="444" y="830"/>
                </a:lnTo>
                <a:lnTo>
                  <a:pt x="458" y="828"/>
                </a:lnTo>
                <a:lnTo>
                  <a:pt x="458" y="828"/>
                </a:lnTo>
                <a:lnTo>
                  <a:pt x="502" y="822"/>
                </a:lnTo>
                <a:lnTo>
                  <a:pt x="502" y="822"/>
                </a:lnTo>
                <a:lnTo>
                  <a:pt x="520" y="820"/>
                </a:lnTo>
                <a:lnTo>
                  <a:pt x="520" y="820"/>
                </a:lnTo>
                <a:lnTo>
                  <a:pt x="546" y="820"/>
                </a:lnTo>
                <a:lnTo>
                  <a:pt x="546" y="820"/>
                </a:lnTo>
                <a:lnTo>
                  <a:pt x="548" y="806"/>
                </a:lnTo>
                <a:lnTo>
                  <a:pt x="546" y="794"/>
                </a:lnTo>
                <a:lnTo>
                  <a:pt x="546" y="794"/>
                </a:lnTo>
                <a:lnTo>
                  <a:pt x="548" y="786"/>
                </a:lnTo>
                <a:lnTo>
                  <a:pt x="546" y="780"/>
                </a:lnTo>
                <a:lnTo>
                  <a:pt x="546" y="780"/>
                </a:lnTo>
                <a:lnTo>
                  <a:pt x="548" y="760"/>
                </a:lnTo>
                <a:lnTo>
                  <a:pt x="546" y="738"/>
                </a:lnTo>
                <a:lnTo>
                  <a:pt x="546" y="738"/>
                </a:lnTo>
                <a:lnTo>
                  <a:pt x="548" y="732"/>
                </a:lnTo>
                <a:lnTo>
                  <a:pt x="546" y="726"/>
                </a:lnTo>
                <a:lnTo>
                  <a:pt x="546" y="726"/>
                </a:lnTo>
                <a:lnTo>
                  <a:pt x="548" y="704"/>
                </a:lnTo>
                <a:lnTo>
                  <a:pt x="546" y="684"/>
                </a:lnTo>
                <a:lnTo>
                  <a:pt x="546" y="684"/>
                </a:lnTo>
                <a:lnTo>
                  <a:pt x="548" y="678"/>
                </a:lnTo>
                <a:lnTo>
                  <a:pt x="546" y="672"/>
                </a:lnTo>
                <a:lnTo>
                  <a:pt x="546" y="672"/>
                </a:lnTo>
                <a:lnTo>
                  <a:pt x="548" y="650"/>
                </a:lnTo>
                <a:lnTo>
                  <a:pt x="546" y="630"/>
                </a:lnTo>
                <a:lnTo>
                  <a:pt x="546" y="630"/>
                </a:lnTo>
                <a:lnTo>
                  <a:pt x="548" y="624"/>
                </a:lnTo>
                <a:lnTo>
                  <a:pt x="546" y="616"/>
                </a:lnTo>
                <a:lnTo>
                  <a:pt x="546" y="616"/>
                </a:lnTo>
                <a:lnTo>
                  <a:pt x="548" y="604"/>
                </a:lnTo>
                <a:lnTo>
                  <a:pt x="546" y="592"/>
                </a:lnTo>
                <a:lnTo>
                  <a:pt x="546" y="592"/>
                </a:lnTo>
                <a:lnTo>
                  <a:pt x="536" y="590"/>
                </a:lnTo>
                <a:lnTo>
                  <a:pt x="524" y="592"/>
                </a:lnTo>
                <a:lnTo>
                  <a:pt x="524" y="592"/>
                </a:lnTo>
                <a:lnTo>
                  <a:pt x="516" y="590"/>
                </a:lnTo>
                <a:lnTo>
                  <a:pt x="508" y="592"/>
                </a:lnTo>
                <a:lnTo>
                  <a:pt x="508" y="592"/>
                </a:lnTo>
                <a:lnTo>
                  <a:pt x="490" y="590"/>
                </a:lnTo>
                <a:lnTo>
                  <a:pt x="470" y="592"/>
                </a:lnTo>
                <a:lnTo>
                  <a:pt x="470" y="592"/>
                </a:lnTo>
                <a:lnTo>
                  <a:pt x="462" y="590"/>
                </a:lnTo>
                <a:lnTo>
                  <a:pt x="454" y="592"/>
                </a:lnTo>
                <a:lnTo>
                  <a:pt x="454" y="592"/>
                </a:lnTo>
                <a:lnTo>
                  <a:pt x="434" y="590"/>
                </a:lnTo>
                <a:lnTo>
                  <a:pt x="416" y="592"/>
                </a:lnTo>
                <a:lnTo>
                  <a:pt x="416" y="592"/>
                </a:lnTo>
                <a:lnTo>
                  <a:pt x="408" y="590"/>
                </a:lnTo>
                <a:lnTo>
                  <a:pt x="400" y="592"/>
                </a:lnTo>
                <a:lnTo>
                  <a:pt x="400" y="592"/>
                </a:lnTo>
                <a:lnTo>
                  <a:pt x="370" y="590"/>
                </a:lnTo>
                <a:lnTo>
                  <a:pt x="370" y="590"/>
                </a:lnTo>
                <a:lnTo>
                  <a:pt x="372" y="582"/>
                </a:lnTo>
                <a:lnTo>
                  <a:pt x="372" y="574"/>
                </a:lnTo>
                <a:lnTo>
                  <a:pt x="372" y="574"/>
                </a:lnTo>
                <a:lnTo>
                  <a:pt x="374" y="548"/>
                </a:lnTo>
                <a:lnTo>
                  <a:pt x="374" y="548"/>
                </a:lnTo>
                <a:lnTo>
                  <a:pt x="400" y="546"/>
                </a:lnTo>
                <a:lnTo>
                  <a:pt x="400" y="546"/>
                </a:lnTo>
                <a:lnTo>
                  <a:pt x="406" y="548"/>
                </a:lnTo>
                <a:lnTo>
                  <a:pt x="414" y="546"/>
                </a:lnTo>
                <a:lnTo>
                  <a:pt x="414" y="546"/>
                </a:lnTo>
                <a:lnTo>
                  <a:pt x="434" y="548"/>
                </a:lnTo>
                <a:lnTo>
                  <a:pt x="454" y="546"/>
                </a:lnTo>
                <a:lnTo>
                  <a:pt x="454" y="546"/>
                </a:lnTo>
                <a:lnTo>
                  <a:pt x="460" y="548"/>
                </a:lnTo>
                <a:lnTo>
                  <a:pt x="468" y="546"/>
                </a:lnTo>
                <a:lnTo>
                  <a:pt x="468" y="546"/>
                </a:lnTo>
                <a:lnTo>
                  <a:pt x="488" y="548"/>
                </a:lnTo>
                <a:lnTo>
                  <a:pt x="508" y="546"/>
                </a:lnTo>
                <a:lnTo>
                  <a:pt x="508" y="546"/>
                </a:lnTo>
                <a:lnTo>
                  <a:pt x="514" y="548"/>
                </a:lnTo>
                <a:lnTo>
                  <a:pt x="522" y="546"/>
                </a:lnTo>
                <a:lnTo>
                  <a:pt x="522" y="546"/>
                </a:lnTo>
                <a:lnTo>
                  <a:pt x="534" y="548"/>
                </a:lnTo>
                <a:lnTo>
                  <a:pt x="546" y="546"/>
                </a:lnTo>
                <a:lnTo>
                  <a:pt x="546" y="546"/>
                </a:lnTo>
                <a:lnTo>
                  <a:pt x="546" y="522"/>
                </a:lnTo>
                <a:lnTo>
                  <a:pt x="546" y="522"/>
                </a:lnTo>
                <a:lnTo>
                  <a:pt x="548" y="514"/>
                </a:lnTo>
                <a:lnTo>
                  <a:pt x="546" y="508"/>
                </a:lnTo>
                <a:lnTo>
                  <a:pt x="546" y="508"/>
                </a:lnTo>
                <a:lnTo>
                  <a:pt x="548" y="488"/>
                </a:lnTo>
                <a:lnTo>
                  <a:pt x="546" y="468"/>
                </a:lnTo>
                <a:lnTo>
                  <a:pt x="546" y="468"/>
                </a:lnTo>
                <a:lnTo>
                  <a:pt x="548" y="460"/>
                </a:lnTo>
                <a:lnTo>
                  <a:pt x="546" y="454"/>
                </a:lnTo>
                <a:lnTo>
                  <a:pt x="546" y="454"/>
                </a:lnTo>
                <a:lnTo>
                  <a:pt x="548" y="434"/>
                </a:lnTo>
                <a:lnTo>
                  <a:pt x="546" y="412"/>
                </a:lnTo>
                <a:lnTo>
                  <a:pt x="546" y="412"/>
                </a:lnTo>
                <a:lnTo>
                  <a:pt x="548" y="406"/>
                </a:lnTo>
                <a:lnTo>
                  <a:pt x="546" y="400"/>
                </a:lnTo>
                <a:lnTo>
                  <a:pt x="546" y="400"/>
                </a:lnTo>
                <a:lnTo>
                  <a:pt x="548" y="378"/>
                </a:lnTo>
                <a:lnTo>
                  <a:pt x="546" y="358"/>
                </a:lnTo>
                <a:lnTo>
                  <a:pt x="546" y="358"/>
                </a:lnTo>
                <a:lnTo>
                  <a:pt x="548" y="352"/>
                </a:lnTo>
                <a:lnTo>
                  <a:pt x="546" y="344"/>
                </a:lnTo>
                <a:lnTo>
                  <a:pt x="546" y="344"/>
                </a:lnTo>
                <a:lnTo>
                  <a:pt x="548" y="332"/>
                </a:lnTo>
                <a:lnTo>
                  <a:pt x="546" y="318"/>
                </a:lnTo>
                <a:lnTo>
                  <a:pt x="546" y="318"/>
                </a:lnTo>
                <a:lnTo>
                  <a:pt x="524" y="318"/>
                </a:lnTo>
                <a:lnTo>
                  <a:pt x="524" y="318"/>
                </a:lnTo>
                <a:lnTo>
                  <a:pt x="510" y="318"/>
                </a:lnTo>
                <a:lnTo>
                  <a:pt x="510" y="318"/>
                </a:lnTo>
                <a:lnTo>
                  <a:pt x="478" y="312"/>
                </a:lnTo>
                <a:lnTo>
                  <a:pt x="478" y="312"/>
                </a:lnTo>
                <a:lnTo>
                  <a:pt x="478" y="304"/>
                </a:lnTo>
                <a:lnTo>
                  <a:pt x="478" y="304"/>
                </a:lnTo>
                <a:lnTo>
                  <a:pt x="482" y="296"/>
                </a:lnTo>
                <a:lnTo>
                  <a:pt x="486" y="288"/>
                </a:lnTo>
                <a:lnTo>
                  <a:pt x="492" y="272"/>
                </a:lnTo>
                <a:lnTo>
                  <a:pt x="492" y="272"/>
                </a:lnTo>
                <a:lnTo>
                  <a:pt x="510" y="272"/>
                </a:lnTo>
                <a:lnTo>
                  <a:pt x="510" y="272"/>
                </a:lnTo>
                <a:lnTo>
                  <a:pt x="520" y="274"/>
                </a:lnTo>
                <a:lnTo>
                  <a:pt x="528" y="274"/>
                </a:lnTo>
                <a:lnTo>
                  <a:pt x="546" y="274"/>
                </a:lnTo>
                <a:lnTo>
                  <a:pt x="546" y="274"/>
                </a:lnTo>
                <a:lnTo>
                  <a:pt x="548" y="254"/>
                </a:lnTo>
                <a:lnTo>
                  <a:pt x="546" y="234"/>
                </a:lnTo>
                <a:lnTo>
                  <a:pt x="546" y="234"/>
                </a:lnTo>
                <a:lnTo>
                  <a:pt x="548" y="214"/>
                </a:lnTo>
                <a:lnTo>
                  <a:pt x="546" y="196"/>
                </a:lnTo>
                <a:lnTo>
                  <a:pt x="546" y="196"/>
                </a:lnTo>
                <a:lnTo>
                  <a:pt x="548" y="188"/>
                </a:lnTo>
                <a:lnTo>
                  <a:pt x="546" y="180"/>
                </a:lnTo>
                <a:lnTo>
                  <a:pt x="546" y="180"/>
                </a:lnTo>
                <a:lnTo>
                  <a:pt x="548" y="160"/>
                </a:lnTo>
                <a:lnTo>
                  <a:pt x="546" y="142"/>
                </a:lnTo>
                <a:lnTo>
                  <a:pt x="546" y="142"/>
                </a:lnTo>
                <a:lnTo>
                  <a:pt x="548" y="134"/>
                </a:lnTo>
                <a:lnTo>
                  <a:pt x="546" y="124"/>
                </a:lnTo>
                <a:lnTo>
                  <a:pt x="546" y="124"/>
                </a:lnTo>
                <a:lnTo>
                  <a:pt x="548" y="106"/>
                </a:lnTo>
                <a:lnTo>
                  <a:pt x="546" y="86"/>
                </a:lnTo>
                <a:lnTo>
                  <a:pt x="546" y="86"/>
                </a:lnTo>
                <a:lnTo>
                  <a:pt x="548" y="80"/>
                </a:lnTo>
                <a:lnTo>
                  <a:pt x="546" y="76"/>
                </a:lnTo>
                <a:lnTo>
                  <a:pt x="546" y="72"/>
                </a:lnTo>
                <a:lnTo>
                  <a:pt x="546" y="72"/>
                </a:lnTo>
                <a:lnTo>
                  <a:pt x="512" y="104"/>
                </a:lnTo>
                <a:lnTo>
                  <a:pt x="482" y="136"/>
                </a:lnTo>
                <a:lnTo>
                  <a:pt x="482" y="136"/>
                </a:lnTo>
                <a:lnTo>
                  <a:pt x="480" y="142"/>
                </a:lnTo>
                <a:lnTo>
                  <a:pt x="476" y="142"/>
                </a:lnTo>
                <a:lnTo>
                  <a:pt x="474" y="140"/>
                </a:lnTo>
                <a:lnTo>
                  <a:pt x="474" y="140"/>
                </a:lnTo>
                <a:lnTo>
                  <a:pt x="466" y="128"/>
                </a:lnTo>
                <a:lnTo>
                  <a:pt x="458" y="116"/>
                </a:lnTo>
                <a:lnTo>
                  <a:pt x="458" y="116"/>
                </a:lnTo>
                <a:lnTo>
                  <a:pt x="454" y="112"/>
                </a:lnTo>
                <a:lnTo>
                  <a:pt x="454" y="112"/>
                </a:lnTo>
                <a:lnTo>
                  <a:pt x="452" y="108"/>
                </a:lnTo>
                <a:lnTo>
                  <a:pt x="454" y="104"/>
                </a:lnTo>
                <a:lnTo>
                  <a:pt x="458" y="98"/>
                </a:lnTo>
                <a:lnTo>
                  <a:pt x="458" y="98"/>
                </a:lnTo>
                <a:lnTo>
                  <a:pt x="506" y="48"/>
                </a:lnTo>
                <a:lnTo>
                  <a:pt x="506" y="48"/>
                </a:lnTo>
                <a:lnTo>
                  <a:pt x="484" y="50"/>
                </a:lnTo>
                <a:lnTo>
                  <a:pt x="462" y="54"/>
                </a:lnTo>
                <a:lnTo>
                  <a:pt x="462" y="54"/>
                </a:lnTo>
                <a:lnTo>
                  <a:pt x="452" y="56"/>
                </a:lnTo>
                <a:lnTo>
                  <a:pt x="442" y="60"/>
                </a:lnTo>
                <a:lnTo>
                  <a:pt x="442" y="60"/>
                </a:lnTo>
                <a:lnTo>
                  <a:pt x="426" y="64"/>
                </a:lnTo>
                <a:lnTo>
                  <a:pt x="426" y="64"/>
                </a:lnTo>
                <a:lnTo>
                  <a:pt x="414" y="66"/>
                </a:lnTo>
                <a:lnTo>
                  <a:pt x="408" y="68"/>
                </a:lnTo>
                <a:lnTo>
                  <a:pt x="402" y="66"/>
                </a:lnTo>
                <a:lnTo>
                  <a:pt x="402" y="66"/>
                </a:lnTo>
                <a:lnTo>
                  <a:pt x="398" y="62"/>
                </a:lnTo>
                <a:lnTo>
                  <a:pt x="392" y="60"/>
                </a:lnTo>
                <a:lnTo>
                  <a:pt x="392" y="60"/>
                </a:lnTo>
                <a:lnTo>
                  <a:pt x="378" y="52"/>
                </a:lnTo>
                <a:lnTo>
                  <a:pt x="362" y="46"/>
                </a:lnTo>
                <a:lnTo>
                  <a:pt x="362" y="46"/>
                </a:lnTo>
                <a:lnTo>
                  <a:pt x="354" y="42"/>
                </a:lnTo>
                <a:lnTo>
                  <a:pt x="354" y="42"/>
                </a:lnTo>
                <a:lnTo>
                  <a:pt x="368" y="36"/>
                </a:lnTo>
                <a:lnTo>
                  <a:pt x="368" y="36"/>
                </a:lnTo>
                <a:lnTo>
                  <a:pt x="388" y="28"/>
                </a:lnTo>
                <a:lnTo>
                  <a:pt x="388" y="28"/>
                </a:lnTo>
                <a:lnTo>
                  <a:pt x="418" y="20"/>
                </a:lnTo>
                <a:lnTo>
                  <a:pt x="446" y="14"/>
                </a:lnTo>
                <a:lnTo>
                  <a:pt x="476" y="8"/>
                </a:lnTo>
                <a:lnTo>
                  <a:pt x="506" y="4"/>
                </a:lnTo>
                <a:lnTo>
                  <a:pt x="534" y="2"/>
                </a:lnTo>
                <a:lnTo>
                  <a:pt x="564" y="0"/>
                </a:lnTo>
                <a:lnTo>
                  <a:pt x="594" y="0"/>
                </a:lnTo>
                <a:lnTo>
                  <a:pt x="624" y="2"/>
                </a:lnTo>
                <a:lnTo>
                  <a:pt x="624" y="2"/>
                </a:lnTo>
                <a:lnTo>
                  <a:pt x="656" y="6"/>
                </a:lnTo>
                <a:lnTo>
                  <a:pt x="690" y="12"/>
                </a:lnTo>
                <a:lnTo>
                  <a:pt x="722" y="20"/>
                </a:lnTo>
                <a:lnTo>
                  <a:pt x="752" y="30"/>
                </a:lnTo>
                <a:lnTo>
                  <a:pt x="752" y="30"/>
                </a:lnTo>
                <a:lnTo>
                  <a:pt x="758" y="32"/>
                </a:lnTo>
                <a:lnTo>
                  <a:pt x="764" y="34"/>
                </a:lnTo>
                <a:lnTo>
                  <a:pt x="764" y="34"/>
                </a:lnTo>
                <a:lnTo>
                  <a:pt x="790" y="44"/>
                </a:lnTo>
                <a:lnTo>
                  <a:pt x="790" y="44"/>
                </a:lnTo>
                <a:lnTo>
                  <a:pt x="796" y="48"/>
                </a:lnTo>
                <a:lnTo>
                  <a:pt x="802" y="48"/>
                </a:lnTo>
                <a:lnTo>
                  <a:pt x="802" y="48"/>
                </a:lnTo>
                <a:lnTo>
                  <a:pt x="826" y="60"/>
                </a:lnTo>
                <a:lnTo>
                  <a:pt x="826" y="60"/>
                </a:lnTo>
                <a:lnTo>
                  <a:pt x="830" y="64"/>
                </a:lnTo>
                <a:lnTo>
                  <a:pt x="836" y="66"/>
                </a:lnTo>
                <a:lnTo>
                  <a:pt x="836" y="66"/>
                </a:lnTo>
                <a:lnTo>
                  <a:pt x="860" y="80"/>
                </a:lnTo>
                <a:lnTo>
                  <a:pt x="860" y="80"/>
                </a:lnTo>
                <a:lnTo>
                  <a:pt x="872" y="86"/>
                </a:lnTo>
                <a:lnTo>
                  <a:pt x="872" y="86"/>
                </a:lnTo>
                <a:lnTo>
                  <a:pt x="894" y="100"/>
                </a:lnTo>
                <a:lnTo>
                  <a:pt x="894" y="100"/>
                </a:lnTo>
                <a:lnTo>
                  <a:pt x="904" y="108"/>
                </a:lnTo>
                <a:lnTo>
                  <a:pt x="904" y="108"/>
                </a:lnTo>
                <a:lnTo>
                  <a:pt x="924" y="122"/>
                </a:lnTo>
                <a:lnTo>
                  <a:pt x="924" y="122"/>
                </a:lnTo>
                <a:lnTo>
                  <a:pt x="934" y="132"/>
                </a:lnTo>
                <a:lnTo>
                  <a:pt x="934" y="132"/>
                </a:lnTo>
                <a:lnTo>
                  <a:pt x="956" y="150"/>
                </a:lnTo>
                <a:lnTo>
                  <a:pt x="956" y="150"/>
                </a:lnTo>
                <a:lnTo>
                  <a:pt x="960" y="156"/>
                </a:lnTo>
                <a:lnTo>
                  <a:pt x="960" y="156"/>
                </a:lnTo>
                <a:lnTo>
                  <a:pt x="984" y="178"/>
                </a:lnTo>
                <a:lnTo>
                  <a:pt x="984" y="178"/>
                </a:lnTo>
                <a:lnTo>
                  <a:pt x="988" y="182"/>
                </a:lnTo>
                <a:lnTo>
                  <a:pt x="988" y="182"/>
                </a:lnTo>
                <a:lnTo>
                  <a:pt x="1006" y="204"/>
                </a:lnTo>
                <a:lnTo>
                  <a:pt x="1006" y="204"/>
                </a:lnTo>
                <a:lnTo>
                  <a:pt x="1016" y="216"/>
                </a:lnTo>
                <a:lnTo>
                  <a:pt x="1016" y="216"/>
                </a:lnTo>
                <a:lnTo>
                  <a:pt x="1030" y="234"/>
                </a:lnTo>
                <a:lnTo>
                  <a:pt x="1030" y="234"/>
                </a:lnTo>
                <a:lnTo>
                  <a:pt x="1038" y="244"/>
                </a:lnTo>
                <a:lnTo>
                  <a:pt x="1038" y="244"/>
                </a:lnTo>
                <a:lnTo>
                  <a:pt x="1052" y="266"/>
                </a:lnTo>
                <a:lnTo>
                  <a:pt x="1052" y="266"/>
                </a:lnTo>
                <a:lnTo>
                  <a:pt x="1060" y="278"/>
                </a:lnTo>
                <a:lnTo>
                  <a:pt x="1060" y="278"/>
                </a:lnTo>
                <a:lnTo>
                  <a:pt x="1072" y="302"/>
                </a:lnTo>
                <a:lnTo>
                  <a:pt x="1072" y="302"/>
                </a:lnTo>
                <a:lnTo>
                  <a:pt x="1078" y="314"/>
                </a:lnTo>
                <a:lnTo>
                  <a:pt x="1078" y="314"/>
                </a:lnTo>
                <a:lnTo>
                  <a:pt x="1092" y="342"/>
                </a:lnTo>
                <a:lnTo>
                  <a:pt x="1092" y="342"/>
                </a:lnTo>
                <a:lnTo>
                  <a:pt x="1092" y="344"/>
                </a:lnTo>
                <a:lnTo>
                  <a:pt x="1094" y="348"/>
                </a:lnTo>
                <a:lnTo>
                  <a:pt x="1094" y="348"/>
                </a:lnTo>
                <a:lnTo>
                  <a:pt x="1104" y="376"/>
                </a:lnTo>
                <a:lnTo>
                  <a:pt x="1104" y="376"/>
                </a:lnTo>
                <a:lnTo>
                  <a:pt x="1108" y="386"/>
                </a:lnTo>
                <a:lnTo>
                  <a:pt x="1108" y="386"/>
                </a:lnTo>
                <a:lnTo>
                  <a:pt x="1116" y="410"/>
                </a:lnTo>
                <a:lnTo>
                  <a:pt x="1116" y="410"/>
                </a:lnTo>
                <a:lnTo>
                  <a:pt x="1116" y="412"/>
                </a:lnTo>
                <a:lnTo>
                  <a:pt x="1116" y="412"/>
                </a:lnTo>
                <a:lnTo>
                  <a:pt x="1092" y="402"/>
                </a:lnTo>
                <a:lnTo>
                  <a:pt x="1092" y="402"/>
                </a:lnTo>
                <a:lnTo>
                  <a:pt x="1088" y="398"/>
                </a:lnTo>
                <a:lnTo>
                  <a:pt x="1084" y="396"/>
                </a:lnTo>
                <a:lnTo>
                  <a:pt x="1084" y="396"/>
                </a:lnTo>
                <a:lnTo>
                  <a:pt x="1062" y="386"/>
                </a:lnTo>
                <a:lnTo>
                  <a:pt x="1062" y="386"/>
                </a:lnTo>
                <a:lnTo>
                  <a:pt x="1058" y="378"/>
                </a:lnTo>
                <a:lnTo>
                  <a:pt x="1058" y="378"/>
                </a:lnTo>
                <a:lnTo>
                  <a:pt x="1052" y="362"/>
                </a:lnTo>
                <a:lnTo>
                  <a:pt x="1046" y="348"/>
                </a:lnTo>
                <a:lnTo>
                  <a:pt x="1046" y="348"/>
                </a:lnTo>
                <a:lnTo>
                  <a:pt x="1044" y="344"/>
                </a:lnTo>
                <a:lnTo>
                  <a:pt x="1040" y="340"/>
                </a:lnTo>
                <a:lnTo>
                  <a:pt x="1040" y="340"/>
                </a:lnTo>
                <a:lnTo>
                  <a:pt x="1036" y="326"/>
                </a:lnTo>
                <a:lnTo>
                  <a:pt x="1026" y="312"/>
                </a:lnTo>
                <a:lnTo>
                  <a:pt x="1026" y="312"/>
                </a:lnTo>
                <a:lnTo>
                  <a:pt x="1026" y="308"/>
                </a:lnTo>
                <a:lnTo>
                  <a:pt x="1022" y="304"/>
                </a:lnTo>
                <a:lnTo>
                  <a:pt x="1022" y="304"/>
                </a:lnTo>
                <a:lnTo>
                  <a:pt x="1014" y="288"/>
                </a:lnTo>
                <a:lnTo>
                  <a:pt x="1004" y="274"/>
                </a:lnTo>
                <a:lnTo>
                  <a:pt x="1004" y="274"/>
                </a:lnTo>
                <a:lnTo>
                  <a:pt x="1002" y="272"/>
                </a:lnTo>
                <a:lnTo>
                  <a:pt x="1002" y="272"/>
                </a:lnTo>
                <a:lnTo>
                  <a:pt x="994" y="258"/>
                </a:lnTo>
                <a:lnTo>
                  <a:pt x="984" y="248"/>
                </a:lnTo>
                <a:lnTo>
                  <a:pt x="984" y="248"/>
                </a:lnTo>
                <a:lnTo>
                  <a:pt x="976" y="236"/>
                </a:lnTo>
                <a:lnTo>
                  <a:pt x="976" y="236"/>
                </a:lnTo>
                <a:lnTo>
                  <a:pt x="968" y="226"/>
                </a:lnTo>
                <a:lnTo>
                  <a:pt x="958" y="218"/>
                </a:lnTo>
                <a:lnTo>
                  <a:pt x="958" y="218"/>
                </a:lnTo>
                <a:lnTo>
                  <a:pt x="954" y="212"/>
                </a:lnTo>
                <a:lnTo>
                  <a:pt x="948" y="208"/>
                </a:lnTo>
                <a:lnTo>
                  <a:pt x="948" y="208"/>
                </a:lnTo>
                <a:lnTo>
                  <a:pt x="938" y="216"/>
                </a:lnTo>
                <a:lnTo>
                  <a:pt x="938" y="216"/>
                </a:lnTo>
                <a:lnTo>
                  <a:pt x="896" y="238"/>
                </a:lnTo>
                <a:lnTo>
                  <a:pt x="852" y="260"/>
                </a:lnTo>
                <a:lnTo>
                  <a:pt x="852" y="260"/>
                </a:lnTo>
                <a:lnTo>
                  <a:pt x="796" y="282"/>
                </a:lnTo>
                <a:lnTo>
                  <a:pt x="796" y="282"/>
                </a:lnTo>
                <a:lnTo>
                  <a:pt x="810" y="310"/>
                </a:lnTo>
                <a:lnTo>
                  <a:pt x="810" y="310"/>
                </a:lnTo>
                <a:lnTo>
                  <a:pt x="818" y="334"/>
                </a:lnTo>
                <a:lnTo>
                  <a:pt x="818" y="334"/>
                </a:lnTo>
                <a:lnTo>
                  <a:pt x="820" y="342"/>
                </a:lnTo>
                <a:lnTo>
                  <a:pt x="822" y="348"/>
                </a:lnTo>
                <a:lnTo>
                  <a:pt x="822" y="348"/>
                </a:lnTo>
                <a:lnTo>
                  <a:pt x="832" y="378"/>
                </a:lnTo>
                <a:lnTo>
                  <a:pt x="832" y="378"/>
                </a:lnTo>
                <a:lnTo>
                  <a:pt x="826" y="382"/>
                </a:lnTo>
                <a:lnTo>
                  <a:pt x="826" y="382"/>
                </a:lnTo>
                <a:lnTo>
                  <a:pt x="818" y="386"/>
                </a:lnTo>
                <a:lnTo>
                  <a:pt x="808" y="388"/>
                </a:lnTo>
                <a:lnTo>
                  <a:pt x="792" y="396"/>
                </a:lnTo>
                <a:lnTo>
                  <a:pt x="792" y="396"/>
                </a:lnTo>
                <a:lnTo>
                  <a:pt x="786" y="382"/>
                </a:lnTo>
                <a:lnTo>
                  <a:pt x="786" y="382"/>
                </a:lnTo>
                <a:lnTo>
                  <a:pt x="784" y="378"/>
                </a:lnTo>
                <a:lnTo>
                  <a:pt x="784" y="378"/>
                </a:lnTo>
                <a:lnTo>
                  <a:pt x="782" y="362"/>
                </a:lnTo>
                <a:lnTo>
                  <a:pt x="776" y="348"/>
                </a:lnTo>
                <a:lnTo>
                  <a:pt x="776" y="348"/>
                </a:lnTo>
                <a:lnTo>
                  <a:pt x="770" y="332"/>
                </a:lnTo>
                <a:lnTo>
                  <a:pt x="770" y="332"/>
                </a:lnTo>
                <a:lnTo>
                  <a:pt x="766" y="320"/>
                </a:lnTo>
                <a:lnTo>
                  <a:pt x="760" y="310"/>
                </a:lnTo>
                <a:lnTo>
                  <a:pt x="760" y="310"/>
                </a:lnTo>
                <a:lnTo>
                  <a:pt x="758" y="302"/>
                </a:lnTo>
                <a:lnTo>
                  <a:pt x="756" y="298"/>
                </a:lnTo>
                <a:lnTo>
                  <a:pt x="754" y="296"/>
                </a:lnTo>
                <a:lnTo>
                  <a:pt x="754" y="296"/>
                </a:lnTo>
                <a:lnTo>
                  <a:pt x="698" y="308"/>
                </a:lnTo>
                <a:lnTo>
                  <a:pt x="698" y="308"/>
                </a:lnTo>
                <a:lnTo>
                  <a:pt x="682" y="310"/>
                </a:lnTo>
                <a:lnTo>
                  <a:pt x="682" y="310"/>
                </a:lnTo>
                <a:lnTo>
                  <a:pt x="638" y="316"/>
                </a:lnTo>
                <a:lnTo>
                  <a:pt x="592" y="318"/>
                </a:lnTo>
                <a:lnTo>
                  <a:pt x="592" y="318"/>
                </a:lnTo>
                <a:lnTo>
                  <a:pt x="592" y="400"/>
                </a:lnTo>
                <a:lnTo>
                  <a:pt x="592" y="400"/>
                </a:lnTo>
                <a:lnTo>
                  <a:pt x="590" y="408"/>
                </a:lnTo>
                <a:lnTo>
                  <a:pt x="592" y="416"/>
                </a:lnTo>
                <a:lnTo>
                  <a:pt x="592" y="416"/>
                </a:lnTo>
                <a:lnTo>
                  <a:pt x="590" y="434"/>
                </a:lnTo>
                <a:lnTo>
                  <a:pt x="592" y="454"/>
                </a:lnTo>
                <a:lnTo>
                  <a:pt x="592" y="454"/>
                </a:lnTo>
                <a:lnTo>
                  <a:pt x="590" y="462"/>
                </a:lnTo>
                <a:lnTo>
                  <a:pt x="592" y="470"/>
                </a:lnTo>
                <a:lnTo>
                  <a:pt x="592" y="470"/>
                </a:lnTo>
                <a:lnTo>
                  <a:pt x="590" y="488"/>
                </a:lnTo>
                <a:lnTo>
                  <a:pt x="592" y="508"/>
                </a:lnTo>
                <a:lnTo>
                  <a:pt x="592" y="508"/>
                </a:lnTo>
                <a:lnTo>
                  <a:pt x="590" y="516"/>
                </a:lnTo>
                <a:lnTo>
                  <a:pt x="592" y="524"/>
                </a:lnTo>
                <a:lnTo>
                  <a:pt x="592" y="524"/>
                </a:lnTo>
                <a:lnTo>
                  <a:pt x="590" y="536"/>
                </a:lnTo>
                <a:lnTo>
                  <a:pt x="592" y="546"/>
                </a:lnTo>
                <a:lnTo>
                  <a:pt x="592" y="546"/>
                </a:lnTo>
                <a:lnTo>
                  <a:pt x="604" y="548"/>
                </a:lnTo>
                <a:lnTo>
                  <a:pt x="614" y="546"/>
                </a:lnTo>
                <a:lnTo>
                  <a:pt x="614" y="546"/>
                </a:lnTo>
                <a:lnTo>
                  <a:pt x="622" y="548"/>
                </a:lnTo>
                <a:lnTo>
                  <a:pt x="630" y="546"/>
                </a:lnTo>
                <a:lnTo>
                  <a:pt x="630" y="546"/>
                </a:lnTo>
                <a:lnTo>
                  <a:pt x="638" y="548"/>
                </a:lnTo>
                <a:lnTo>
                  <a:pt x="642" y="548"/>
                </a:lnTo>
                <a:lnTo>
                  <a:pt x="644" y="550"/>
                </a:lnTo>
                <a:lnTo>
                  <a:pt x="644" y="550"/>
                </a:lnTo>
                <a:lnTo>
                  <a:pt x="636" y="570"/>
                </a:lnTo>
                <a:lnTo>
                  <a:pt x="636" y="570"/>
                </a:lnTo>
                <a:lnTo>
                  <a:pt x="630" y="590"/>
                </a:lnTo>
                <a:lnTo>
                  <a:pt x="630" y="590"/>
                </a:lnTo>
                <a:lnTo>
                  <a:pt x="616" y="592"/>
                </a:lnTo>
                <a:lnTo>
                  <a:pt x="616" y="592"/>
                </a:lnTo>
                <a:lnTo>
                  <a:pt x="604" y="590"/>
                </a:lnTo>
                <a:lnTo>
                  <a:pt x="592" y="592"/>
                </a:lnTo>
                <a:lnTo>
                  <a:pt x="592" y="592"/>
                </a:lnTo>
                <a:lnTo>
                  <a:pt x="590" y="604"/>
                </a:lnTo>
                <a:lnTo>
                  <a:pt x="592" y="616"/>
                </a:lnTo>
                <a:lnTo>
                  <a:pt x="592" y="616"/>
                </a:lnTo>
                <a:lnTo>
                  <a:pt x="590" y="624"/>
                </a:lnTo>
                <a:lnTo>
                  <a:pt x="592" y="634"/>
                </a:lnTo>
                <a:lnTo>
                  <a:pt x="592" y="634"/>
                </a:lnTo>
                <a:lnTo>
                  <a:pt x="590" y="652"/>
                </a:lnTo>
                <a:lnTo>
                  <a:pt x="592" y="670"/>
                </a:lnTo>
                <a:lnTo>
                  <a:pt x="592" y="670"/>
                </a:lnTo>
                <a:lnTo>
                  <a:pt x="590" y="680"/>
                </a:lnTo>
                <a:lnTo>
                  <a:pt x="592" y="688"/>
                </a:lnTo>
                <a:lnTo>
                  <a:pt x="592" y="688"/>
                </a:lnTo>
                <a:lnTo>
                  <a:pt x="590" y="706"/>
                </a:lnTo>
                <a:lnTo>
                  <a:pt x="592" y="726"/>
                </a:lnTo>
                <a:lnTo>
                  <a:pt x="592" y="726"/>
                </a:lnTo>
                <a:lnTo>
                  <a:pt x="590" y="734"/>
                </a:lnTo>
                <a:lnTo>
                  <a:pt x="592" y="742"/>
                </a:lnTo>
                <a:lnTo>
                  <a:pt x="592" y="742"/>
                </a:lnTo>
                <a:lnTo>
                  <a:pt x="590" y="760"/>
                </a:lnTo>
                <a:lnTo>
                  <a:pt x="592" y="780"/>
                </a:lnTo>
                <a:lnTo>
                  <a:pt x="592" y="780"/>
                </a:lnTo>
                <a:lnTo>
                  <a:pt x="590" y="788"/>
                </a:lnTo>
                <a:lnTo>
                  <a:pt x="592" y="796"/>
                </a:lnTo>
                <a:lnTo>
                  <a:pt x="592" y="796"/>
                </a:lnTo>
                <a:lnTo>
                  <a:pt x="590" y="808"/>
                </a:lnTo>
                <a:lnTo>
                  <a:pt x="592" y="820"/>
                </a:lnTo>
                <a:lnTo>
                  <a:pt x="592" y="820"/>
                </a:lnTo>
                <a:lnTo>
                  <a:pt x="614" y="820"/>
                </a:lnTo>
                <a:lnTo>
                  <a:pt x="614" y="820"/>
                </a:lnTo>
                <a:lnTo>
                  <a:pt x="628" y="820"/>
                </a:lnTo>
                <a:lnTo>
                  <a:pt x="628" y="820"/>
                </a:lnTo>
                <a:lnTo>
                  <a:pt x="648" y="824"/>
                </a:lnTo>
                <a:lnTo>
                  <a:pt x="648" y="824"/>
                </a:lnTo>
                <a:lnTo>
                  <a:pt x="654" y="834"/>
                </a:lnTo>
                <a:lnTo>
                  <a:pt x="654" y="834"/>
                </a:lnTo>
                <a:lnTo>
                  <a:pt x="658" y="840"/>
                </a:lnTo>
                <a:lnTo>
                  <a:pt x="658" y="840"/>
                </a:lnTo>
                <a:lnTo>
                  <a:pt x="664" y="852"/>
                </a:lnTo>
                <a:lnTo>
                  <a:pt x="672" y="864"/>
                </a:lnTo>
                <a:lnTo>
                  <a:pt x="672" y="864"/>
                </a:lnTo>
                <a:lnTo>
                  <a:pt x="674" y="870"/>
                </a:lnTo>
                <a:lnTo>
                  <a:pt x="674" y="870"/>
                </a:lnTo>
                <a:lnTo>
                  <a:pt x="662" y="870"/>
                </a:lnTo>
                <a:lnTo>
                  <a:pt x="662" y="870"/>
                </a:lnTo>
                <a:lnTo>
                  <a:pt x="646" y="868"/>
                </a:lnTo>
                <a:lnTo>
                  <a:pt x="630" y="866"/>
                </a:lnTo>
                <a:lnTo>
                  <a:pt x="630" y="866"/>
                </a:lnTo>
                <a:lnTo>
                  <a:pt x="624" y="864"/>
                </a:lnTo>
                <a:lnTo>
                  <a:pt x="616" y="864"/>
                </a:lnTo>
                <a:lnTo>
                  <a:pt x="616" y="864"/>
                </a:lnTo>
                <a:lnTo>
                  <a:pt x="604" y="864"/>
                </a:lnTo>
                <a:lnTo>
                  <a:pt x="592" y="864"/>
                </a:lnTo>
                <a:lnTo>
                  <a:pt x="592" y="864"/>
                </a:lnTo>
                <a:lnTo>
                  <a:pt x="590" y="876"/>
                </a:lnTo>
                <a:lnTo>
                  <a:pt x="592" y="888"/>
                </a:lnTo>
                <a:lnTo>
                  <a:pt x="592" y="888"/>
                </a:lnTo>
                <a:lnTo>
                  <a:pt x="590" y="896"/>
                </a:lnTo>
                <a:lnTo>
                  <a:pt x="592" y="904"/>
                </a:lnTo>
                <a:lnTo>
                  <a:pt x="592" y="904"/>
                </a:lnTo>
                <a:lnTo>
                  <a:pt x="590" y="924"/>
                </a:lnTo>
                <a:lnTo>
                  <a:pt x="592" y="942"/>
                </a:lnTo>
                <a:lnTo>
                  <a:pt x="592" y="942"/>
                </a:lnTo>
                <a:lnTo>
                  <a:pt x="590" y="950"/>
                </a:lnTo>
                <a:lnTo>
                  <a:pt x="592" y="960"/>
                </a:lnTo>
                <a:lnTo>
                  <a:pt x="592" y="960"/>
                </a:lnTo>
                <a:lnTo>
                  <a:pt x="590" y="978"/>
                </a:lnTo>
                <a:lnTo>
                  <a:pt x="592" y="996"/>
                </a:lnTo>
                <a:lnTo>
                  <a:pt x="592" y="996"/>
                </a:lnTo>
                <a:lnTo>
                  <a:pt x="590" y="1006"/>
                </a:lnTo>
                <a:lnTo>
                  <a:pt x="592" y="1014"/>
                </a:lnTo>
                <a:lnTo>
                  <a:pt x="592" y="1014"/>
                </a:lnTo>
                <a:lnTo>
                  <a:pt x="590" y="1032"/>
                </a:lnTo>
                <a:lnTo>
                  <a:pt x="592" y="1052"/>
                </a:lnTo>
                <a:lnTo>
                  <a:pt x="592" y="1052"/>
                </a:lnTo>
                <a:lnTo>
                  <a:pt x="590" y="1058"/>
                </a:lnTo>
                <a:lnTo>
                  <a:pt x="592" y="1066"/>
                </a:lnTo>
                <a:lnTo>
                  <a:pt x="592" y="1066"/>
                </a:lnTo>
                <a:lnTo>
                  <a:pt x="632" y="1028"/>
                </a:lnTo>
                <a:lnTo>
                  <a:pt x="650" y="1008"/>
                </a:lnTo>
                <a:lnTo>
                  <a:pt x="666" y="986"/>
                </a:lnTo>
                <a:lnTo>
                  <a:pt x="666" y="986"/>
                </a:lnTo>
                <a:lnTo>
                  <a:pt x="680" y="970"/>
                </a:lnTo>
                <a:lnTo>
                  <a:pt x="692" y="954"/>
                </a:lnTo>
                <a:lnTo>
                  <a:pt x="716" y="918"/>
                </a:lnTo>
                <a:lnTo>
                  <a:pt x="716" y="918"/>
                </a:lnTo>
                <a:lnTo>
                  <a:pt x="726" y="924"/>
                </a:lnTo>
                <a:lnTo>
                  <a:pt x="726" y="924"/>
                </a:lnTo>
                <a:lnTo>
                  <a:pt x="734" y="932"/>
                </a:lnTo>
                <a:lnTo>
                  <a:pt x="734" y="932"/>
                </a:lnTo>
                <a:lnTo>
                  <a:pt x="738" y="936"/>
                </a:lnTo>
                <a:lnTo>
                  <a:pt x="742" y="940"/>
                </a:lnTo>
                <a:lnTo>
                  <a:pt x="746" y="942"/>
                </a:lnTo>
                <a:lnTo>
                  <a:pt x="748" y="948"/>
                </a:lnTo>
                <a:lnTo>
                  <a:pt x="748" y="948"/>
                </a:lnTo>
                <a:lnTo>
                  <a:pt x="720" y="992"/>
                </a:lnTo>
                <a:lnTo>
                  <a:pt x="720" y="992"/>
                </a:lnTo>
                <a:lnTo>
                  <a:pt x="678" y="1042"/>
                </a:lnTo>
                <a:lnTo>
                  <a:pt x="654" y="1066"/>
                </a:lnTo>
                <a:lnTo>
                  <a:pt x="630" y="1090"/>
                </a:lnTo>
                <a:lnTo>
                  <a:pt x="630" y="1090"/>
                </a:lnTo>
                <a:lnTo>
                  <a:pt x="656" y="1088"/>
                </a:lnTo>
                <a:lnTo>
                  <a:pt x="680" y="1082"/>
                </a:lnTo>
                <a:lnTo>
                  <a:pt x="680" y="1082"/>
                </a:lnTo>
                <a:lnTo>
                  <a:pt x="688" y="1082"/>
                </a:lnTo>
                <a:lnTo>
                  <a:pt x="696" y="1078"/>
                </a:lnTo>
                <a:lnTo>
                  <a:pt x="696" y="1078"/>
                </a:lnTo>
                <a:lnTo>
                  <a:pt x="726" y="1070"/>
                </a:lnTo>
                <a:lnTo>
                  <a:pt x="756" y="1060"/>
                </a:lnTo>
                <a:lnTo>
                  <a:pt x="756" y="1060"/>
                </a:lnTo>
                <a:lnTo>
                  <a:pt x="768" y="1056"/>
                </a:lnTo>
                <a:lnTo>
                  <a:pt x="780" y="1050"/>
                </a:lnTo>
                <a:lnTo>
                  <a:pt x="780" y="1050"/>
                </a:lnTo>
                <a:lnTo>
                  <a:pt x="804" y="1040"/>
                </a:lnTo>
                <a:lnTo>
                  <a:pt x="826" y="1028"/>
                </a:lnTo>
                <a:lnTo>
                  <a:pt x="848" y="1014"/>
                </a:lnTo>
                <a:lnTo>
                  <a:pt x="870" y="1000"/>
                </a:lnTo>
                <a:lnTo>
                  <a:pt x="870" y="1000"/>
                </a:lnTo>
                <a:lnTo>
                  <a:pt x="880" y="1000"/>
                </a:lnTo>
                <a:lnTo>
                  <a:pt x="880" y="1000"/>
                </a:lnTo>
                <a:lnTo>
                  <a:pt x="900" y="1004"/>
                </a:lnTo>
                <a:lnTo>
                  <a:pt x="918" y="1004"/>
                </a:lnTo>
                <a:lnTo>
                  <a:pt x="918" y="1004"/>
                </a:lnTo>
                <a:lnTo>
                  <a:pt x="928" y="1006"/>
                </a:lnTo>
                <a:lnTo>
                  <a:pt x="928" y="1006"/>
                </a:lnTo>
                <a:lnTo>
                  <a:pt x="930" y="1010"/>
                </a:lnTo>
                <a:lnTo>
                  <a:pt x="928" y="1012"/>
                </a:lnTo>
                <a:lnTo>
                  <a:pt x="922" y="1016"/>
                </a:lnTo>
                <a:lnTo>
                  <a:pt x="922" y="1016"/>
                </a:lnTo>
                <a:lnTo>
                  <a:pt x="882" y="1044"/>
                </a:lnTo>
                <a:lnTo>
                  <a:pt x="882" y="1044"/>
                </a:lnTo>
                <a:lnTo>
                  <a:pt x="848" y="1066"/>
                </a:lnTo>
                <a:lnTo>
                  <a:pt x="848" y="1066"/>
                </a:lnTo>
                <a:lnTo>
                  <a:pt x="810" y="1084"/>
                </a:lnTo>
                <a:lnTo>
                  <a:pt x="772" y="1102"/>
                </a:lnTo>
                <a:lnTo>
                  <a:pt x="772" y="1102"/>
                </a:lnTo>
                <a:lnTo>
                  <a:pt x="752" y="1108"/>
                </a:lnTo>
                <a:lnTo>
                  <a:pt x="752" y="1108"/>
                </a:lnTo>
                <a:lnTo>
                  <a:pt x="696" y="1124"/>
                </a:lnTo>
                <a:lnTo>
                  <a:pt x="696" y="1124"/>
                </a:lnTo>
                <a:lnTo>
                  <a:pt x="676" y="1128"/>
                </a:lnTo>
                <a:lnTo>
                  <a:pt x="676" y="1128"/>
                </a:lnTo>
                <a:lnTo>
                  <a:pt x="630" y="1136"/>
                </a:lnTo>
                <a:lnTo>
                  <a:pt x="630" y="1136"/>
                </a:lnTo>
                <a:lnTo>
                  <a:pt x="616" y="1136"/>
                </a:lnTo>
                <a:lnTo>
                  <a:pt x="616" y="1136"/>
                </a:lnTo>
                <a:lnTo>
                  <a:pt x="574" y="1138"/>
                </a:lnTo>
                <a:lnTo>
                  <a:pt x="574" y="1138"/>
                </a:lnTo>
                <a:lnTo>
                  <a:pt x="560" y="1138"/>
                </a:lnTo>
                <a:lnTo>
                  <a:pt x="560" y="1138"/>
                </a:lnTo>
                <a:lnTo>
                  <a:pt x="522" y="1136"/>
                </a:lnTo>
                <a:lnTo>
                  <a:pt x="522" y="1136"/>
                </a:lnTo>
                <a:lnTo>
                  <a:pt x="508" y="1136"/>
                </a:lnTo>
                <a:lnTo>
                  <a:pt x="508" y="1136"/>
                </a:lnTo>
                <a:lnTo>
                  <a:pt x="472" y="1130"/>
                </a:lnTo>
                <a:lnTo>
                  <a:pt x="472" y="1130"/>
                </a:lnTo>
                <a:lnTo>
                  <a:pt x="460" y="1128"/>
                </a:lnTo>
                <a:lnTo>
                  <a:pt x="460" y="1128"/>
                </a:lnTo>
                <a:lnTo>
                  <a:pt x="426" y="1120"/>
                </a:lnTo>
                <a:lnTo>
                  <a:pt x="426" y="1120"/>
                </a:lnTo>
                <a:lnTo>
                  <a:pt x="418" y="1118"/>
                </a:lnTo>
                <a:lnTo>
                  <a:pt x="418" y="1118"/>
                </a:lnTo>
                <a:lnTo>
                  <a:pt x="386" y="1108"/>
                </a:lnTo>
                <a:lnTo>
                  <a:pt x="386" y="1108"/>
                </a:lnTo>
                <a:lnTo>
                  <a:pt x="376" y="1104"/>
                </a:lnTo>
                <a:lnTo>
                  <a:pt x="376" y="1104"/>
                </a:lnTo>
                <a:lnTo>
                  <a:pt x="348" y="1094"/>
                </a:lnTo>
                <a:lnTo>
                  <a:pt x="348" y="1094"/>
                </a:lnTo>
                <a:lnTo>
                  <a:pt x="342" y="1092"/>
                </a:lnTo>
                <a:lnTo>
                  <a:pt x="336" y="1090"/>
                </a:lnTo>
                <a:lnTo>
                  <a:pt x="336" y="1090"/>
                </a:lnTo>
                <a:lnTo>
                  <a:pt x="314" y="1078"/>
                </a:lnTo>
                <a:lnTo>
                  <a:pt x="314" y="1078"/>
                </a:lnTo>
                <a:lnTo>
                  <a:pt x="302" y="1072"/>
                </a:lnTo>
                <a:lnTo>
                  <a:pt x="302" y="1072"/>
                </a:lnTo>
                <a:lnTo>
                  <a:pt x="278" y="1058"/>
                </a:lnTo>
                <a:lnTo>
                  <a:pt x="278" y="1058"/>
                </a:lnTo>
                <a:lnTo>
                  <a:pt x="266" y="1052"/>
                </a:lnTo>
                <a:lnTo>
                  <a:pt x="266" y="1052"/>
                </a:lnTo>
                <a:lnTo>
                  <a:pt x="246" y="1038"/>
                </a:lnTo>
                <a:lnTo>
                  <a:pt x="246" y="1038"/>
                </a:lnTo>
                <a:lnTo>
                  <a:pt x="234" y="1030"/>
                </a:lnTo>
                <a:lnTo>
                  <a:pt x="234" y="1030"/>
                </a:lnTo>
                <a:lnTo>
                  <a:pt x="216" y="1016"/>
                </a:lnTo>
                <a:lnTo>
                  <a:pt x="216" y="1016"/>
                </a:lnTo>
                <a:lnTo>
                  <a:pt x="204" y="1006"/>
                </a:lnTo>
                <a:lnTo>
                  <a:pt x="204" y="1006"/>
                </a:lnTo>
                <a:lnTo>
                  <a:pt x="182" y="988"/>
                </a:lnTo>
                <a:lnTo>
                  <a:pt x="182" y="988"/>
                </a:lnTo>
                <a:lnTo>
                  <a:pt x="178" y="984"/>
                </a:lnTo>
                <a:lnTo>
                  <a:pt x="178" y="984"/>
                </a:lnTo>
                <a:lnTo>
                  <a:pt x="156" y="960"/>
                </a:lnTo>
                <a:lnTo>
                  <a:pt x="156" y="960"/>
                </a:lnTo>
                <a:lnTo>
                  <a:pt x="150" y="956"/>
                </a:lnTo>
                <a:lnTo>
                  <a:pt x="150" y="956"/>
                </a:lnTo>
                <a:lnTo>
                  <a:pt x="132" y="934"/>
                </a:lnTo>
                <a:lnTo>
                  <a:pt x="132" y="934"/>
                </a:lnTo>
                <a:lnTo>
                  <a:pt x="122" y="922"/>
                </a:lnTo>
                <a:lnTo>
                  <a:pt x="122" y="922"/>
                </a:lnTo>
                <a:lnTo>
                  <a:pt x="108" y="904"/>
                </a:lnTo>
                <a:lnTo>
                  <a:pt x="108" y="904"/>
                </a:lnTo>
                <a:lnTo>
                  <a:pt x="100" y="894"/>
                </a:lnTo>
                <a:lnTo>
                  <a:pt x="100" y="894"/>
                </a:lnTo>
                <a:lnTo>
                  <a:pt x="86" y="872"/>
                </a:lnTo>
                <a:lnTo>
                  <a:pt x="86" y="872"/>
                </a:lnTo>
                <a:lnTo>
                  <a:pt x="80" y="860"/>
                </a:lnTo>
                <a:lnTo>
                  <a:pt x="80" y="860"/>
                </a:lnTo>
                <a:lnTo>
                  <a:pt x="66" y="836"/>
                </a:lnTo>
                <a:lnTo>
                  <a:pt x="66" y="836"/>
                </a:lnTo>
                <a:lnTo>
                  <a:pt x="64" y="830"/>
                </a:lnTo>
                <a:lnTo>
                  <a:pt x="60" y="826"/>
                </a:lnTo>
                <a:lnTo>
                  <a:pt x="60" y="826"/>
                </a:lnTo>
                <a:lnTo>
                  <a:pt x="48" y="802"/>
                </a:lnTo>
                <a:lnTo>
                  <a:pt x="48" y="802"/>
                </a:lnTo>
                <a:lnTo>
                  <a:pt x="48" y="796"/>
                </a:lnTo>
                <a:lnTo>
                  <a:pt x="44" y="790"/>
                </a:lnTo>
                <a:lnTo>
                  <a:pt x="44" y="790"/>
                </a:lnTo>
                <a:close/>
                <a:moveTo>
                  <a:pt x="442" y="876"/>
                </a:moveTo>
                <a:lnTo>
                  <a:pt x="442" y="876"/>
                </a:lnTo>
                <a:lnTo>
                  <a:pt x="422" y="878"/>
                </a:lnTo>
                <a:lnTo>
                  <a:pt x="404" y="884"/>
                </a:lnTo>
                <a:lnTo>
                  <a:pt x="404" y="884"/>
                </a:lnTo>
                <a:lnTo>
                  <a:pt x="410" y="896"/>
                </a:lnTo>
                <a:lnTo>
                  <a:pt x="416" y="904"/>
                </a:lnTo>
                <a:lnTo>
                  <a:pt x="416" y="904"/>
                </a:lnTo>
                <a:lnTo>
                  <a:pt x="418" y="910"/>
                </a:lnTo>
                <a:lnTo>
                  <a:pt x="420" y="912"/>
                </a:lnTo>
                <a:lnTo>
                  <a:pt x="420" y="912"/>
                </a:lnTo>
                <a:lnTo>
                  <a:pt x="428" y="926"/>
                </a:lnTo>
                <a:lnTo>
                  <a:pt x="436" y="938"/>
                </a:lnTo>
                <a:lnTo>
                  <a:pt x="436" y="938"/>
                </a:lnTo>
                <a:lnTo>
                  <a:pt x="444" y="948"/>
                </a:lnTo>
                <a:lnTo>
                  <a:pt x="444" y="948"/>
                </a:lnTo>
                <a:lnTo>
                  <a:pt x="450" y="960"/>
                </a:lnTo>
                <a:lnTo>
                  <a:pt x="458" y="970"/>
                </a:lnTo>
                <a:lnTo>
                  <a:pt x="458" y="970"/>
                </a:lnTo>
                <a:lnTo>
                  <a:pt x="464" y="976"/>
                </a:lnTo>
                <a:lnTo>
                  <a:pt x="464" y="976"/>
                </a:lnTo>
                <a:lnTo>
                  <a:pt x="472" y="988"/>
                </a:lnTo>
                <a:lnTo>
                  <a:pt x="482" y="1000"/>
                </a:lnTo>
                <a:lnTo>
                  <a:pt x="482" y="1000"/>
                </a:lnTo>
                <a:lnTo>
                  <a:pt x="488" y="1006"/>
                </a:lnTo>
                <a:lnTo>
                  <a:pt x="488" y="1006"/>
                </a:lnTo>
                <a:lnTo>
                  <a:pt x="498" y="1018"/>
                </a:lnTo>
                <a:lnTo>
                  <a:pt x="510" y="1030"/>
                </a:lnTo>
                <a:lnTo>
                  <a:pt x="510" y="1030"/>
                </a:lnTo>
                <a:lnTo>
                  <a:pt x="516" y="1036"/>
                </a:lnTo>
                <a:lnTo>
                  <a:pt x="516" y="1036"/>
                </a:lnTo>
                <a:lnTo>
                  <a:pt x="530" y="1052"/>
                </a:lnTo>
                <a:lnTo>
                  <a:pt x="546" y="1066"/>
                </a:lnTo>
                <a:lnTo>
                  <a:pt x="546" y="1066"/>
                </a:lnTo>
                <a:lnTo>
                  <a:pt x="546" y="1010"/>
                </a:lnTo>
                <a:lnTo>
                  <a:pt x="546" y="1010"/>
                </a:lnTo>
                <a:lnTo>
                  <a:pt x="548" y="1004"/>
                </a:lnTo>
                <a:lnTo>
                  <a:pt x="546" y="998"/>
                </a:lnTo>
                <a:lnTo>
                  <a:pt x="546" y="998"/>
                </a:lnTo>
                <a:lnTo>
                  <a:pt x="548" y="976"/>
                </a:lnTo>
                <a:lnTo>
                  <a:pt x="546" y="956"/>
                </a:lnTo>
                <a:lnTo>
                  <a:pt x="546" y="956"/>
                </a:lnTo>
                <a:lnTo>
                  <a:pt x="548" y="950"/>
                </a:lnTo>
                <a:lnTo>
                  <a:pt x="546" y="942"/>
                </a:lnTo>
                <a:lnTo>
                  <a:pt x="546" y="942"/>
                </a:lnTo>
                <a:lnTo>
                  <a:pt x="548" y="922"/>
                </a:lnTo>
                <a:lnTo>
                  <a:pt x="546" y="902"/>
                </a:lnTo>
                <a:lnTo>
                  <a:pt x="546" y="902"/>
                </a:lnTo>
                <a:lnTo>
                  <a:pt x="548" y="896"/>
                </a:lnTo>
                <a:lnTo>
                  <a:pt x="546" y="888"/>
                </a:lnTo>
                <a:lnTo>
                  <a:pt x="546" y="888"/>
                </a:lnTo>
                <a:lnTo>
                  <a:pt x="546" y="864"/>
                </a:lnTo>
                <a:lnTo>
                  <a:pt x="546" y="864"/>
                </a:lnTo>
                <a:lnTo>
                  <a:pt x="522" y="864"/>
                </a:lnTo>
                <a:lnTo>
                  <a:pt x="522" y="864"/>
                </a:lnTo>
                <a:lnTo>
                  <a:pt x="514" y="864"/>
                </a:lnTo>
                <a:lnTo>
                  <a:pt x="506" y="866"/>
                </a:lnTo>
                <a:lnTo>
                  <a:pt x="506" y="866"/>
                </a:lnTo>
                <a:lnTo>
                  <a:pt x="482" y="868"/>
                </a:lnTo>
                <a:lnTo>
                  <a:pt x="460" y="872"/>
                </a:lnTo>
                <a:lnTo>
                  <a:pt x="460" y="872"/>
                </a:lnTo>
                <a:lnTo>
                  <a:pt x="450" y="874"/>
                </a:lnTo>
                <a:lnTo>
                  <a:pt x="442" y="876"/>
                </a:lnTo>
                <a:lnTo>
                  <a:pt x="442" y="876"/>
                </a:lnTo>
                <a:close/>
                <a:moveTo>
                  <a:pt x="688" y="106"/>
                </a:moveTo>
                <a:lnTo>
                  <a:pt x="688" y="106"/>
                </a:lnTo>
                <a:lnTo>
                  <a:pt x="706" y="128"/>
                </a:lnTo>
                <a:lnTo>
                  <a:pt x="706" y="128"/>
                </a:lnTo>
                <a:lnTo>
                  <a:pt x="708" y="134"/>
                </a:lnTo>
                <a:lnTo>
                  <a:pt x="712" y="136"/>
                </a:lnTo>
                <a:lnTo>
                  <a:pt x="712" y="136"/>
                </a:lnTo>
                <a:lnTo>
                  <a:pt x="728" y="158"/>
                </a:lnTo>
                <a:lnTo>
                  <a:pt x="728" y="158"/>
                </a:lnTo>
                <a:lnTo>
                  <a:pt x="730" y="162"/>
                </a:lnTo>
                <a:lnTo>
                  <a:pt x="734" y="166"/>
                </a:lnTo>
                <a:lnTo>
                  <a:pt x="734" y="166"/>
                </a:lnTo>
                <a:lnTo>
                  <a:pt x="750" y="190"/>
                </a:lnTo>
                <a:lnTo>
                  <a:pt x="750" y="190"/>
                </a:lnTo>
                <a:lnTo>
                  <a:pt x="754" y="198"/>
                </a:lnTo>
                <a:lnTo>
                  <a:pt x="754" y="198"/>
                </a:lnTo>
                <a:lnTo>
                  <a:pt x="770" y="228"/>
                </a:lnTo>
                <a:lnTo>
                  <a:pt x="770" y="228"/>
                </a:lnTo>
                <a:lnTo>
                  <a:pt x="772" y="230"/>
                </a:lnTo>
                <a:lnTo>
                  <a:pt x="774" y="234"/>
                </a:lnTo>
                <a:lnTo>
                  <a:pt x="774" y="234"/>
                </a:lnTo>
                <a:lnTo>
                  <a:pt x="776" y="238"/>
                </a:lnTo>
                <a:lnTo>
                  <a:pt x="780" y="242"/>
                </a:lnTo>
                <a:lnTo>
                  <a:pt x="780" y="242"/>
                </a:lnTo>
                <a:lnTo>
                  <a:pt x="808" y="230"/>
                </a:lnTo>
                <a:lnTo>
                  <a:pt x="824" y="224"/>
                </a:lnTo>
                <a:lnTo>
                  <a:pt x="838" y="218"/>
                </a:lnTo>
                <a:lnTo>
                  <a:pt x="838" y="218"/>
                </a:lnTo>
                <a:lnTo>
                  <a:pt x="858" y="210"/>
                </a:lnTo>
                <a:lnTo>
                  <a:pt x="878" y="200"/>
                </a:lnTo>
                <a:lnTo>
                  <a:pt x="918" y="176"/>
                </a:lnTo>
                <a:lnTo>
                  <a:pt x="918" y="176"/>
                </a:lnTo>
                <a:lnTo>
                  <a:pt x="904" y="164"/>
                </a:lnTo>
                <a:lnTo>
                  <a:pt x="892" y="154"/>
                </a:lnTo>
                <a:lnTo>
                  <a:pt x="892" y="154"/>
                </a:lnTo>
                <a:lnTo>
                  <a:pt x="880" y="146"/>
                </a:lnTo>
                <a:lnTo>
                  <a:pt x="868" y="136"/>
                </a:lnTo>
                <a:lnTo>
                  <a:pt x="868" y="136"/>
                </a:lnTo>
                <a:lnTo>
                  <a:pt x="862" y="134"/>
                </a:lnTo>
                <a:lnTo>
                  <a:pt x="862" y="134"/>
                </a:lnTo>
                <a:lnTo>
                  <a:pt x="848" y="124"/>
                </a:lnTo>
                <a:lnTo>
                  <a:pt x="834" y="116"/>
                </a:lnTo>
                <a:lnTo>
                  <a:pt x="834" y="116"/>
                </a:lnTo>
                <a:lnTo>
                  <a:pt x="830" y="114"/>
                </a:lnTo>
                <a:lnTo>
                  <a:pt x="826" y="112"/>
                </a:lnTo>
                <a:lnTo>
                  <a:pt x="826" y="112"/>
                </a:lnTo>
                <a:lnTo>
                  <a:pt x="814" y="104"/>
                </a:lnTo>
                <a:lnTo>
                  <a:pt x="798" y="98"/>
                </a:lnTo>
                <a:lnTo>
                  <a:pt x="798" y="98"/>
                </a:lnTo>
                <a:lnTo>
                  <a:pt x="796" y="94"/>
                </a:lnTo>
                <a:lnTo>
                  <a:pt x="790" y="92"/>
                </a:lnTo>
                <a:lnTo>
                  <a:pt x="790" y="92"/>
                </a:lnTo>
                <a:lnTo>
                  <a:pt x="776" y="86"/>
                </a:lnTo>
                <a:lnTo>
                  <a:pt x="762" y="80"/>
                </a:lnTo>
                <a:lnTo>
                  <a:pt x="762" y="80"/>
                </a:lnTo>
                <a:lnTo>
                  <a:pt x="756" y="78"/>
                </a:lnTo>
                <a:lnTo>
                  <a:pt x="750" y="76"/>
                </a:lnTo>
                <a:lnTo>
                  <a:pt x="750" y="76"/>
                </a:lnTo>
                <a:lnTo>
                  <a:pt x="736" y="70"/>
                </a:lnTo>
                <a:lnTo>
                  <a:pt x="722" y="68"/>
                </a:lnTo>
                <a:lnTo>
                  <a:pt x="722" y="68"/>
                </a:lnTo>
                <a:lnTo>
                  <a:pt x="716" y="64"/>
                </a:lnTo>
                <a:lnTo>
                  <a:pt x="710" y="62"/>
                </a:lnTo>
                <a:lnTo>
                  <a:pt x="710" y="62"/>
                </a:lnTo>
                <a:lnTo>
                  <a:pt x="672" y="54"/>
                </a:lnTo>
                <a:lnTo>
                  <a:pt x="654" y="50"/>
                </a:lnTo>
                <a:lnTo>
                  <a:pt x="634" y="48"/>
                </a:lnTo>
                <a:lnTo>
                  <a:pt x="634" y="48"/>
                </a:lnTo>
                <a:lnTo>
                  <a:pt x="632" y="52"/>
                </a:lnTo>
                <a:lnTo>
                  <a:pt x="632" y="52"/>
                </a:lnTo>
                <a:lnTo>
                  <a:pt x="680" y="98"/>
                </a:lnTo>
                <a:lnTo>
                  <a:pt x="680" y="98"/>
                </a:lnTo>
                <a:lnTo>
                  <a:pt x="688" y="106"/>
                </a:lnTo>
                <a:lnTo>
                  <a:pt x="688" y="106"/>
                </a:lnTo>
                <a:close/>
                <a:moveTo>
                  <a:pt x="432" y="1010"/>
                </a:moveTo>
                <a:lnTo>
                  <a:pt x="432" y="1010"/>
                </a:lnTo>
                <a:lnTo>
                  <a:pt x="430" y="1006"/>
                </a:lnTo>
                <a:lnTo>
                  <a:pt x="426" y="1002"/>
                </a:lnTo>
                <a:lnTo>
                  <a:pt x="426" y="1002"/>
                </a:lnTo>
                <a:lnTo>
                  <a:pt x="412" y="980"/>
                </a:lnTo>
                <a:lnTo>
                  <a:pt x="412" y="980"/>
                </a:lnTo>
                <a:lnTo>
                  <a:pt x="408" y="976"/>
                </a:lnTo>
                <a:lnTo>
                  <a:pt x="406" y="972"/>
                </a:lnTo>
                <a:lnTo>
                  <a:pt x="406" y="972"/>
                </a:lnTo>
                <a:lnTo>
                  <a:pt x="390" y="948"/>
                </a:lnTo>
                <a:lnTo>
                  <a:pt x="390" y="948"/>
                </a:lnTo>
                <a:lnTo>
                  <a:pt x="384" y="940"/>
                </a:lnTo>
                <a:lnTo>
                  <a:pt x="384" y="940"/>
                </a:lnTo>
                <a:lnTo>
                  <a:pt x="368" y="910"/>
                </a:lnTo>
                <a:lnTo>
                  <a:pt x="368" y="910"/>
                </a:lnTo>
                <a:lnTo>
                  <a:pt x="366" y="908"/>
                </a:lnTo>
                <a:lnTo>
                  <a:pt x="364" y="904"/>
                </a:lnTo>
                <a:lnTo>
                  <a:pt x="364" y="904"/>
                </a:lnTo>
                <a:lnTo>
                  <a:pt x="362" y="900"/>
                </a:lnTo>
                <a:lnTo>
                  <a:pt x="360" y="898"/>
                </a:lnTo>
                <a:lnTo>
                  <a:pt x="358" y="896"/>
                </a:lnTo>
                <a:lnTo>
                  <a:pt x="358" y="896"/>
                </a:lnTo>
                <a:lnTo>
                  <a:pt x="330" y="906"/>
                </a:lnTo>
                <a:lnTo>
                  <a:pt x="318" y="912"/>
                </a:lnTo>
                <a:lnTo>
                  <a:pt x="304" y="918"/>
                </a:lnTo>
                <a:lnTo>
                  <a:pt x="304" y="918"/>
                </a:lnTo>
                <a:lnTo>
                  <a:pt x="282" y="926"/>
                </a:lnTo>
                <a:lnTo>
                  <a:pt x="262" y="938"/>
                </a:lnTo>
                <a:lnTo>
                  <a:pt x="220" y="960"/>
                </a:lnTo>
                <a:lnTo>
                  <a:pt x="220" y="960"/>
                </a:lnTo>
                <a:lnTo>
                  <a:pt x="234" y="974"/>
                </a:lnTo>
                <a:lnTo>
                  <a:pt x="248" y="984"/>
                </a:lnTo>
                <a:lnTo>
                  <a:pt x="248" y="984"/>
                </a:lnTo>
                <a:lnTo>
                  <a:pt x="258" y="994"/>
                </a:lnTo>
                <a:lnTo>
                  <a:pt x="272" y="1002"/>
                </a:lnTo>
                <a:lnTo>
                  <a:pt x="272" y="1002"/>
                </a:lnTo>
                <a:lnTo>
                  <a:pt x="274" y="1004"/>
                </a:lnTo>
                <a:lnTo>
                  <a:pt x="274" y="1004"/>
                </a:lnTo>
                <a:lnTo>
                  <a:pt x="288" y="1014"/>
                </a:lnTo>
                <a:lnTo>
                  <a:pt x="304" y="1022"/>
                </a:lnTo>
                <a:lnTo>
                  <a:pt x="304" y="1022"/>
                </a:lnTo>
                <a:lnTo>
                  <a:pt x="308" y="1026"/>
                </a:lnTo>
                <a:lnTo>
                  <a:pt x="312" y="1026"/>
                </a:lnTo>
                <a:lnTo>
                  <a:pt x="312" y="1026"/>
                </a:lnTo>
                <a:lnTo>
                  <a:pt x="326" y="1034"/>
                </a:lnTo>
                <a:lnTo>
                  <a:pt x="340" y="1040"/>
                </a:lnTo>
                <a:lnTo>
                  <a:pt x="340" y="1040"/>
                </a:lnTo>
                <a:lnTo>
                  <a:pt x="344" y="1044"/>
                </a:lnTo>
                <a:lnTo>
                  <a:pt x="348" y="1046"/>
                </a:lnTo>
                <a:lnTo>
                  <a:pt x="348" y="1046"/>
                </a:lnTo>
                <a:lnTo>
                  <a:pt x="362" y="1052"/>
                </a:lnTo>
                <a:lnTo>
                  <a:pt x="378" y="1058"/>
                </a:lnTo>
                <a:lnTo>
                  <a:pt x="378" y="1058"/>
                </a:lnTo>
                <a:lnTo>
                  <a:pt x="382" y="1060"/>
                </a:lnTo>
                <a:lnTo>
                  <a:pt x="388" y="1062"/>
                </a:lnTo>
                <a:lnTo>
                  <a:pt x="388" y="1062"/>
                </a:lnTo>
                <a:lnTo>
                  <a:pt x="402" y="1068"/>
                </a:lnTo>
                <a:lnTo>
                  <a:pt x="416" y="1070"/>
                </a:lnTo>
                <a:lnTo>
                  <a:pt x="416" y="1070"/>
                </a:lnTo>
                <a:lnTo>
                  <a:pt x="438" y="1078"/>
                </a:lnTo>
                <a:lnTo>
                  <a:pt x="460" y="1084"/>
                </a:lnTo>
                <a:lnTo>
                  <a:pt x="508" y="1090"/>
                </a:lnTo>
                <a:lnTo>
                  <a:pt x="508" y="1090"/>
                </a:lnTo>
                <a:lnTo>
                  <a:pt x="452" y="1032"/>
                </a:lnTo>
                <a:lnTo>
                  <a:pt x="452" y="1032"/>
                </a:lnTo>
                <a:lnTo>
                  <a:pt x="432" y="1010"/>
                </a:lnTo>
                <a:lnTo>
                  <a:pt x="432" y="1010"/>
                </a:lnTo>
                <a:close/>
                <a:moveTo>
                  <a:pt x="680" y="266"/>
                </a:moveTo>
                <a:lnTo>
                  <a:pt x="680" y="266"/>
                </a:lnTo>
                <a:lnTo>
                  <a:pt x="706" y="260"/>
                </a:lnTo>
                <a:lnTo>
                  <a:pt x="734" y="254"/>
                </a:lnTo>
                <a:lnTo>
                  <a:pt x="734" y="254"/>
                </a:lnTo>
                <a:lnTo>
                  <a:pt x="726" y="238"/>
                </a:lnTo>
                <a:lnTo>
                  <a:pt x="718" y="226"/>
                </a:lnTo>
                <a:lnTo>
                  <a:pt x="718" y="226"/>
                </a:lnTo>
                <a:lnTo>
                  <a:pt x="712" y="212"/>
                </a:lnTo>
                <a:lnTo>
                  <a:pt x="702" y="202"/>
                </a:lnTo>
                <a:lnTo>
                  <a:pt x="702" y="202"/>
                </a:lnTo>
                <a:lnTo>
                  <a:pt x="696" y="190"/>
                </a:lnTo>
                <a:lnTo>
                  <a:pt x="696" y="190"/>
                </a:lnTo>
                <a:lnTo>
                  <a:pt x="688" y="178"/>
                </a:lnTo>
                <a:lnTo>
                  <a:pt x="680" y="168"/>
                </a:lnTo>
                <a:lnTo>
                  <a:pt x="680" y="168"/>
                </a:lnTo>
                <a:lnTo>
                  <a:pt x="676" y="162"/>
                </a:lnTo>
                <a:lnTo>
                  <a:pt x="676" y="162"/>
                </a:lnTo>
                <a:lnTo>
                  <a:pt x="666" y="150"/>
                </a:lnTo>
                <a:lnTo>
                  <a:pt x="656" y="138"/>
                </a:lnTo>
                <a:lnTo>
                  <a:pt x="656" y="138"/>
                </a:lnTo>
                <a:lnTo>
                  <a:pt x="652" y="132"/>
                </a:lnTo>
                <a:lnTo>
                  <a:pt x="652" y="132"/>
                </a:lnTo>
                <a:lnTo>
                  <a:pt x="624" y="102"/>
                </a:lnTo>
                <a:lnTo>
                  <a:pt x="592" y="72"/>
                </a:lnTo>
                <a:lnTo>
                  <a:pt x="592" y="72"/>
                </a:lnTo>
                <a:lnTo>
                  <a:pt x="590" y="128"/>
                </a:lnTo>
                <a:lnTo>
                  <a:pt x="592" y="182"/>
                </a:lnTo>
                <a:lnTo>
                  <a:pt x="592" y="182"/>
                </a:lnTo>
                <a:lnTo>
                  <a:pt x="590" y="190"/>
                </a:lnTo>
                <a:lnTo>
                  <a:pt x="592" y="198"/>
                </a:lnTo>
                <a:lnTo>
                  <a:pt x="592" y="198"/>
                </a:lnTo>
                <a:lnTo>
                  <a:pt x="590" y="218"/>
                </a:lnTo>
                <a:lnTo>
                  <a:pt x="592" y="236"/>
                </a:lnTo>
                <a:lnTo>
                  <a:pt x="592" y="236"/>
                </a:lnTo>
                <a:lnTo>
                  <a:pt x="590" y="244"/>
                </a:lnTo>
                <a:lnTo>
                  <a:pt x="592" y="252"/>
                </a:lnTo>
                <a:lnTo>
                  <a:pt x="592" y="252"/>
                </a:lnTo>
                <a:lnTo>
                  <a:pt x="590" y="264"/>
                </a:lnTo>
                <a:lnTo>
                  <a:pt x="592" y="274"/>
                </a:lnTo>
                <a:lnTo>
                  <a:pt x="592" y="274"/>
                </a:lnTo>
                <a:lnTo>
                  <a:pt x="604" y="274"/>
                </a:lnTo>
                <a:lnTo>
                  <a:pt x="616" y="272"/>
                </a:lnTo>
                <a:lnTo>
                  <a:pt x="616" y="272"/>
                </a:lnTo>
                <a:lnTo>
                  <a:pt x="634" y="272"/>
                </a:lnTo>
                <a:lnTo>
                  <a:pt x="634" y="272"/>
                </a:lnTo>
                <a:lnTo>
                  <a:pt x="656" y="270"/>
                </a:lnTo>
                <a:lnTo>
                  <a:pt x="680" y="266"/>
                </a:lnTo>
                <a:lnTo>
                  <a:pt x="680" y="26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Montserrat" panose="00000500000000000000"/>
              <a:cs typeface="Arial" panose="020B0604020202020204" pitchFamily="34" charset="0"/>
            </a:endParaRPr>
          </a:p>
        </p:txBody>
      </p:sp>
      <p:sp>
        <p:nvSpPr>
          <p:cNvPr id="50" name="Freeform 17"/>
          <p:cNvSpPr>
            <a:spLocks noEditPoints="1"/>
          </p:cNvSpPr>
          <p:nvPr/>
        </p:nvSpPr>
        <p:spPr bwMode="auto">
          <a:xfrm>
            <a:off x="6169683" y="4001920"/>
            <a:ext cx="159434" cy="160055"/>
          </a:xfrm>
          <a:custGeom>
            <a:avLst/>
            <a:gdLst>
              <a:gd name="T0" fmla="*/ 488 w 514"/>
              <a:gd name="T1" fmla="*/ 372 h 516"/>
              <a:gd name="T2" fmla="*/ 422 w 514"/>
              <a:gd name="T3" fmla="*/ 456 h 516"/>
              <a:gd name="T4" fmla="*/ 342 w 514"/>
              <a:gd name="T5" fmla="*/ 500 h 516"/>
              <a:gd name="T6" fmla="*/ 252 w 514"/>
              <a:gd name="T7" fmla="*/ 516 h 516"/>
              <a:gd name="T8" fmla="*/ 204 w 514"/>
              <a:gd name="T9" fmla="*/ 510 h 516"/>
              <a:gd name="T10" fmla="*/ 160 w 514"/>
              <a:gd name="T11" fmla="*/ 498 h 516"/>
              <a:gd name="T12" fmla="*/ 126 w 514"/>
              <a:gd name="T13" fmla="*/ 480 h 516"/>
              <a:gd name="T14" fmla="*/ 96 w 514"/>
              <a:gd name="T15" fmla="*/ 460 h 516"/>
              <a:gd name="T16" fmla="*/ 60 w 514"/>
              <a:gd name="T17" fmla="*/ 424 h 516"/>
              <a:gd name="T18" fmla="*/ 36 w 514"/>
              <a:gd name="T19" fmla="*/ 392 h 516"/>
              <a:gd name="T20" fmla="*/ 20 w 514"/>
              <a:gd name="T21" fmla="*/ 360 h 516"/>
              <a:gd name="T22" fmla="*/ 6 w 514"/>
              <a:gd name="T23" fmla="*/ 320 h 516"/>
              <a:gd name="T24" fmla="*/ 0 w 514"/>
              <a:gd name="T25" fmla="*/ 228 h 516"/>
              <a:gd name="T26" fmla="*/ 18 w 514"/>
              <a:gd name="T27" fmla="*/ 160 h 516"/>
              <a:gd name="T28" fmla="*/ 76 w 514"/>
              <a:gd name="T29" fmla="*/ 76 h 516"/>
              <a:gd name="T30" fmla="*/ 134 w 514"/>
              <a:gd name="T31" fmla="*/ 32 h 516"/>
              <a:gd name="T32" fmla="*/ 222 w 514"/>
              <a:gd name="T33" fmla="*/ 4 h 516"/>
              <a:gd name="T34" fmla="*/ 282 w 514"/>
              <a:gd name="T35" fmla="*/ 2 h 516"/>
              <a:gd name="T36" fmla="*/ 328 w 514"/>
              <a:gd name="T37" fmla="*/ 10 h 516"/>
              <a:gd name="T38" fmla="*/ 394 w 514"/>
              <a:gd name="T39" fmla="*/ 40 h 516"/>
              <a:gd name="T40" fmla="*/ 424 w 514"/>
              <a:gd name="T41" fmla="*/ 60 h 516"/>
              <a:gd name="T42" fmla="*/ 450 w 514"/>
              <a:gd name="T43" fmla="*/ 88 h 516"/>
              <a:gd name="T44" fmla="*/ 480 w 514"/>
              <a:gd name="T45" fmla="*/ 130 h 516"/>
              <a:gd name="T46" fmla="*/ 496 w 514"/>
              <a:gd name="T47" fmla="*/ 164 h 516"/>
              <a:gd name="T48" fmla="*/ 514 w 514"/>
              <a:gd name="T49" fmla="*/ 240 h 516"/>
              <a:gd name="T50" fmla="*/ 512 w 514"/>
              <a:gd name="T51" fmla="*/ 294 h 516"/>
              <a:gd name="T52" fmla="*/ 164 w 514"/>
              <a:gd name="T53" fmla="*/ 90 h 516"/>
              <a:gd name="T54" fmla="*/ 98 w 514"/>
              <a:gd name="T55" fmla="*/ 150 h 516"/>
              <a:gd name="T56" fmla="*/ 74 w 514"/>
              <a:gd name="T57" fmla="*/ 204 h 516"/>
              <a:gd name="T58" fmla="*/ 66 w 514"/>
              <a:gd name="T59" fmla="*/ 256 h 516"/>
              <a:gd name="T60" fmla="*/ 70 w 514"/>
              <a:gd name="T61" fmla="*/ 302 h 516"/>
              <a:gd name="T62" fmla="*/ 78 w 514"/>
              <a:gd name="T63" fmla="*/ 328 h 516"/>
              <a:gd name="T64" fmla="*/ 90 w 514"/>
              <a:gd name="T65" fmla="*/ 352 h 516"/>
              <a:gd name="T66" fmla="*/ 114 w 514"/>
              <a:gd name="T67" fmla="*/ 386 h 516"/>
              <a:gd name="T68" fmla="*/ 144 w 514"/>
              <a:gd name="T69" fmla="*/ 414 h 516"/>
              <a:gd name="T70" fmla="*/ 174 w 514"/>
              <a:gd name="T71" fmla="*/ 430 h 516"/>
              <a:gd name="T72" fmla="*/ 214 w 514"/>
              <a:gd name="T73" fmla="*/ 446 h 516"/>
              <a:gd name="T74" fmla="*/ 258 w 514"/>
              <a:gd name="T75" fmla="*/ 450 h 516"/>
              <a:gd name="T76" fmla="*/ 310 w 514"/>
              <a:gd name="T77" fmla="*/ 442 h 516"/>
              <a:gd name="T78" fmla="*/ 378 w 514"/>
              <a:gd name="T79" fmla="*/ 408 h 516"/>
              <a:gd name="T80" fmla="*/ 434 w 514"/>
              <a:gd name="T81" fmla="*/ 326 h 516"/>
              <a:gd name="T82" fmla="*/ 448 w 514"/>
              <a:gd name="T83" fmla="*/ 274 h 516"/>
              <a:gd name="T84" fmla="*/ 446 w 514"/>
              <a:gd name="T85" fmla="*/ 224 h 516"/>
              <a:gd name="T86" fmla="*/ 432 w 514"/>
              <a:gd name="T87" fmla="*/ 180 h 516"/>
              <a:gd name="T88" fmla="*/ 410 w 514"/>
              <a:gd name="T89" fmla="*/ 144 h 516"/>
              <a:gd name="T90" fmla="*/ 386 w 514"/>
              <a:gd name="T91" fmla="*/ 118 h 516"/>
              <a:gd name="T92" fmla="*/ 354 w 514"/>
              <a:gd name="T93" fmla="*/ 92 h 516"/>
              <a:gd name="T94" fmla="*/ 328 w 514"/>
              <a:gd name="T95" fmla="*/ 80 h 516"/>
              <a:gd name="T96" fmla="*/ 284 w 514"/>
              <a:gd name="T97" fmla="*/ 68 h 516"/>
              <a:gd name="T98" fmla="*/ 228 w 514"/>
              <a:gd name="T99" fmla="*/ 68 h 516"/>
              <a:gd name="T100" fmla="*/ 182 w 514"/>
              <a:gd name="T101" fmla="*/ 82 h 5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14" h="516">
                <a:moveTo>
                  <a:pt x="508" y="312"/>
                </a:moveTo>
                <a:lnTo>
                  <a:pt x="508" y="312"/>
                </a:lnTo>
                <a:lnTo>
                  <a:pt x="500" y="344"/>
                </a:lnTo>
                <a:lnTo>
                  <a:pt x="488" y="372"/>
                </a:lnTo>
                <a:lnTo>
                  <a:pt x="488" y="372"/>
                </a:lnTo>
                <a:lnTo>
                  <a:pt x="466" y="408"/>
                </a:lnTo>
                <a:lnTo>
                  <a:pt x="466" y="408"/>
                </a:lnTo>
                <a:lnTo>
                  <a:pt x="452" y="424"/>
                </a:lnTo>
                <a:lnTo>
                  <a:pt x="438" y="440"/>
                </a:lnTo>
                <a:lnTo>
                  <a:pt x="422" y="456"/>
                </a:lnTo>
                <a:lnTo>
                  <a:pt x="404" y="470"/>
                </a:lnTo>
                <a:lnTo>
                  <a:pt x="404" y="470"/>
                </a:lnTo>
                <a:lnTo>
                  <a:pt x="372" y="488"/>
                </a:lnTo>
                <a:lnTo>
                  <a:pt x="372" y="488"/>
                </a:lnTo>
                <a:lnTo>
                  <a:pt x="342" y="500"/>
                </a:lnTo>
                <a:lnTo>
                  <a:pt x="310" y="510"/>
                </a:lnTo>
                <a:lnTo>
                  <a:pt x="310" y="510"/>
                </a:lnTo>
                <a:lnTo>
                  <a:pt x="296" y="512"/>
                </a:lnTo>
                <a:lnTo>
                  <a:pt x="296" y="512"/>
                </a:lnTo>
                <a:lnTo>
                  <a:pt x="252" y="516"/>
                </a:lnTo>
                <a:lnTo>
                  <a:pt x="252" y="516"/>
                </a:lnTo>
                <a:lnTo>
                  <a:pt x="246" y="514"/>
                </a:lnTo>
                <a:lnTo>
                  <a:pt x="240" y="516"/>
                </a:lnTo>
                <a:lnTo>
                  <a:pt x="240" y="516"/>
                </a:lnTo>
                <a:lnTo>
                  <a:pt x="204" y="510"/>
                </a:lnTo>
                <a:lnTo>
                  <a:pt x="204" y="510"/>
                </a:lnTo>
                <a:lnTo>
                  <a:pt x="198" y="508"/>
                </a:lnTo>
                <a:lnTo>
                  <a:pt x="194" y="508"/>
                </a:lnTo>
                <a:lnTo>
                  <a:pt x="194" y="508"/>
                </a:lnTo>
                <a:lnTo>
                  <a:pt x="160" y="498"/>
                </a:lnTo>
                <a:lnTo>
                  <a:pt x="160" y="498"/>
                </a:lnTo>
                <a:lnTo>
                  <a:pt x="156" y="496"/>
                </a:lnTo>
                <a:lnTo>
                  <a:pt x="152" y="494"/>
                </a:lnTo>
                <a:lnTo>
                  <a:pt x="152" y="494"/>
                </a:lnTo>
                <a:lnTo>
                  <a:pt x="126" y="480"/>
                </a:lnTo>
                <a:lnTo>
                  <a:pt x="126" y="480"/>
                </a:lnTo>
                <a:lnTo>
                  <a:pt x="118" y="476"/>
                </a:lnTo>
                <a:lnTo>
                  <a:pt x="118" y="476"/>
                </a:lnTo>
                <a:lnTo>
                  <a:pt x="96" y="460"/>
                </a:lnTo>
                <a:lnTo>
                  <a:pt x="96" y="460"/>
                </a:lnTo>
                <a:lnTo>
                  <a:pt x="88" y="454"/>
                </a:lnTo>
                <a:lnTo>
                  <a:pt x="88" y="454"/>
                </a:lnTo>
                <a:lnTo>
                  <a:pt x="66" y="432"/>
                </a:lnTo>
                <a:lnTo>
                  <a:pt x="66" y="432"/>
                </a:lnTo>
                <a:lnTo>
                  <a:pt x="60" y="424"/>
                </a:lnTo>
                <a:lnTo>
                  <a:pt x="60" y="424"/>
                </a:lnTo>
                <a:lnTo>
                  <a:pt x="42" y="400"/>
                </a:lnTo>
                <a:lnTo>
                  <a:pt x="42" y="400"/>
                </a:lnTo>
                <a:lnTo>
                  <a:pt x="40" y="396"/>
                </a:lnTo>
                <a:lnTo>
                  <a:pt x="36" y="392"/>
                </a:lnTo>
                <a:lnTo>
                  <a:pt x="36" y="392"/>
                </a:lnTo>
                <a:lnTo>
                  <a:pt x="24" y="370"/>
                </a:lnTo>
                <a:lnTo>
                  <a:pt x="24" y="370"/>
                </a:lnTo>
                <a:lnTo>
                  <a:pt x="20" y="360"/>
                </a:lnTo>
                <a:lnTo>
                  <a:pt x="20" y="360"/>
                </a:lnTo>
                <a:lnTo>
                  <a:pt x="8" y="330"/>
                </a:lnTo>
                <a:lnTo>
                  <a:pt x="8" y="330"/>
                </a:lnTo>
                <a:lnTo>
                  <a:pt x="8" y="324"/>
                </a:lnTo>
                <a:lnTo>
                  <a:pt x="6" y="320"/>
                </a:lnTo>
                <a:lnTo>
                  <a:pt x="6" y="320"/>
                </a:lnTo>
                <a:lnTo>
                  <a:pt x="0" y="286"/>
                </a:lnTo>
                <a:lnTo>
                  <a:pt x="0" y="286"/>
                </a:lnTo>
                <a:lnTo>
                  <a:pt x="0" y="272"/>
                </a:lnTo>
                <a:lnTo>
                  <a:pt x="0" y="272"/>
                </a:lnTo>
                <a:lnTo>
                  <a:pt x="0" y="228"/>
                </a:lnTo>
                <a:lnTo>
                  <a:pt x="0" y="228"/>
                </a:lnTo>
                <a:lnTo>
                  <a:pt x="2" y="216"/>
                </a:lnTo>
                <a:lnTo>
                  <a:pt x="2" y="216"/>
                </a:lnTo>
                <a:lnTo>
                  <a:pt x="10" y="188"/>
                </a:lnTo>
                <a:lnTo>
                  <a:pt x="18" y="160"/>
                </a:lnTo>
                <a:lnTo>
                  <a:pt x="18" y="160"/>
                </a:lnTo>
                <a:lnTo>
                  <a:pt x="30" y="134"/>
                </a:lnTo>
                <a:lnTo>
                  <a:pt x="30" y="134"/>
                </a:lnTo>
                <a:lnTo>
                  <a:pt x="50" y="104"/>
                </a:lnTo>
                <a:lnTo>
                  <a:pt x="76" y="76"/>
                </a:lnTo>
                <a:lnTo>
                  <a:pt x="88" y="64"/>
                </a:lnTo>
                <a:lnTo>
                  <a:pt x="102" y="52"/>
                </a:lnTo>
                <a:lnTo>
                  <a:pt x="118" y="40"/>
                </a:lnTo>
                <a:lnTo>
                  <a:pt x="134" y="32"/>
                </a:lnTo>
                <a:lnTo>
                  <a:pt x="134" y="32"/>
                </a:lnTo>
                <a:lnTo>
                  <a:pt x="158" y="20"/>
                </a:lnTo>
                <a:lnTo>
                  <a:pt x="158" y="20"/>
                </a:lnTo>
                <a:lnTo>
                  <a:pt x="214" y="4"/>
                </a:lnTo>
                <a:lnTo>
                  <a:pt x="214" y="4"/>
                </a:lnTo>
                <a:lnTo>
                  <a:pt x="222" y="4"/>
                </a:lnTo>
                <a:lnTo>
                  <a:pt x="228" y="2"/>
                </a:lnTo>
                <a:lnTo>
                  <a:pt x="228" y="2"/>
                </a:lnTo>
                <a:lnTo>
                  <a:pt x="272" y="0"/>
                </a:lnTo>
                <a:lnTo>
                  <a:pt x="272" y="0"/>
                </a:lnTo>
                <a:lnTo>
                  <a:pt x="282" y="2"/>
                </a:lnTo>
                <a:lnTo>
                  <a:pt x="282" y="2"/>
                </a:lnTo>
                <a:lnTo>
                  <a:pt x="318" y="8"/>
                </a:lnTo>
                <a:lnTo>
                  <a:pt x="318" y="8"/>
                </a:lnTo>
                <a:lnTo>
                  <a:pt x="328" y="10"/>
                </a:lnTo>
                <a:lnTo>
                  <a:pt x="328" y="10"/>
                </a:lnTo>
                <a:lnTo>
                  <a:pt x="358" y="22"/>
                </a:lnTo>
                <a:lnTo>
                  <a:pt x="358" y="22"/>
                </a:lnTo>
                <a:lnTo>
                  <a:pt x="364" y="24"/>
                </a:lnTo>
                <a:lnTo>
                  <a:pt x="364" y="24"/>
                </a:lnTo>
                <a:lnTo>
                  <a:pt x="394" y="40"/>
                </a:lnTo>
                <a:lnTo>
                  <a:pt x="394" y="40"/>
                </a:lnTo>
                <a:lnTo>
                  <a:pt x="398" y="42"/>
                </a:lnTo>
                <a:lnTo>
                  <a:pt x="402" y="44"/>
                </a:lnTo>
                <a:lnTo>
                  <a:pt x="402" y="44"/>
                </a:lnTo>
                <a:lnTo>
                  <a:pt x="424" y="60"/>
                </a:lnTo>
                <a:lnTo>
                  <a:pt x="424" y="60"/>
                </a:lnTo>
                <a:lnTo>
                  <a:pt x="432" y="68"/>
                </a:lnTo>
                <a:lnTo>
                  <a:pt x="432" y="68"/>
                </a:lnTo>
                <a:lnTo>
                  <a:pt x="450" y="88"/>
                </a:lnTo>
                <a:lnTo>
                  <a:pt x="450" y="88"/>
                </a:lnTo>
                <a:lnTo>
                  <a:pt x="456" y="94"/>
                </a:lnTo>
                <a:lnTo>
                  <a:pt x="456" y="94"/>
                </a:lnTo>
                <a:lnTo>
                  <a:pt x="472" y="118"/>
                </a:lnTo>
                <a:lnTo>
                  <a:pt x="472" y="118"/>
                </a:lnTo>
                <a:lnTo>
                  <a:pt x="480" y="130"/>
                </a:lnTo>
                <a:lnTo>
                  <a:pt x="480" y="130"/>
                </a:lnTo>
                <a:lnTo>
                  <a:pt x="492" y="152"/>
                </a:lnTo>
                <a:lnTo>
                  <a:pt x="492" y="152"/>
                </a:lnTo>
                <a:lnTo>
                  <a:pt x="496" y="164"/>
                </a:lnTo>
                <a:lnTo>
                  <a:pt x="496" y="164"/>
                </a:lnTo>
                <a:lnTo>
                  <a:pt x="506" y="194"/>
                </a:lnTo>
                <a:lnTo>
                  <a:pt x="506" y="194"/>
                </a:lnTo>
                <a:lnTo>
                  <a:pt x="508" y="204"/>
                </a:lnTo>
                <a:lnTo>
                  <a:pt x="508" y="204"/>
                </a:lnTo>
                <a:lnTo>
                  <a:pt x="514" y="240"/>
                </a:lnTo>
                <a:lnTo>
                  <a:pt x="514" y="240"/>
                </a:lnTo>
                <a:lnTo>
                  <a:pt x="514" y="254"/>
                </a:lnTo>
                <a:lnTo>
                  <a:pt x="514" y="254"/>
                </a:lnTo>
                <a:lnTo>
                  <a:pt x="512" y="294"/>
                </a:lnTo>
                <a:lnTo>
                  <a:pt x="512" y="294"/>
                </a:lnTo>
                <a:lnTo>
                  <a:pt x="508" y="312"/>
                </a:lnTo>
                <a:lnTo>
                  <a:pt x="508" y="312"/>
                </a:lnTo>
                <a:close/>
                <a:moveTo>
                  <a:pt x="182" y="82"/>
                </a:moveTo>
                <a:lnTo>
                  <a:pt x="182" y="82"/>
                </a:lnTo>
                <a:lnTo>
                  <a:pt x="164" y="90"/>
                </a:lnTo>
                <a:lnTo>
                  <a:pt x="148" y="98"/>
                </a:lnTo>
                <a:lnTo>
                  <a:pt x="134" y="110"/>
                </a:lnTo>
                <a:lnTo>
                  <a:pt x="120" y="122"/>
                </a:lnTo>
                <a:lnTo>
                  <a:pt x="108" y="134"/>
                </a:lnTo>
                <a:lnTo>
                  <a:pt x="98" y="150"/>
                </a:lnTo>
                <a:lnTo>
                  <a:pt x="88" y="166"/>
                </a:lnTo>
                <a:lnTo>
                  <a:pt x="80" y="182"/>
                </a:lnTo>
                <a:lnTo>
                  <a:pt x="80" y="182"/>
                </a:lnTo>
                <a:lnTo>
                  <a:pt x="76" y="192"/>
                </a:lnTo>
                <a:lnTo>
                  <a:pt x="74" y="204"/>
                </a:lnTo>
                <a:lnTo>
                  <a:pt x="74" y="204"/>
                </a:lnTo>
                <a:lnTo>
                  <a:pt x="68" y="216"/>
                </a:lnTo>
                <a:lnTo>
                  <a:pt x="66" y="230"/>
                </a:lnTo>
                <a:lnTo>
                  <a:pt x="66" y="242"/>
                </a:lnTo>
                <a:lnTo>
                  <a:pt x="66" y="256"/>
                </a:lnTo>
                <a:lnTo>
                  <a:pt x="66" y="256"/>
                </a:lnTo>
                <a:lnTo>
                  <a:pt x="66" y="266"/>
                </a:lnTo>
                <a:lnTo>
                  <a:pt x="66" y="266"/>
                </a:lnTo>
                <a:lnTo>
                  <a:pt x="66" y="284"/>
                </a:lnTo>
                <a:lnTo>
                  <a:pt x="70" y="302"/>
                </a:lnTo>
                <a:lnTo>
                  <a:pt x="70" y="302"/>
                </a:lnTo>
                <a:lnTo>
                  <a:pt x="70" y="308"/>
                </a:lnTo>
                <a:lnTo>
                  <a:pt x="74" y="312"/>
                </a:lnTo>
                <a:lnTo>
                  <a:pt x="74" y="312"/>
                </a:lnTo>
                <a:lnTo>
                  <a:pt x="78" y="328"/>
                </a:lnTo>
                <a:lnTo>
                  <a:pt x="84" y="342"/>
                </a:lnTo>
                <a:lnTo>
                  <a:pt x="84" y="342"/>
                </a:lnTo>
                <a:lnTo>
                  <a:pt x="86" y="348"/>
                </a:lnTo>
                <a:lnTo>
                  <a:pt x="90" y="352"/>
                </a:lnTo>
                <a:lnTo>
                  <a:pt x="90" y="352"/>
                </a:lnTo>
                <a:lnTo>
                  <a:pt x="98" y="366"/>
                </a:lnTo>
                <a:lnTo>
                  <a:pt x="108" y="380"/>
                </a:lnTo>
                <a:lnTo>
                  <a:pt x="108" y="380"/>
                </a:lnTo>
                <a:lnTo>
                  <a:pt x="110" y="384"/>
                </a:lnTo>
                <a:lnTo>
                  <a:pt x="114" y="386"/>
                </a:lnTo>
                <a:lnTo>
                  <a:pt x="114" y="386"/>
                </a:lnTo>
                <a:lnTo>
                  <a:pt x="124" y="398"/>
                </a:lnTo>
                <a:lnTo>
                  <a:pt x="136" y="406"/>
                </a:lnTo>
                <a:lnTo>
                  <a:pt x="136" y="406"/>
                </a:lnTo>
                <a:lnTo>
                  <a:pt x="144" y="414"/>
                </a:lnTo>
                <a:lnTo>
                  <a:pt x="144" y="414"/>
                </a:lnTo>
                <a:lnTo>
                  <a:pt x="156" y="422"/>
                </a:lnTo>
                <a:lnTo>
                  <a:pt x="168" y="428"/>
                </a:lnTo>
                <a:lnTo>
                  <a:pt x="168" y="428"/>
                </a:lnTo>
                <a:lnTo>
                  <a:pt x="174" y="430"/>
                </a:lnTo>
                <a:lnTo>
                  <a:pt x="174" y="430"/>
                </a:lnTo>
                <a:lnTo>
                  <a:pt x="192" y="438"/>
                </a:lnTo>
                <a:lnTo>
                  <a:pt x="210" y="444"/>
                </a:lnTo>
                <a:lnTo>
                  <a:pt x="210" y="444"/>
                </a:lnTo>
                <a:lnTo>
                  <a:pt x="214" y="446"/>
                </a:lnTo>
                <a:lnTo>
                  <a:pt x="218" y="446"/>
                </a:lnTo>
                <a:lnTo>
                  <a:pt x="218" y="446"/>
                </a:lnTo>
                <a:lnTo>
                  <a:pt x="238" y="450"/>
                </a:lnTo>
                <a:lnTo>
                  <a:pt x="258" y="450"/>
                </a:lnTo>
                <a:lnTo>
                  <a:pt x="258" y="450"/>
                </a:lnTo>
                <a:lnTo>
                  <a:pt x="268" y="448"/>
                </a:lnTo>
                <a:lnTo>
                  <a:pt x="268" y="448"/>
                </a:lnTo>
                <a:lnTo>
                  <a:pt x="284" y="448"/>
                </a:lnTo>
                <a:lnTo>
                  <a:pt x="296" y="446"/>
                </a:lnTo>
                <a:lnTo>
                  <a:pt x="310" y="442"/>
                </a:lnTo>
                <a:lnTo>
                  <a:pt x="324" y="438"/>
                </a:lnTo>
                <a:lnTo>
                  <a:pt x="324" y="438"/>
                </a:lnTo>
                <a:lnTo>
                  <a:pt x="342" y="430"/>
                </a:lnTo>
                <a:lnTo>
                  <a:pt x="360" y="420"/>
                </a:lnTo>
                <a:lnTo>
                  <a:pt x="378" y="408"/>
                </a:lnTo>
                <a:lnTo>
                  <a:pt x="392" y="396"/>
                </a:lnTo>
                <a:lnTo>
                  <a:pt x="406" y="380"/>
                </a:lnTo>
                <a:lnTo>
                  <a:pt x="416" y="364"/>
                </a:lnTo>
                <a:lnTo>
                  <a:pt x="426" y="346"/>
                </a:lnTo>
                <a:lnTo>
                  <a:pt x="434" y="326"/>
                </a:lnTo>
                <a:lnTo>
                  <a:pt x="434" y="326"/>
                </a:lnTo>
                <a:lnTo>
                  <a:pt x="440" y="314"/>
                </a:lnTo>
                <a:lnTo>
                  <a:pt x="444" y="302"/>
                </a:lnTo>
                <a:lnTo>
                  <a:pt x="448" y="274"/>
                </a:lnTo>
                <a:lnTo>
                  <a:pt x="448" y="274"/>
                </a:lnTo>
                <a:lnTo>
                  <a:pt x="448" y="258"/>
                </a:lnTo>
                <a:lnTo>
                  <a:pt x="448" y="258"/>
                </a:lnTo>
                <a:lnTo>
                  <a:pt x="448" y="240"/>
                </a:lnTo>
                <a:lnTo>
                  <a:pt x="446" y="224"/>
                </a:lnTo>
                <a:lnTo>
                  <a:pt x="446" y="224"/>
                </a:lnTo>
                <a:lnTo>
                  <a:pt x="442" y="210"/>
                </a:lnTo>
                <a:lnTo>
                  <a:pt x="442" y="210"/>
                </a:lnTo>
                <a:lnTo>
                  <a:pt x="438" y="194"/>
                </a:lnTo>
                <a:lnTo>
                  <a:pt x="432" y="180"/>
                </a:lnTo>
                <a:lnTo>
                  <a:pt x="432" y="180"/>
                </a:lnTo>
                <a:lnTo>
                  <a:pt x="428" y="172"/>
                </a:lnTo>
                <a:lnTo>
                  <a:pt x="428" y="172"/>
                </a:lnTo>
                <a:lnTo>
                  <a:pt x="420" y="158"/>
                </a:lnTo>
                <a:lnTo>
                  <a:pt x="410" y="144"/>
                </a:lnTo>
                <a:lnTo>
                  <a:pt x="410" y="144"/>
                </a:lnTo>
                <a:lnTo>
                  <a:pt x="406" y="138"/>
                </a:lnTo>
                <a:lnTo>
                  <a:pt x="406" y="138"/>
                </a:lnTo>
                <a:lnTo>
                  <a:pt x="398" y="126"/>
                </a:lnTo>
                <a:lnTo>
                  <a:pt x="386" y="118"/>
                </a:lnTo>
                <a:lnTo>
                  <a:pt x="386" y="118"/>
                </a:lnTo>
                <a:lnTo>
                  <a:pt x="382" y="112"/>
                </a:lnTo>
                <a:lnTo>
                  <a:pt x="374" y="108"/>
                </a:lnTo>
                <a:lnTo>
                  <a:pt x="374" y="108"/>
                </a:lnTo>
                <a:lnTo>
                  <a:pt x="364" y="100"/>
                </a:lnTo>
                <a:lnTo>
                  <a:pt x="354" y="92"/>
                </a:lnTo>
                <a:lnTo>
                  <a:pt x="354" y="92"/>
                </a:lnTo>
                <a:lnTo>
                  <a:pt x="348" y="90"/>
                </a:lnTo>
                <a:lnTo>
                  <a:pt x="342" y="88"/>
                </a:lnTo>
                <a:lnTo>
                  <a:pt x="342" y="88"/>
                </a:lnTo>
                <a:lnTo>
                  <a:pt x="328" y="80"/>
                </a:lnTo>
                <a:lnTo>
                  <a:pt x="312" y="74"/>
                </a:lnTo>
                <a:lnTo>
                  <a:pt x="312" y="74"/>
                </a:lnTo>
                <a:lnTo>
                  <a:pt x="302" y="72"/>
                </a:lnTo>
                <a:lnTo>
                  <a:pt x="302" y="72"/>
                </a:lnTo>
                <a:lnTo>
                  <a:pt x="284" y="68"/>
                </a:lnTo>
                <a:lnTo>
                  <a:pt x="266" y="66"/>
                </a:lnTo>
                <a:lnTo>
                  <a:pt x="266" y="66"/>
                </a:lnTo>
                <a:lnTo>
                  <a:pt x="252" y="66"/>
                </a:lnTo>
                <a:lnTo>
                  <a:pt x="252" y="66"/>
                </a:lnTo>
                <a:lnTo>
                  <a:pt x="228" y="68"/>
                </a:lnTo>
                <a:lnTo>
                  <a:pt x="216" y="70"/>
                </a:lnTo>
                <a:lnTo>
                  <a:pt x="204" y="74"/>
                </a:lnTo>
                <a:lnTo>
                  <a:pt x="204" y="74"/>
                </a:lnTo>
                <a:lnTo>
                  <a:pt x="192" y="76"/>
                </a:lnTo>
                <a:lnTo>
                  <a:pt x="182" y="82"/>
                </a:lnTo>
                <a:lnTo>
                  <a:pt x="182" y="8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Montserrat" panose="00000500000000000000"/>
              <a:cs typeface="Arial" panose="020B0604020202020204" pitchFamily="34" charset="0"/>
            </a:endParaRPr>
          </a:p>
        </p:txBody>
      </p:sp>
      <p:sp>
        <p:nvSpPr>
          <p:cNvPr id="51" name="Freeform 18"/>
          <p:cNvSpPr>
            <a:spLocks noEditPoints="1"/>
          </p:cNvSpPr>
          <p:nvPr/>
        </p:nvSpPr>
        <p:spPr bwMode="auto">
          <a:xfrm>
            <a:off x="6007147" y="3895837"/>
            <a:ext cx="90574" cy="158814"/>
          </a:xfrm>
          <a:custGeom>
            <a:avLst/>
            <a:gdLst>
              <a:gd name="T0" fmla="*/ 140 w 292"/>
              <a:gd name="T1" fmla="*/ 0 h 512"/>
              <a:gd name="T2" fmla="*/ 174 w 292"/>
              <a:gd name="T3" fmla="*/ 2 h 512"/>
              <a:gd name="T4" fmla="*/ 204 w 292"/>
              <a:gd name="T5" fmla="*/ 12 h 512"/>
              <a:gd name="T6" fmla="*/ 236 w 292"/>
              <a:gd name="T7" fmla="*/ 30 h 512"/>
              <a:gd name="T8" fmla="*/ 244 w 292"/>
              <a:gd name="T9" fmla="*/ 38 h 512"/>
              <a:gd name="T10" fmla="*/ 268 w 292"/>
              <a:gd name="T11" fmla="*/ 66 h 512"/>
              <a:gd name="T12" fmla="*/ 280 w 292"/>
              <a:gd name="T13" fmla="*/ 90 h 512"/>
              <a:gd name="T14" fmla="*/ 284 w 292"/>
              <a:gd name="T15" fmla="*/ 100 h 512"/>
              <a:gd name="T16" fmla="*/ 292 w 292"/>
              <a:gd name="T17" fmla="*/ 146 h 512"/>
              <a:gd name="T18" fmla="*/ 282 w 292"/>
              <a:gd name="T19" fmla="*/ 196 h 512"/>
              <a:gd name="T20" fmla="*/ 270 w 292"/>
              <a:gd name="T21" fmla="*/ 220 h 512"/>
              <a:gd name="T22" fmla="*/ 236 w 292"/>
              <a:gd name="T23" fmla="*/ 260 h 512"/>
              <a:gd name="T24" fmla="*/ 190 w 292"/>
              <a:gd name="T25" fmla="*/ 326 h 512"/>
              <a:gd name="T26" fmla="*/ 178 w 292"/>
              <a:gd name="T27" fmla="*/ 360 h 512"/>
              <a:gd name="T28" fmla="*/ 172 w 292"/>
              <a:gd name="T29" fmla="*/ 382 h 512"/>
              <a:gd name="T30" fmla="*/ 168 w 292"/>
              <a:gd name="T31" fmla="*/ 418 h 512"/>
              <a:gd name="T32" fmla="*/ 168 w 292"/>
              <a:gd name="T33" fmla="*/ 472 h 512"/>
              <a:gd name="T34" fmla="*/ 168 w 292"/>
              <a:gd name="T35" fmla="*/ 486 h 512"/>
              <a:gd name="T36" fmla="*/ 154 w 292"/>
              <a:gd name="T37" fmla="*/ 510 h 512"/>
              <a:gd name="T38" fmla="*/ 132 w 292"/>
              <a:gd name="T39" fmla="*/ 508 h 512"/>
              <a:gd name="T40" fmla="*/ 124 w 292"/>
              <a:gd name="T41" fmla="*/ 498 h 512"/>
              <a:gd name="T42" fmla="*/ 122 w 292"/>
              <a:gd name="T43" fmla="*/ 484 h 512"/>
              <a:gd name="T44" fmla="*/ 122 w 292"/>
              <a:gd name="T45" fmla="*/ 430 h 512"/>
              <a:gd name="T46" fmla="*/ 122 w 292"/>
              <a:gd name="T47" fmla="*/ 418 h 512"/>
              <a:gd name="T48" fmla="*/ 116 w 292"/>
              <a:gd name="T49" fmla="*/ 380 h 512"/>
              <a:gd name="T50" fmla="*/ 114 w 292"/>
              <a:gd name="T51" fmla="*/ 370 h 512"/>
              <a:gd name="T52" fmla="*/ 106 w 292"/>
              <a:gd name="T53" fmla="*/ 340 h 512"/>
              <a:gd name="T54" fmla="*/ 100 w 292"/>
              <a:gd name="T55" fmla="*/ 328 h 512"/>
              <a:gd name="T56" fmla="*/ 84 w 292"/>
              <a:gd name="T57" fmla="*/ 300 h 512"/>
              <a:gd name="T58" fmla="*/ 74 w 292"/>
              <a:gd name="T59" fmla="*/ 284 h 512"/>
              <a:gd name="T60" fmla="*/ 60 w 292"/>
              <a:gd name="T61" fmla="*/ 266 h 512"/>
              <a:gd name="T62" fmla="*/ 38 w 292"/>
              <a:gd name="T63" fmla="*/ 244 h 512"/>
              <a:gd name="T64" fmla="*/ 30 w 292"/>
              <a:gd name="T65" fmla="*/ 234 h 512"/>
              <a:gd name="T66" fmla="*/ 10 w 292"/>
              <a:gd name="T67" fmla="*/ 202 h 512"/>
              <a:gd name="T68" fmla="*/ 2 w 292"/>
              <a:gd name="T69" fmla="*/ 172 h 512"/>
              <a:gd name="T70" fmla="*/ 2 w 292"/>
              <a:gd name="T71" fmla="*/ 114 h 512"/>
              <a:gd name="T72" fmla="*/ 6 w 292"/>
              <a:gd name="T73" fmla="*/ 100 h 512"/>
              <a:gd name="T74" fmla="*/ 22 w 292"/>
              <a:gd name="T75" fmla="*/ 70 h 512"/>
              <a:gd name="T76" fmla="*/ 54 w 292"/>
              <a:gd name="T77" fmla="*/ 32 h 512"/>
              <a:gd name="T78" fmla="*/ 100 w 292"/>
              <a:gd name="T79" fmla="*/ 6 h 512"/>
              <a:gd name="T80" fmla="*/ 118 w 292"/>
              <a:gd name="T81" fmla="*/ 2 h 512"/>
              <a:gd name="T82" fmla="*/ 192 w 292"/>
              <a:gd name="T83" fmla="*/ 136 h 512"/>
              <a:gd name="T84" fmla="*/ 188 w 292"/>
              <a:gd name="T85" fmla="*/ 122 h 512"/>
              <a:gd name="T86" fmla="*/ 174 w 292"/>
              <a:gd name="T87" fmla="*/ 106 h 512"/>
              <a:gd name="T88" fmla="*/ 162 w 292"/>
              <a:gd name="T89" fmla="*/ 100 h 512"/>
              <a:gd name="T90" fmla="*/ 134 w 292"/>
              <a:gd name="T91" fmla="*/ 96 h 512"/>
              <a:gd name="T92" fmla="*/ 110 w 292"/>
              <a:gd name="T93" fmla="*/ 110 h 512"/>
              <a:gd name="T94" fmla="*/ 96 w 292"/>
              <a:gd name="T95" fmla="*/ 148 h 512"/>
              <a:gd name="T96" fmla="*/ 102 w 292"/>
              <a:gd name="T97" fmla="*/ 168 h 512"/>
              <a:gd name="T98" fmla="*/ 110 w 292"/>
              <a:gd name="T99" fmla="*/ 178 h 512"/>
              <a:gd name="T100" fmla="*/ 130 w 292"/>
              <a:gd name="T101" fmla="*/ 190 h 512"/>
              <a:gd name="T102" fmla="*/ 140 w 292"/>
              <a:gd name="T103" fmla="*/ 194 h 512"/>
              <a:gd name="T104" fmla="*/ 164 w 292"/>
              <a:gd name="T105" fmla="*/ 190 h 512"/>
              <a:gd name="T106" fmla="*/ 186 w 292"/>
              <a:gd name="T107" fmla="*/ 172 h 512"/>
              <a:gd name="T108" fmla="*/ 194 w 292"/>
              <a:gd name="T109" fmla="*/ 14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92" h="512">
                <a:moveTo>
                  <a:pt x="118" y="2"/>
                </a:moveTo>
                <a:lnTo>
                  <a:pt x="118" y="2"/>
                </a:lnTo>
                <a:lnTo>
                  <a:pt x="140" y="0"/>
                </a:lnTo>
                <a:lnTo>
                  <a:pt x="160" y="0"/>
                </a:lnTo>
                <a:lnTo>
                  <a:pt x="160" y="0"/>
                </a:lnTo>
                <a:lnTo>
                  <a:pt x="174" y="2"/>
                </a:lnTo>
                <a:lnTo>
                  <a:pt x="174" y="2"/>
                </a:lnTo>
                <a:lnTo>
                  <a:pt x="204" y="12"/>
                </a:lnTo>
                <a:lnTo>
                  <a:pt x="204" y="12"/>
                </a:lnTo>
                <a:lnTo>
                  <a:pt x="212" y="16"/>
                </a:lnTo>
                <a:lnTo>
                  <a:pt x="212" y="16"/>
                </a:lnTo>
                <a:lnTo>
                  <a:pt x="236" y="30"/>
                </a:lnTo>
                <a:lnTo>
                  <a:pt x="236" y="30"/>
                </a:lnTo>
                <a:lnTo>
                  <a:pt x="244" y="38"/>
                </a:lnTo>
                <a:lnTo>
                  <a:pt x="244" y="38"/>
                </a:lnTo>
                <a:lnTo>
                  <a:pt x="262" y="58"/>
                </a:lnTo>
                <a:lnTo>
                  <a:pt x="262" y="58"/>
                </a:lnTo>
                <a:lnTo>
                  <a:pt x="268" y="66"/>
                </a:lnTo>
                <a:lnTo>
                  <a:pt x="268" y="66"/>
                </a:lnTo>
                <a:lnTo>
                  <a:pt x="280" y="90"/>
                </a:lnTo>
                <a:lnTo>
                  <a:pt x="280" y="90"/>
                </a:lnTo>
                <a:lnTo>
                  <a:pt x="282" y="96"/>
                </a:lnTo>
                <a:lnTo>
                  <a:pt x="284" y="100"/>
                </a:lnTo>
                <a:lnTo>
                  <a:pt x="284" y="100"/>
                </a:lnTo>
                <a:lnTo>
                  <a:pt x="290" y="134"/>
                </a:lnTo>
                <a:lnTo>
                  <a:pt x="290" y="134"/>
                </a:lnTo>
                <a:lnTo>
                  <a:pt x="292" y="146"/>
                </a:lnTo>
                <a:lnTo>
                  <a:pt x="292" y="146"/>
                </a:lnTo>
                <a:lnTo>
                  <a:pt x="288" y="172"/>
                </a:lnTo>
                <a:lnTo>
                  <a:pt x="282" y="196"/>
                </a:lnTo>
                <a:lnTo>
                  <a:pt x="282" y="196"/>
                </a:lnTo>
                <a:lnTo>
                  <a:pt x="270" y="220"/>
                </a:lnTo>
                <a:lnTo>
                  <a:pt x="270" y="220"/>
                </a:lnTo>
                <a:lnTo>
                  <a:pt x="254" y="240"/>
                </a:lnTo>
                <a:lnTo>
                  <a:pt x="236" y="260"/>
                </a:lnTo>
                <a:lnTo>
                  <a:pt x="236" y="260"/>
                </a:lnTo>
                <a:lnTo>
                  <a:pt x="218" y="280"/>
                </a:lnTo>
                <a:lnTo>
                  <a:pt x="204" y="302"/>
                </a:lnTo>
                <a:lnTo>
                  <a:pt x="190" y="326"/>
                </a:lnTo>
                <a:lnTo>
                  <a:pt x="182" y="350"/>
                </a:lnTo>
                <a:lnTo>
                  <a:pt x="182" y="350"/>
                </a:lnTo>
                <a:lnTo>
                  <a:pt x="178" y="360"/>
                </a:lnTo>
                <a:lnTo>
                  <a:pt x="176" y="370"/>
                </a:lnTo>
                <a:lnTo>
                  <a:pt x="176" y="370"/>
                </a:lnTo>
                <a:lnTo>
                  <a:pt x="172" y="382"/>
                </a:lnTo>
                <a:lnTo>
                  <a:pt x="170" y="394"/>
                </a:lnTo>
                <a:lnTo>
                  <a:pt x="168" y="418"/>
                </a:lnTo>
                <a:lnTo>
                  <a:pt x="168" y="418"/>
                </a:lnTo>
                <a:lnTo>
                  <a:pt x="168" y="432"/>
                </a:lnTo>
                <a:lnTo>
                  <a:pt x="168" y="432"/>
                </a:lnTo>
                <a:lnTo>
                  <a:pt x="168" y="472"/>
                </a:lnTo>
                <a:lnTo>
                  <a:pt x="168" y="472"/>
                </a:lnTo>
                <a:lnTo>
                  <a:pt x="168" y="486"/>
                </a:lnTo>
                <a:lnTo>
                  <a:pt x="168" y="486"/>
                </a:lnTo>
                <a:lnTo>
                  <a:pt x="166" y="496"/>
                </a:lnTo>
                <a:lnTo>
                  <a:pt x="162" y="504"/>
                </a:lnTo>
                <a:lnTo>
                  <a:pt x="154" y="510"/>
                </a:lnTo>
                <a:lnTo>
                  <a:pt x="144" y="512"/>
                </a:lnTo>
                <a:lnTo>
                  <a:pt x="144" y="512"/>
                </a:lnTo>
                <a:lnTo>
                  <a:pt x="132" y="508"/>
                </a:lnTo>
                <a:lnTo>
                  <a:pt x="132" y="508"/>
                </a:lnTo>
                <a:lnTo>
                  <a:pt x="128" y="504"/>
                </a:lnTo>
                <a:lnTo>
                  <a:pt x="124" y="498"/>
                </a:lnTo>
                <a:lnTo>
                  <a:pt x="122" y="490"/>
                </a:lnTo>
                <a:lnTo>
                  <a:pt x="122" y="484"/>
                </a:lnTo>
                <a:lnTo>
                  <a:pt x="122" y="484"/>
                </a:lnTo>
                <a:lnTo>
                  <a:pt x="122" y="472"/>
                </a:lnTo>
                <a:lnTo>
                  <a:pt x="122" y="472"/>
                </a:lnTo>
                <a:lnTo>
                  <a:pt x="122" y="430"/>
                </a:lnTo>
                <a:lnTo>
                  <a:pt x="122" y="430"/>
                </a:lnTo>
                <a:lnTo>
                  <a:pt x="122" y="418"/>
                </a:lnTo>
                <a:lnTo>
                  <a:pt x="122" y="418"/>
                </a:lnTo>
                <a:lnTo>
                  <a:pt x="120" y="400"/>
                </a:lnTo>
                <a:lnTo>
                  <a:pt x="116" y="380"/>
                </a:lnTo>
                <a:lnTo>
                  <a:pt x="116" y="380"/>
                </a:lnTo>
                <a:lnTo>
                  <a:pt x="116" y="374"/>
                </a:lnTo>
                <a:lnTo>
                  <a:pt x="114" y="370"/>
                </a:lnTo>
                <a:lnTo>
                  <a:pt x="114" y="370"/>
                </a:lnTo>
                <a:lnTo>
                  <a:pt x="112" y="354"/>
                </a:lnTo>
                <a:lnTo>
                  <a:pt x="106" y="340"/>
                </a:lnTo>
                <a:lnTo>
                  <a:pt x="106" y="340"/>
                </a:lnTo>
                <a:lnTo>
                  <a:pt x="104" y="334"/>
                </a:lnTo>
                <a:lnTo>
                  <a:pt x="100" y="328"/>
                </a:lnTo>
                <a:lnTo>
                  <a:pt x="100" y="328"/>
                </a:lnTo>
                <a:lnTo>
                  <a:pt x="94" y="314"/>
                </a:lnTo>
                <a:lnTo>
                  <a:pt x="84" y="300"/>
                </a:lnTo>
                <a:lnTo>
                  <a:pt x="84" y="300"/>
                </a:lnTo>
                <a:lnTo>
                  <a:pt x="82" y="296"/>
                </a:lnTo>
                <a:lnTo>
                  <a:pt x="82" y="296"/>
                </a:lnTo>
                <a:lnTo>
                  <a:pt x="74" y="284"/>
                </a:lnTo>
                <a:lnTo>
                  <a:pt x="64" y="272"/>
                </a:lnTo>
                <a:lnTo>
                  <a:pt x="64" y="272"/>
                </a:lnTo>
                <a:lnTo>
                  <a:pt x="60" y="266"/>
                </a:lnTo>
                <a:lnTo>
                  <a:pt x="54" y="260"/>
                </a:lnTo>
                <a:lnTo>
                  <a:pt x="54" y="260"/>
                </a:lnTo>
                <a:lnTo>
                  <a:pt x="38" y="244"/>
                </a:lnTo>
                <a:lnTo>
                  <a:pt x="38" y="244"/>
                </a:lnTo>
                <a:lnTo>
                  <a:pt x="30" y="234"/>
                </a:lnTo>
                <a:lnTo>
                  <a:pt x="30" y="234"/>
                </a:lnTo>
                <a:lnTo>
                  <a:pt x="16" y="212"/>
                </a:lnTo>
                <a:lnTo>
                  <a:pt x="16" y="212"/>
                </a:lnTo>
                <a:lnTo>
                  <a:pt x="10" y="202"/>
                </a:lnTo>
                <a:lnTo>
                  <a:pt x="10" y="202"/>
                </a:lnTo>
                <a:lnTo>
                  <a:pt x="2" y="172"/>
                </a:lnTo>
                <a:lnTo>
                  <a:pt x="2" y="172"/>
                </a:lnTo>
                <a:lnTo>
                  <a:pt x="0" y="160"/>
                </a:lnTo>
                <a:lnTo>
                  <a:pt x="0" y="160"/>
                </a:lnTo>
                <a:lnTo>
                  <a:pt x="2" y="114"/>
                </a:lnTo>
                <a:lnTo>
                  <a:pt x="2" y="114"/>
                </a:lnTo>
                <a:lnTo>
                  <a:pt x="4" y="108"/>
                </a:lnTo>
                <a:lnTo>
                  <a:pt x="6" y="100"/>
                </a:lnTo>
                <a:lnTo>
                  <a:pt x="6" y="100"/>
                </a:lnTo>
                <a:lnTo>
                  <a:pt x="12" y="84"/>
                </a:lnTo>
                <a:lnTo>
                  <a:pt x="22" y="70"/>
                </a:lnTo>
                <a:lnTo>
                  <a:pt x="32" y="56"/>
                </a:lnTo>
                <a:lnTo>
                  <a:pt x="42" y="42"/>
                </a:lnTo>
                <a:lnTo>
                  <a:pt x="54" y="32"/>
                </a:lnTo>
                <a:lnTo>
                  <a:pt x="68" y="22"/>
                </a:lnTo>
                <a:lnTo>
                  <a:pt x="84" y="14"/>
                </a:lnTo>
                <a:lnTo>
                  <a:pt x="100" y="6"/>
                </a:lnTo>
                <a:lnTo>
                  <a:pt x="100" y="6"/>
                </a:lnTo>
                <a:lnTo>
                  <a:pt x="118" y="2"/>
                </a:lnTo>
                <a:lnTo>
                  <a:pt x="118" y="2"/>
                </a:lnTo>
                <a:close/>
                <a:moveTo>
                  <a:pt x="194" y="142"/>
                </a:moveTo>
                <a:lnTo>
                  <a:pt x="194" y="142"/>
                </a:lnTo>
                <a:lnTo>
                  <a:pt x="192" y="136"/>
                </a:lnTo>
                <a:lnTo>
                  <a:pt x="192" y="130"/>
                </a:lnTo>
                <a:lnTo>
                  <a:pt x="192" y="130"/>
                </a:lnTo>
                <a:lnTo>
                  <a:pt x="188" y="122"/>
                </a:lnTo>
                <a:lnTo>
                  <a:pt x="184" y="116"/>
                </a:lnTo>
                <a:lnTo>
                  <a:pt x="180" y="110"/>
                </a:lnTo>
                <a:lnTo>
                  <a:pt x="174" y="106"/>
                </a:lnTo>
                <a:lnTo>
                  <a:pt x="174" y="106"/>
                </a:lnTo>
                <a:lnTo>
                  <a:pt x="168" y="102"/>
                </a:lnTo>
                <a:lnTo>
                  <a:pt x="162" y="100"/>
                </a:lnTo>
                <a:lnTo>
                  <a:pt x="162" y="100"/>
                </a:lnTo>
                <a:lnTo>
                  <a:pt x="148" y="96"/>
                </a:lnTo>
                <a:lnTo>
                  <a:pt x="134" y="96"/>
                </a:lnTo>
                <a:lnTo>
                  <a:pt x="122" y="102"/>
                </a:lnTo>
                <a:lnTo>
                  <a:pt x="110" y="110"/>
                </a:lnTo>
                <a:lnTo>
                  <a:pt x="110" y="110"/>
                </a:lnTo>
                <a:lnTo>
                  <a:pt x="102" y="122"/>
                </a:lnTo>
                <a:lnTo>
                  <a:pt x="96" y="136"/>
                </a:lnTo>
                <a:lnTo>
                  <a:pt x="96" y="148"/>
                </a:lnTo>
                <a:lnTo>
                  <a:pt x="100" y="164"/>
                </a:lnTo>
                <a:lnTo>
                  <a:pt x="100" y="164"/>
                </a:lnTo>
                <a:lnTo>
                  <a:pt x="102" y="168"/>
                </a:lnTo>
                <a:lnTo>
                  <a:pt x="104" y="172"/>
                </a:lnTo>
                <a:lnTo>
                  <a:pt x="104" y="172"/>
                </a:lnTo>
                <a:lnTo>
                  <a:pt x="110" y="178"/>
                </a:lnTo>
                <a:lnTo>
                  <a:pt x="116" y="184"/>
                </a:lnTo>
                <a:lnTo>
                  <a:pt x="122" y="188"/>
                </a:lnTo>
                <a:lnTo>
                  <a:pt x="130" y="190"/>
                </a:lnTo>
                <a:lnTo>
                  <a:pt x="130" y="190"/>
                </a:lnTo>
                <a:lnTo>
                  <a:pt x="136" y="194"/>
                </a:lnTo>
                <a:lnTo>
                  <a:pt x="140" y="194"/>
                </a:lnTo>
                <a:lnTo>
                  <a:pt x="140" y="194"/>
                </a:lnTo>
                <a:lnTo>
                  <a:pt x="152" y="192"/>
                </a:lnTo>
                <a:lnTo>
                  <a:pt x="164" y="190"/>
                </a:lnTo>
                <a:lnTo>
                  <a:pt x="172" y="186"/>
                </a:lnTo>
                <a:lnTo>
                  <a:pt x="180" y="180"/>
                </a:lnTo>
                <a:lnTo>
                  <a:pt x="186" y="172"/>
                </a:lnTo>
                <a:lnTo>
                  <a:pt x="190" y="162"/>
                </a:lnTo>
                <a:lnTo>
                  <a:pt x="194" y="152"/>
                </a:lnTo>
                <a:lnTo>
                  <a:pt x="194" y="142"/>
                </a:lnTo>
                <a:lnTo>
                  <a:pt x="194" y="14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Montserrat" panose="00000500000000000000"/>
              <a:cs typeface="Arial" panose="020B0604020202020204" pitchFamily="34" charset="0"/>
            </a:endParaRPr>
          </a:p>
        </p:txBody>
      </p:sp>
      <p:sp>
        <p:nvSpPr>
          <p:cNvPr id="52" name="Freeform 19"/>
          <p:cNvSpPr>
            <a:spLocks/>
          </p:cNvSpPr>
          <p:nvPr/>
        </p:nvSpPr>
        <p:spPr bwMode="auto">
          <a:xfrm>
            <a:off x="6291895" y="4170660"/>
            <a:ext cx="87472" cy="122212"/>
          </a:xfrm>
          <a:custGeom>
            <a:avLst/>
            <a:gdLst>
              <a:gd name="T0" fmla="*/ 98 w 282"/>
              <a:gd name="T1" fmla="*/ 8 h 394"/>
              <a:gd name="T2" fmla="*/ 116 w 282"/>
              <a:gd name="T3" fmla="*/ 24 h 394"/>
              <a:gd name="T4" fmla="*/ 124 w 282"/>
              <a:gd name="T5" fmla="*/ 36 h 394"/>
              <a:gd name="T6" fmla="*/ 138 w 282"/>
              <a:gd name="T7" fmla="*/ 60 h 394"/>
              <a:gd name="T8" fmla="*/ 142 w 282"/>
              <a:gd name="T9" fmla="*/ 68 h 394"/>
              <a:gd name="T10" fmla="*/ 160 w 282"/>
              <a:gd name="T11" fmla="*/ 96 h 394"/>
              <a:gd name="T12" fmla="*/ 162 w 282"/>
              <a:gd name="T13" fmla="*/ 102 h 394"/>
              <a:gd name="T14" fmla="*/ 166 w 282"/>
              <a:gd name="T15" fmla="*/ 106 h 394"/>
              <a:gd name="T16" fmla="*/ 176 w 282"/>
              <a:gd name="T17" fmla="*/ 128 h 394"/>
              <a:gd name="T18" fmla="*/ 178 w 282"/>
              <a:gd name="T19" fmla="*/ 132 h 394"/>
              <a:gd name="T20" fmla="*/ 182 w 282"/>
              <a:gd name="T21" fmla="*/ 136 h 394"/>
              <a:gd name="T22" fmla="*/ 198 w 282"/>
              <a:gd name="T23" fmla="*/ 164 h 394"/>
              <a:gd name="T24" fmla="*/ 200 w 282"/>
              <a:gd name="T25" fmla="*/ 168 h 394"/>
              <a:gd name="T26" fmla="*/ 204 w 282"/>
              <a:gd name="T27" fmla="*/ 174 h 394"/>
              <a:gd name="T28" fmla="*/ 220 w 282"/>
              <a:gd name="T29" fmla="*/ 200 h 394"/>
              <a:gd name="T30" fmla="*/ 222 w 282"/>
              <a:gd name="T31" fmla="*/ 206 h 394"/>
              <a:gd name="T32" fmla="*/ 228 w 282"/>
              <a:gd name="T33" fmla="*/ 220 h 394"/>
              <a:gd name="T34" fmla="*/ 236 w 282"/>
              <a:gd name="T35" fmla="*/ 230 h 394"/>
              <a:gd name="T36" fmla="*/ 242 w 282"/>
              <a:gd name="T37" fmla="*/ 238 h 394"/>
              <a:gd name="T38" fmla="*/ 248 w 282"/>
              <a:gd name="T39" fmla="*/ 254 h 394"/>
              <a:gd name="T40" fmla="*/ 258 w 282"/>
              <a:gd name="T41" fmla="*/ 266 h 394"/>
              <a:gd name="T42" fmla="*/ 264 w 282"/>
              <a:gd name="T43" fmla="*/ 278 h 394"/>
              <a:gd name="T44" fmla="*/ 276 w 282"/>
              <a:gd name="T45" fmla="*/ 302 h 394"/>
              <a:gd name="T46" fmla="*/ 282 w 282"/>
              <a:gd name="T47" fmla="*/ 328 h 394"/>
              <a:gd name="T48" fmla="*/ 278 w 282"/>
              <a:gd name="T49" fmla="*/ 352 h 394"/>
              <a:gd name="T50" fmla="*/ 272 w 282"/>
              <a:gd name="T51" fmla="*/ 366 h 394"/>
              <a:gd name="T52" fmla="*/ 252 w 282"/>
              <a:gd name="T53" fmla="*/ 384 h 394"/>
              <a:gd name="T54" fmla="*/ 238 w 282"/>
              <a:gd name="T55" fmla="*/ 390 h 394"/>
              <a:gd name="T56" fmla="*/ 220 w 282"/>
              <a:gd name="T57" fmla="*/ 394 h 394"/>
              <a:gd name="T58" fmla="*/ 200 w 282"/>
              <a:gd name="T59" fmla="*/ 392 h 394"/>
              <a:gd name="T60" fmla="*/ 184 w 282"/>
              <a:gd name="T61" fmla="*/ 384 h 394"/>
              <a:gd name="T62" fmla="*/ 168 w 282"/>
              <a:gd name="T63" fmla="*/ 372 h 394"/>
              <a:gd name="T64" fmla="*/ 164 w 282"/>
              <a:gd name="T65" fmla="*/ 366 h 394"/>
              <a:gd name="T66" fmla="*/ 148 w 282"/>
              <a:gd name="T67" fmla="*/ 338 h 394"/>
              <a:gd name="T68" fmla="*/ 142 w 282"/>
              <a:gd name="T69" fmla="*/ 328 h 394"/>
              <a:gd name="T70" fmla="*/ 126 w 282"/>
              <a:gd name="T71" fmla="*/ 302 h 394"/>
              <a:gd name="T72" fmla="*/ 122 w 282"/>
              <a:gd name="T73" fmla="*/ 296 h 394"/>
              <a:gd name="T74" fmla="*/ 116 w 282"/>
              <a:gd name="T75" fmla="*/ 284 h 394"/>
              <a:gd name="T76" fmla="*/ 108 w 282"/>
              <a:gd name="T77" fmla="*/ 272 h 394"/>
              <a:gd name="T78" fmla="*/ 104 w 282"/>
              <a:gd name="T79" fmla="*/ 264 h 394"/>
              <a:gd name="T80" fmla="*/ 96 w 282"/>
              <a:gd name="T81" fmla="*/ 250 h 394"/>
              <a:gd name="T82" fmla="*/ 88 w 282"/>
              <a:gd name="T83" fmla="*/ 236 h 394"/>
              <a:gd name="T84" fmla="*/ 82 w 282"/>
              <a:gd name="T85" fmla="*/ 224 h 394"/>
              <a:gd name="T86" fmla="*/ 68 w 282"/>
              <a:gd name="T87" fmla="*/ 200 h 394"/>
              <a:gd name="T88" fmla="*/ 66 w 282"/>
              <a:gd name="T89" fmla="*/ 196 h 394"/>
              <a:gd name="T90" fmla="*/ 62 w 282"/>
              <a:gd name="T91" fmla="*/ 192 h 394"/>
              <a:gd name="T92" fmla="*/ 48 w 282"/>
              <a:gd name="T93" fmla="*/ 168 h 394"/>
              <a:gd name="T94" fmla="*/ 48 w 282"/>
              <a:gd name="T95" fmla="*/ 164 h 394"/>
              <a:gd name="T96" fmla="*/ 44 w 282"/>
              <a:gd name="T97" fmla="*/ 160 h 394"/>
              <a:gd name="T98" fmla="*/ 30 w 282"/>
              <a:gd name="T99" fmla="*/ 134 h 394"/>
              <a:gd name="T100" fmla="*/ 22 w 282"/>
              <a:gd name="T101" fmla="*/ 122 h 394"/>
              <a:gd name="T102" fmla="*/ 8 w 282"/>
              <a:gd name="T103" fmla="*/ 98 h 394"/>
              <a:gd name="T104" fmla="*/ 4 w 282"/>
              <a:gd name="T105" fmla="*/ 90 h 394"/>
              <a:gd name="T106" fmla="*/ 0 w 282"/>
              <a:gd name="T107" fmla="*/ 72 h 394"/>
              <a:gd name="T108" fmla="*/ 0 w 282"/>
              <a:gd name="T109" fmla="*/ 54 h 394"/>
              <a:gd name="T110" fmla="*/ 8 w 282"/>
              <a:gd name="T111" fmla="*/ 32 h 394"/>
              <a:gd name="T112" fmla="*/ 32 w 282"/>
              <a:gd name="T113" fmla="*/ 8 h 394"/>
              <a:gd name="T114" fmla="*/ 54 w 282"/>
              <a:gd name="T115" fmla="*/ 0 h 394"/>
              <a:gd name="T116" fmla="*/ 72 w 282"/>
              <a:gd name="T117" fmla="*/ 0 h 394"/>
              <a:gd name="T118" fmla="*/ 90 w 282"/>
              <a:gd name="T119" fmla="*/ 4 h 394"/>
              <a:gd name="T120" fmla="*/ 98 w 282"/>
              <a:gd name="T121" fmla="*/ 8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82" h="394">
                <a:moveTo>
                  <a:pt x="98" y="8"/>
                </a:moveTo>
                <a:lnTo>
                  <a:pt x="98" y="8"/>
                </a:lnTo>
                <a:lnTo>
                  <a:pt x="116" y="24"/>
                </a:lnTo>
                <a:lnTo>
                  <a:pt x="116" y="24"/>
                </a:lnTo>
                <a:lnTo>
                  <a:pt x="124" y="36"/>
                </a:lnTo>
                <a:lnTo>
                  <a:pt x="124" y="36"/>
                </a:lnTo>
                <a:lnTo>
                  <a:pt x="130" y="48"/>
                </a:lnTo>
                <a:lnTo>
                  <a:pt x="138" y="60"/>
                </a:lnTo>
                <a:lnTo>
                  <a:pt x="138" y="60"/>
                </a:lnTo>
                <a:lnTo>
                  <a:pt x="142" y="68"/>
                </a:lnTo>
                <a:lnTo>
                  <a:pt x="142" y="68"/>
                </a:lnTo>
                <a:lnTo>
                  <a:pt x="160" y="96"/>
                </a:lnTo>
                <a:lnTo>
                  <a:pt x="160" y="96"/>
                </a:lnTo>
                <a:lnTo>
                  <a:pt x="162" y="102"/>
                </a:lnTo>
                <a:lnTo>
                  <a:pt x="166" y="106"/>
                </a:lnTo>
                <a:lnTo>
                  <a:pt x="166" y="106"/>
                </a:lnTo>
                <a:lnTo>
                  <a:pt x="170" y="118"/>
                </a:lnTo>
                <a:lnTo>
                  <a:pt x="176" y="128"/>
                </a:lnTo>
                <a:lnTo>
                  <a:pt x="176" y="128"/>
                </a:lnTo>
                <a:lnTo>
                  <a:pt x="178" y="132"/>
                </a:lnTo>
                <a:lnTo>
                  <a:pt x="182" y="136"/>
                </a:lnTo>
                <a:lnTo>
                  <a:pt x="182" y="136"/>
                </a:lnTo>
                <a:lnTo>
                  <a:pt x="188" y="150"/>
                </a:lnTo>
                <a:lnTo>
                  <a:pt x="198" y="164"/>
                </a:lnTo>
                <a:lnTo>
                  <a:pt x="198" y="164"/>
                </a:lnTo>
                <a:lnTo>
                  <a:pt x="200" y="168"/>
                </a:lnTo>
                <a:lnTo>
                  <a:pt x="204" y="174"/>
                </a:lnTo>
                <a:lnTo>
                  <a:pt x="204" y="174"/>
                </a:lnTo>
                <a:lnTo>
                  <a:pt x="210" y="188"/>
                </a:lnTo>
                <a:lnTo>
                  <a:pt x="220" y="200"/>
                </a:lnTo>
                <a:lnTo>
                  <a:pt x="220" y="200"/>
                </a:lnTo>
                <a:lnTo>
                  <a:pt x="222" y="206"/>
                </a:lnTo>
                <a:lnTo>
                  <a:pt x="222" y="206"/>
                </a:lnTo>
                <a:lnTo>
                  <a:pt x="228" y="220"/>
                </a:lnTo>
                <a:lnTo>
                  <a:pt x="236" y="230"/>
                </a:lnTo>
                <a:lnTo>
                  <a:pt x="236" y="230"/>
                </a:lnTo>
                <a:lnTo>
                  <a:pt x="238" y="236"/>
                </a:lnTo>
                <a:lnTo>
                  <a:pt x="242" y="238"/>
                </a:lnTo>
                <a:lnTo>
                  <a:pt x="242" y="238"/>
                </a:lnTo>
                <a:lnTo>
                  <a:pt x="248" y="254"/>
                </a:lnTo>
                <a:lnTo>
                  <a:pt x="258" y="266"/>
                </a:lnTo>
                <a:lnTo>
                  <a:pt x="258" y="266"/>
                </a:lnTo>
                <a:lnTo>
                  <a:pt x="264" y="278"/>
                </a:lnTo>
                <a:lnTo>
                  <a:pt x="264" y="278"/>
                </a:lnTo>
                <a:lnTo>
                  <a:pt x="276" y="302"/>
                </a:lnTo>
                <a:lnTo>
                  <a:pt x="276" y="302"/>
                </a:lnTo>
                <a:lnTo>
                  <a:pt x="280" y="314"/>
                </a:lnTo>
                <a:lnTo>
                  <a:pt x="282" y="328"/>
                </a:lnTo>
                <a:lnTo>
                  <a:pt x="282" y="340"/>
                </a:lnTo>
                <a:lnTo>
                  <a:pt x="278" y="352"/>
                </a:lnTo>
                <a:lnTo>
                  <a:pt x="278" y="352"/>
                </a:lnTo>
                <a:lnTo>
                  <a:pt x="272" y="366"/>
                </a:lnTo>
                <a:lnTo>
                  <a:pt x="262" y="376"/>
                </a:lnTo>
                <a:lnTo>
                  <a:pt x="252" y="384"/>
                </a:lnTo>
                <a:lnTo>
                  <a:pt x="238" y="390"/>
                </a:lnTo>
                <a:lnTo>
                  <a:pt x="238" y="390"/>
                </a:lnTo>
                <a:lnTo>
                  <a:pt x="228" y="392"/>
                </a:lnTo>
                <a:lnTo>
                  <a:pt x="220" y="394"/>
                </a:lnTo>
                <a:lnTo>
                  <a:pt x="210" y="394"/>
                </a:lnTo>
                <a:lnTo>
                  <a:pt x="200" y="392"/>
                </a:lnTo>
                <a:lnTo>
                  <a:pt x="192" y="388"/>
                </a:lnTo>
                <a:lnTo>
                  <a:pt x="184" y="384"/>
                </a:lnTo>
                <a:lnTo>
                  <a:pt x="168" y="372"/>
                </a:lnTo>
                <a:lnTo>
                  <a:pt x="168" y="372"/>
                </a:lnTo>
                <a:lnTo>
                  <a:pt x="164" y="366"/>
                </a:lnTo>
                <a:lnTo>
                  <a:pt x="164" y="366"/>
                </a:lnTo>
                <a:lnTo>
                  <a:pt x="148" y="338"/>
                </a:lnTo>
                <a:lnTo>
                  <a:pt x="148" y="338"/>
                </a:lnTo>
                <a:lnTo>
                  <a:pt x="142" y="328"/>
                </a:lnTo>
                <a:lnTo>
                  <a:pt x="142" y="328"/>
                </a:lnTo>
                <a:lnTo>
                  <a:pt x="134" y="314"/>
                </a:lnTo>
                <a:lnTo>
                  <a:pt x="126" y="302"/>
                </a:lnTo>
                <a:lnTo>
                  <a:pt x="126" y="302"/>
                </a:lnTo>
                <a:lnTo>
                  <a:pt x="122" y="296"/>
                </a:lnTo>
                <a:lnTo>
                  <a:pt x="122" y="296"/>
                </a:lnTo>
                <a:lnTo>
                  <a:pt x="116" y="284"/>
                </a:lnTo>
                <a:lnTo>
                  <a:pt x="108" y="272"/>
                </a:lnTo>
                <a:lnTo>
                  <a:pt x="108" y="272"/>
                </a:lnTo>
                <a:lnTo>
                  <a:pt x="106" y="266"/>
                </a:lnTo>
                <a:lnTo>
                  <a:pt x="104" y="264"/>
                </a:lnTo>
                <a:lnTo>
                  <a:pt x="104" y="264"/>
                </a:lnTo>
                <a:lnTo>
                  <a:pt x="96" y="250"/>
                </a:lnTo>
                <a:lnTo>
                  <a:pt x="88" y="236"/>
                </a:lnTo>
                <a:lnTo>
                  <a:pt x="88" y="236"/>
                </a:lnTo>
                <a:lnTo>
                  <a:pt x="82" y="224"/>
                </a:lnTo>
                <a:lnTo>
                  <a:pt x="82" y="224"/>
                </a:lnTo>
                <a:lnTo>
                  <a:pt x="76" y="212"/>
                </a:lnTo>
                <a:lnTo>
                  <a:pt x="68" y="200"/>
                </a:lnTo>
                <a:lnTo>
                  <a:pt x="68" y="200"/>
                </a:lnTo>
                <a:lnTo>
                  <a:pt x="66" y="196"/>
                </a:lnTo>
                <a:lnTo>
                  <a:pt x="62" y="192"/>
                </a:lnTo>
                <a:lnTo>
                  <a:pt x="62" y="192"/>
                </a:lnTo>
                <a:lnTo>
                  <a:pt x="56" y="180"/>
                </a:lnTo>
                <a:lnTo>
                  <a:pt x="48" y="168"/>
                </a:lnTo>
                <a:lnTo>
                  <a:pt x="48" y="168"/>
                </a:lnTo>
                <a:lnTo>
                  <a:pt x="48" y="164"/>
                </a:lnTo>
                <a:lnTo>
                  <a:pt x="44" y="160"/>
                </a:lnTo>
                <a:lnTo>
                  <a:pt x="44" y="160"/>
                </a:lnTo>
                <a:lnTo>
                  <a:pt x="30" y="134"/>
                </a:lnTo>
                <a:lnTo>
                  <a:pt x="30" y="134"/>
                </a:lnTo>
                <a:lnTo>
                  <a:pt x="22" y="122"/>
                </a:lnTo>
                <a:lnTo>
                  <a:pt x="22" y="122"/>
                </a:lnTo>
                <a:lnTo>
                  <a:pt x="16" y="110"/>
                </a:lnTo>
                <a:lnTo>
                  <a:pt x="8" y="98"/>
                </a:lnTo>
                <a:lnTo>
                  <a:pt x="8" y="98"/>
                </a:lnTo>
                <a:lnTo>
                  <a:pt x="4" y="90"/>
                </a:lnTo>
                <a:lnTo>
                  <a:pt x="4" y="90"/>
                </a:lnTo>
                <a:lnTo>
                  <a:pt x="0" y="72"/>
                </a:lnTo>
                <a:lnTo>
                  <a:pt x="0" y="54"/>
                </a:lnTo>
                <a:lnTo>
                  <a:pt x="0" y="54"/>
                </a:lnTo>
                <a:lnTo>
                  <a:pt x="8" y="32"/>
                </a:lnTo>
                <a:lnTo>
                  <a:pt x="8" y="32"/>
                </a:lnTo>
                <a:lnTo>
                  <a:pt x="20" y="20"/>
                </a:lnTo>
                <a:lnTo>
                  <a:pt x="32" y="8"/>
                </a:lnTo>
                <a:lnTo>
                  <a:pt x="32" y="8"/>
                </a:lnTo>
                <a:lnTo>
                  <a:pt x="54" y="0"/>
                </a:lnTo>
                <a:lnTo>
                  <a:pt x="54" y="0"/>
                </a:lnTo>
                <a:lnTo>
                  <a:pt x="72" y="0"/>
                </a:lnTo>
                <a:lnTo>
                  <a:pt x="90" y="4"/>
                </a:lnTo>
                <a:lnTo>
                  <a:pt x="90" y="4"/>
                </a:lnTo>
                <a:lnTo>
                  <a:pt x="98" y="8"/>
                </a:lnTo>
                <a:lnTo>
                  <a:pt x="98" y="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Montserrat" panose="00000500000000000000"/>
              <a:cs typeface="Arial" panose="020B0604020202020204" pitchFamily="34" charset="0"/>
            </a:endParaRPr>
          </a:p>
        </p:txBody>
      </p:sp>
      <p:sp>
        <p:nvSpPr>
          <p:cNvPr id="53" name="Freeform 20"/>
          <p:cNvSpPr>
            <a:spLocks/>
          </p:cNvSpPr>
          <p:nvPr/>
        </p:nvSpPr>
        <p:spPr bwMode="auto">
          <a:xfrm>
            <a:off x="6282590" y="4152669"/>
            <a:ext cx="24815" cy="19852"/>
          </a:xfrm>
          <a:custGeom>
            <a:avLst/>
            <a:gdLst>
              <a:gd name="T0" fmla="*/ 14 w 80"/>
              <a:gd name="T1" fmla="*/ 64 h 64"/>
              <a:gd name="T2" fmla="*/ 14 w 80"/>
              <a:gd name="T3" fmla="*/ 64 h 64"/>
              <a:gd name="T4" fmla="*/ 6 w 80"/>
              <a:gd name="T5" fmla="*/ 60 h 64"/>
              <a:gd name="T6" fmla="*/ 6 w 80"/>
              <a:gd name="T7" fmla="*/ 60 h 64"/>
              <a:gd name="T8" fmla="*/ 2 w 80"/>
              <a:gd name="T9" fmla="*/ 54 h 64"/>
              <a:gd name="T10" fmla="*/ 0 w 80"/>
              <a:gd name="T11" fmla="*/ 48 h 64"/>
              <a:gd name="T12" fmla="*/ 0 w 80"/>
              <a:gd name="T13" fmla="*/ 40 h 64"/>
              <a:gd name="T14" fmla="*/ 0 w 80"/>
              <a:gd name="T15" fmla="*/ 34 h 64"/>
              <a:gd name="T16" fmla="*/ 0 w 80"/>
              <a:gd name="T17" fmla="*/ 34 h 64"/>
              <a:gd name="T18" fmla="*/ 10 w 80"/>
              <a:gd name="T19" fmla="*/ 24 h 64"/>
              <a:gd name="T20" fmla="*/ 10 w 80"/>
              <a:gd name="T21" fmla="*/ 24 h 64"/>
              <a:gd name="T22" fmla="*/ 42 w 80"/>
              <a:gd name="T23" fmla="*/ 6 h 64"/>
              <a:gd name="T24" fmla="*/ 42 w 80"/>
              <a:gd name="T25" fmla="*/ 6 h 64"/>
              <a:gd name="T26" fmla="*/ 50 w 80"/>
              <a:gd name="T27" fmla="*/ 2 h 64"/>
              <a:gd name="T28" fmla="*/ 56 w 80"/>
              <a:gd name="T29" fmla="*/ 0 h 64"/>
              <a:gd name="T30" fmla="*/ 62 w 80"/>
              <a:gd name="T31" fmla="*/ 0 h 64"/>
              <a:gd name="T32" fmla="*/ 70 w 80"/>
              <a:gd name="T33" fmla="*/ 2 h 64"/>
              <a:gd name="T34" fmla="*/ 70 w 80"/>
              <a:gd name="T35" fmla="*/ 2 h 64"/>
              <a:gd name="T36" fmla="*/ 78 w 80"/>
              <a:gd name="T37" fmla="*/ 10 h 64"/>
              <a:gd name="T38" fmla="*/ 78 w 80"/>
              <a:gd name="T39" fmla="*/ 10 h 64"/>
              <a:gd name="T40" fmla="*/ 80 w 80"/>
              <a:gd name="T41" fmla="*/ 22 h 64"/>
              <a:gd name="T42" fmla="*/ 80 w 80"/>
              <a:gd name="T43" fmla="*/ 30 h 64"/>
              <a:gd name="T44" fmla="*/ 74 w 80"/>
              <a:gd name="T45" fmla="*/ 36 h 64"/>
              <a:gd name="T46" fmla="*/ 64 w 80"/>
              <a:gd name="T47" fmla="*/ 44 h 64"/>
              <a:gd name="T48" fmla="*/ 64 w 80"/>
              <a:gd name="T49" fmla="*/ 44 h 64"/>
              <a:gd name="T50" fmla="*/ 34 w 80"/>
              <a:gd name="T51" fmla="*/ 62 h 64"/>
              <a:gd name="T52" fmla="*/ 34 w 80"/>
              <a:gd name="T53" fmla="*/ 62 h 64"/>
              <a:gd name="T54" fmla="*/ 24 w 80"/>
              <a:gd name="T55" fmla="*/ 64 h 64"/>
              <a:gd name="T56" fmla="*/ 14 w 80"/>
              <a:gd name="T57" fmla="*/ 64 h 64"/>
              <a:gd name="T58" fmla="*/ 14 w 80"/>
              <a:gd name="T59"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0" h="64">
                <a:moveTo>
                  <a:pt x="14" y="64"/>
                </a:moveTo>
                <a:lnTo>
                  <a:pt x="14" y="64"/>
                </a:lnTo>
                <a:lnTo>
                  <a:pt x="6" y="60"/>
                </a:lnTo>
                <a:lnTo>
                  <a:pt x="6" y="60"/>
                </a:lnTo>
                <a:lnTo>
                  <a:pt x="2" y="54"/>
                </a:lnTo>
                <a:lnTo>
                  <a:pt x="0" y="48"/>
                </a:lnTo>
                <a:lnTo>
                  <a:pt x="0" y="40"/>
                </a:lnTo>
                <a:lnTo>
                  <a:pt x="0" y="34"/>
                </a:lnTo>
                <a:lnTo>
                  <a:pt x="0" y="34"/>
                </a:lnTo>
                <a:lnTo>
                  <a:pt x="10" y="24"/>
                </a:lnTo>
                <a:lnTo>
                  <a:pt x="10" y="24"/>
                </a:lnTo>
                <a:lnTo>
                  <a:pt x="42" y="6"/>
                </a:lnTo>
                <a:lnTo>
                  <a:pt x="42" y="6"/>
                </a:lnTo>
                <a:lnTo>
                  <a:pt x="50" y="2"/>
                </a:lnTo>
                <a:lnTo>
                  <a:pt x="56" y="0"/>
                </a:lnTo>
                <a:lnTo>
                  <a:pt x="62" y="0"/>
                </a:lnTo>
                <a:lnTo>
                  <a:pt x="70" y="2"/>
                </a:lnTo>
                <a:lnTo>
                  <a:pt x="70" y="2"/>
                </a:lnTo>
                <a:lnTo>
                  <a:pt x="78" y="10"/>
                </a:lnTo>
                <a:lnTo>
                  <a:pt x="78" y="10"/>
                </a:lnTo>
                <a:lnTo>
                  <a:pt x="80" y="22"/>
                </a:lnTo>
                <a:lnTo>
                  <a:pt x="80" y="30"/>
                </a:lnTo>
                <a:lnTo>
                  <a:pt x="74" y="36"/>
                </a:lnTo>
                <a:lnTo>
                  <a:pt x="64" y="44"/>
                </a:lnTo>
                <a:lnTo>
                  <a:pt x="64" y="44"/>
                </a:lnTo>
                <a:lnTo>
                  <a:pt x="34" y="62"/>
                </a:lnTo>
                <a:lnTo>
                  <a:pt x="34" y="62"/>
                </a:lnTo>
                <a:lnTo>
                  <a:pt x="24" y="64"/>
                </a:lnTo>
                <a:lnTo>
                  <a:pt x="14" y="64"/>
                </a:lnTo>
                <a:lnTo>
                  <a:pt x="14" y="6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Montserrat" panose="00000500000000000000"/>
              <a:cs typeface="Arial" panose="020B0604020202020204" pitchFamily="34" charset="0"/>
            </a:endParaRPr>
          </a:p>
        </p:txBody>
      </p:sp>
      <p:sp>
        <p:nvSpPr>
          <p:cNvPr id="54" name="Freeform 21"/>
          <p:cNvSpPr>
            <a:spLocks/>
          </p:cNvSpPr>
          <p:nvPr/>
        </p:nvSpPr>
        <p:spPr bwMode="auto">
          <a:xfrm>
            <a:off x="6304303" y="3996957"/>
            <a:ext cx="0" cy="620"/>
          </a:xfrm>
          <a:custGeom>
            <a:avLst/>
            <a:gdLst>
              <a:gd name="T0" fmla="*/ 2 h 2"/>
              <a:gd name="T1" fmla="*/ 2 h 2"/>
              <a:gd name="T2" fmla="*/ 0 h 2"/>
              <a:gd name="T3" fmla="*/ 0 h 2"/>
              <a:gd name="T4" fmla="*/ 2 h 2"/>
              <a:gd name="T5" fmla="*/ 2 h 2"/>
              <a:gd name="T6" fmla="*/ 2 h 2"/>
              <a:gd name="T7" fmla="*/ 2 h 2"/>
            </a:gdLst>
            <a:ahLst/>
            <a:cxnLst>
              <a:cxn ang="0">
                <a:pos x="0" y="T0"/>
              </a:cxn>
              <a:cxn ang="0">
                <a:pos x="0" y="T1"/>
              </a:cxn>
              <a:cxn ang="0">
                <a:pos x="0" y="T2"/>
              </a:cxn>
              <a:cxn ang="0">
                <a:pos x="0" y="T3"/>
              </a:cxn>
              <a:cxn ang="0">
                <a:pos x="0" y="T4"/>
              </a:cxn>
              <a:cxn ang="0">
                <a:pos x="0" y="T5"/>
              </a:cxn>
              <a:cxn ang="0">
                <a:pos x="0" y="T6"/>
              </a:cxn>
              <a:cxn ang="0">
                <a:pos x="0" y="T7"/>
              </a:cxn>
            </a:cxnLst>
            <a:rect l="0" t="0" r="r" b="b"/>
            <a:pathLst>
              <a:path h="2">
                <a:moveTo>
                  <a:pt x="0" y="2"/>
                </a:moveTo>
                <a:lnTo>
                  <a:pt x="0" y="2"/>
                </a:lnTo>
                <a:lnTo>
                  <a:pt x="0" y="0"/>
                </a:lnTo>
                <a:lnTo>
                  <a:pt x="0" y="0"/>
                </a:lnTo>
                <a:lnTo>
                  <a:pt x="0" y="2"/>
                </a:lnTo>
                <a:lnTo>
                  <a:pt x="0" y="2"/>
                </a:lnTo>
                <a:lnTo>
                  <a:pt x="0" y="2"/>
                </a:lnTo>
                <a:lnTo>
                  <a:pt x="0" y="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Montserrat" panose="00000500000000000000"/>
              <a:cs typeface="Arial" panose="020B0604020202020204" pitchFamily="34" charset="0"/>
            </a:endParaRPr>
          </a:p>
        </p:txBody>
      </p:sp>
      <p:grpSp>
        <p:nvGrpSpPr>
          <p:cNvPr id="55" name="Group 54"/>
          <p:cNvGrpSpPr/>
          <p:nvPr/>
        </p:nvGrpSpPr>
        <p:grpSpPr>
          <a:xfrm>
            <a:off x="1247103" y="4428433"/>
            <a:ext cx="864939" cy="864939"/>
            <a:chOff x="1037633" y="5182536"/>
            <a:chExt cx="864939" cy="864939"/>
          </a:xfrm>
        </p:grpSpPr>
        <p:sp>
          <p:nvSpPr>
            <p:cNvPr id="56" name="Oval 20"/>
            <p:cNvSpPr>
              <a:spLocks noChangeArrowheads="1"/>
            </p:cNvSpPr>
            <p:nvPr/>
          </p:nvSpPr>
          <p:spPr bwMode="auto">
            <a:xfrm>
              <a:off x="1037633" y="5182536"/>
              <a:ext cx="864939" cy="864939"/>
            </a:xfrm>
            <a:prstGeom prst="ellipse">
              <a:avLst/>
            </a:prstGeom>
            <a:solidFill>
              <a:srgbClr val="FFFFFF"/>
            </a:solidFill>
            <a:ln w="19050">
              <a:solidFill>
                <a:schemeClr val="accent1"/>
              </a:solidFill>
              <a:round/>
              <a:headEnd/>
              <a:tailEnd/>
            </a:ln>
            <a:effectLst>
              <a:outerShdw blurRad="63500" sx="102000" sy="102000" algn="ctr"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en-US" sz="1200">
                <a:latin typeface="Montserrat" panose="00000500000000000000"/>
              </a:endParaRPr>
            </a:p>
          </p:txBody>
        </p:sp>
        <p:sp>
          <p:nvSpPr>
            <p:cNvPr id="57" name="Oval 56"/>
            <p:cNvSpPr>
              <a:spLocks noChangeArrowheads="1"/>
            </p:cNvSpPr>
            <p:nvPr/>
          </p:nvSpPr>
          <p:spPr bwMode="auto">
            <a:xfrm>
              <a:off x="1124284" y="5278054"/>
              <a:ext cx="682341" cy="682341"/>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sz="1200">
                <a:latin typeface="Montserrat" panose="00000500000000000000"/>
              </a:endParaRPr>
            </a:p>
          </p:txBody>
        </p:sp>
      </p:grpSp>
      <p:pic>
        <p:nvPicPr>
          <p:cNvPr id="58" name="Picture 7" descr="https://arisglobal.com/wp-content/uploads/2020/05/Lifesphere-safety.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398699" y="4592601"/>
            <a:ext cx="552450" cy="552451"/>
          </a:xfrm>
          <a:prstGeom prst="rect">
            <a:avLst/>
          </a:prstGeom>
          <a:noFill/>
          <a:extLst>
            <a:ext uri="{909E8E84-426E-40DD-AFC4-6F175D3DCCD1}">
              <a14:hiddenFill xmlns:a14="http://schemas.microsoft.com/office/drawing/2010/main">
                <a:solidFill>
                  <a:srgbClr val="FFFFFF"/>
                </a:solidFill>
              </a14:hiddenFill>
            </a:ext>
          </a:extLst>
        </p:spPr>
      </p:pic>
      <p:sp>
        <p:nvSpPr>
          <p:cNvPr id="59" name="Rectangle 58"/>
          <p:cNvSpPr/>
          <p:nvPr/>
        </p:nvSpPr>
        <p:spPr>
          <a:xfrm>
            <a:off x="976510" y="3687522"/>
            <a:ext cx="1543609" cy="4473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22363" tIns="61181" rIns="122363" bIns="61181" rtlCol="0" anchor="ctr"/>
          <a:lstStyle/>
          <a:p>
            <a:pPr algn="ctr"/>
            <a:r>
              <a:rPr lang="en-GB" sz="1400" b="1" dirty="0">
                <a:solidFill>
                  <a:schemeClr val="tx1"/>
                </a:solidFill>
                <a:latin typeface="Montserrat" panose="00000500000000000000"/>
                <a:cs typeface="Calibri" panose="020F0502020204030204" pitchFamily="34" charset="0"/>
              </a:rPr>
              <a:t>1994</a:t>
            </a:r>
          </a:p>
          <a:p>
            <a:pPr algn="ctr"/>
            <a:r>
              <a:rPr lang="en-GB" sz="1400" b="1" dirty="0">
                <a:solidFill>
                  <a:schemeClr val="tx1"/>
                </a:solidFill>
                <a:latin typeface="Montserrat" panose="00000500000000000000"/>
                <a:cs typeface="Calibri" panose="020F0502020204030204" pitchFamily="34" charset="0"/>
              </a:rPr>
              <a:t>KIS in Kinder-</a:t>
            </a:r>
            <a:r>
              <a:rPr lang="en-GB" sz="1400" b="1" dirty="0" err="1">
                <a:solidFill>
                  <a:schemeClr val="tx1"/>
                </a:solidFill>
                <a:latin typeface="Montserrat" panose="00000500000000000000"/>
                <a:cs typeface="Calibri" panose="020F0502020204030204" pitchFamily="34" charset="0"/>
              </a:rPr>
              <a:t>schuhen</a:t>
            </a:r>
            <a:endParaRPr lang="en-GB" sz="1400" b="1" dirty="0">
              <a:solidFill>
                <a:schemeClr val="tx1"/>
              </a:solidFill>
              <a:latin typeface="Montserrat" panose="00000500000000000000"/>
              <a:cs typeface="Calibri" panose="020F0502020204030204" pitchFamily="34" charset="0"/>
            </a:endParaRPr>
          </a:p>
          <a:p>
            <a:pPr algn="ctr"/>
            <a:r>
              <a:rPr lang="en-GB" sz="1400" b="1" dirty="0" err="1">
                <a:solidFill>
                  <a:schemeClr val="tx1"/>
                </a:solidFill>
                <a:latin typeface="Montserrat" panose="00000500000000000000"/>
                <a:cs typeface="Calibri" panose="020F0502020204030204" pitchFamily="34" charset="0"/>
              </a:rPr>
              <a:t>Scannen</a:t>
            </a:r>
            <a:r>
              <a:rPr lang="en-GB" sz="1400" b="1" dirty="0">
                <a:solidFill>
                  <a:schemeClr val="tx1"/>
                </a:solidFill>
                <a:latin typeface="Montserrat" panose="00000500000000000000"/>
                <a:cs typeface="Calibri" panose="020F0502020204030204" pitchFamily="34" charset="0"/>
              </a:rPr>
              <a:t> s/w</a:t>
            </a:r>
          </a:p>
        </p:txBody>
      </p:sp>
      <p:grpSp>
        <p:nvGrpSpPr>
          <p:cNvPr id="60" name="Group 59"/>
          <p:cNvGrpSpPr/>
          <p:nvPr/>
        </p:nvGrpSpPr>
        <p:grpSpPr>
          <a:xfrm>
            <a:off x="10138588" y="1542832"/>
            <a:ext cx="864939" cy="864939"/>
            <a:chOff x="9014863" y="1718775"/>
            <a:chExt cx="864939" cy="864939"/>
          </a:xfrm>
        </p:grpSpPr>
        <p:sp>
          <p:nvSpPr>
            <p:cNvPr id="61" name="Oval 11"/>
            <p:cNvSpPr>
              <a:spLocks noChangeArrowheads="1"/>
            </p:cNvSpPr>
            <p:nvPr/>
          </p:nvSpPr>
          <p:spPr bwMode="auto">
            <a:xfrm>
              <a:off x="9014863" y="1718775"/>
              <a:ext cx="864939" cy="864939"/>
            </a:xfrm>
            <a:prstGeom prst="ellipse">
              <a:avLst/>
            </a:prstGeom>
            <a:solidFill>
              <a:srgbClr val="FFFFFF"/>
            </a:solidFill>
            <a:ln w="19050">
              <a:solidFill>
                <a:schemeClr val="accent3"/>
              </a:solidFill>
              <a:round/>
              <a:headEnd/>
              <a:tailEnd/>
            </a:ln>
          </p:spPr>
          <p:txBody>
            <a:bodyPr vert="horz" wrap="square" lIns="91440" tIns="45720" rIns="91440" bIns="45720" numCol="1" anchor="t" anchorCtr="0" compatLnSpc="1">
              <a:prstTxWarp prst="textNoShape">
                <a:avLst/>
              </a:prstTxWarp>
            </a:bodyPr>
            <a:lstStyle/>
            <a:p>
              <a:endParaRPr lang="en-US" sz="2400">
                <a:latin typeface="Montserrat" panose="00000500000000000000"/>
              </a:endParaRPr>
            </a:p>
          </p:txBody>
        </p:sp>
        <p:sp>
          <p:nvSpPr>
            <p:cNvPr id="62" name="Oval 13"/>
            <p:cNvSpPr>
              <a:spLocks noChangeArrowheads="1"/>
            </p:cNvSpPr>
            <p:nvPr/>
          </p:nvSpPr>
          <p:spPr bwMode="auto">
            <a:xfrm>
              <a:off x="9106162" y="1810075"/>
              <a:ext cx="682341" cy="682341"/>
            </a:xfrm>
            <a:prstGeom prst="ellipse">
              <a:avLst/>
            </a:prstGeom>
            <a:solidFill>
              <a:schemeClr val="accent3"/>
            </a:solidFill>
            <a:ln>
              <a:noFill/>
            </a:ln>
          </p:spPr>
          <p:txBody>
            <a:bodyPr vert="horz" wrap="square" lIns="91440" tIns="45720" rIns="91440" bIns="45720" numCol="1" anchor="t" anchorCtr="0" compatLnSpc="1">
              <a:prstTxWarp prst="textNoShape">
                <a:avLst/>
              </a:prstTxWarp>
            </a:bodyPr>
            <a:lstStyle/>
            <a:p>
              <a:endParaRPr lang="en-US" sz="2400">
                <a:latin typeface="Montserrat" panose="00000500000000000000"/>
              </a:endParaRPr>
            </a:p>
          </p:txBody>
        </p:sp>
        <p:sp>
          <p:nvSpPr>
            <p:cNvPr id="63" name="Freeform 5">
              <a:extLst>
                <a:ext uri="{FF2B5EF4-FFF2-40B4-BE49-F238E27FC236}">
                  <a16:creationId xmlns:a16="http://schemas.microsoft.com/office/drawing/2014/main" id="{531C89CB-B328-4C6B-B9D2-949493C1A472}"/>
                </a:ext>
              </a:extLst>
            </p:cNvPr>
            <p:cNvSpPr>
              <a:spLocks noEditPoints="1"/>
            </p:cNvSpPr>
            <p:nvPr/>
          </p:nvSpPr>
          <p:spPr bwMode="auto">
            <a:xfrm>
              <a:off x="9227724" y="1982636"/>
              <a:ext cx="439585" cy="409411"/>
            </a:xfrm>
            <a:custGeom>
              <a:avLst/>
              <a:gdLst>
                <a:gd name="T0" fmla="*/ 1024 w 1104"/>
                <a:gd name="T1" fmla="*/ 383 h 1042"/>
                <a:gd name="T2" fmla="*/ 552 w 1104"/>
                <a:gd name="T3" fmla="*/ 25 h 1042"/>
                <a:gd name="T4" fmla="*/ 80 w 1104"/>
                <a:gd name="T5" fmla="*/ 383 h 1042"/>
                <a:gd name="T6" fmla="*/ 8 w 1104"/>
                <a:gd name="T7" fmla="*/ 561 h 1042"/>
                <a:gd name="T8" fmla="*/ 53 w 1104"/>
                <a:gd name="T9" fmla="*/ 604 h 1042"/>
                <a:gd name="T10" fmla="*/ 61 w 1104"/>
                <a:gd name="T11" fmla="*/ 704 h 1042"/>
                <a:gd name="T12" fmla="*/ 87 w 1104"/>
                <a:gd name="T13" fmla="*/ 817 h 1042"/>
                <a:gd name="T14" fmla="*/ 223 w 1104"/>
                <a:gd name="T15" fmla="*/ 856 h 1042"/>
                <a:gd name="T16" fmla="*/ 290 w 1104"/>
                <a:gd name="T17" fmla="*/ 904 h 1042"/>
                <a:gd name="T18" fmla="*/ 299 w 1104"/>
                <a:gd name="T19" fmla="*/ 1042 h 1042"/>
                <a:gd name="T20" fmla="*/ 686 w 1104"/>
                <a:gd name="T21" fmla="*/ 1011 h 1042"/>
                <a:gd name="T22" fmla="*/ 594 w 1104"/>
                <a:gd name="T23" fmla="*/ 931 h 1042"/>
                <a:gd name="T24" fmla="*/ 715 w 1104"/>
                <a:gd name="T25" fmla="*/ 638 h 1042"/>
                <a:gd name="T26" fmla="*/ 809 w 1104"/>
                <a:gd name="T27" fmla="*/ 249 h 1042"/>
                <a:gd name="T28" fmla="*/ 812 w 1104"/>
                <a:gd name="T29" fmla="*/ 89 h 1042"/>
                <a:gd name="T30" fmla="*/ 992 w 1104"/>
                <a:gd name="T31" fmla="*/ 453 h 1042"/>
                <a:gd name="T32" fmla="*/ 1055 w 1104"/>
                <a:gd name="T33" fmla="*/ 554 h 1042"/>
                <a:gd name="T34" fmla="*/ 1020 w 1104"/>
                <a:gd name="T35" fmla="*/ 640 h 1042"/>
                <a:gd name="T36" fmla="*/ 997 w 1104"/>
                <a:gd name="T37" fmla="*/ 661 h 1042"/>
                <a:gd name="T38" fmla="*/ 1007 w 1104"/>
                <a:gd name="T39" fmla="*/ 686 h 1042"/>
                <a:gd name="T40" fmla="*/ 930 w 1104"/>
                <a:gd name="T41" fmla="*/ 814 h 1042"/>
                <a:gd name="T42" fmla="*/ 830 w 1104"/>
                <a:gd name="T43" fmla="*/ 818 h 1042"/>
                <a:gd name="T44" fmla="*/ 785 w 1104"/>
                <a:gd name="T45" fmla="*/ 1025 h 1042"/>
                <a:gd name="T46" fmla="*/ 824 w 1104"/>
                <a:gd name="T47" fmla="*/ 1020 h 1042"/>
                <a:gd name="T48" fmla="*/ 833 w 1104"/>
                <a:gd name="T49" fmla="*/ 858 h 1042"/>
                <a:gd name="T50" fmla="*/ 930 w 1104"/>
                <a:gd name="T51" fmla="*/ 854 h 1042"/>
                <a:gd name="T52" fmla="*/ 1040 w 1104"/>
                <a:gd name="T53" fmla="*/ 708 h 1042"/>
                <a:gd name="T54" fmla="*/ 1049 w 1104"/>
                <a:gd name="T55" fmla="*/ 670 h 1042"/>
                <a:gd name="T56" fmla="*/ 1058 w 1104"/>
                <a:gd name="T57" fmla="*/ 594 h 1042"/>
                <a:gd name="T58" fmla="*/ 323 w 1104"/>
                <a:gd name="T59" fmla="*/ 996 h 1042"/>
                <a:gd name="T60" fmla="*/ 274 w 1104"/>
                <a:gd name="T61" fmla="*/ 818 h 1042"/>
                <a:gd name="T62" fmla="*/ 174 w 1104"/>
                <a:gd name="T63" fmla="*/ 814 h 1042"/>
                <a:gd name="T64" fmla="*/ 97 w 1104"/>
                <a:gd name="T65" fmla="*/ 686 h 1042"/>
                <a:gd name="T66" fmla="*/ 107 w 1104"/>
                <a:gd name="T67" fmla="*/ 661 h 1042"/>
                <a:gd name="T68" fmla="*/ 84 w 1104"/>
                <a:gd name="T69" fmla="*/ 640 h 1042"/>
                <a:gd name="T70" fmla="*/ 49 w 1104"/>
                <a:gd name="T71" fmla="*/ 554 h 1042"/>
                <a:gd name="T72" fmla="*/ 112 w 1104"/>
                <a:gd name="T73" fmla="*/ 453 h 1042"/>
                <a:gd name="T74" fmla="*/ 292 w 1104"/>
                <a:gd name="T75" fmla="*/ 89 h 1042"/>
                <a:gd name="T76" fmla="*/ 295 w 1104"/>
                <a:gd name="T77" fmla="*/ 249 h 1042"/>
                <a:gd name="T78" fmla="*/ 389 w 1104"/>
                <a:gd name="T79" fmla="*/ 638 h 1042"/>
                <a:gd name="T80" fmla="*/ 510 w 1104"/>
                <a:gd name="T81" fmla="*/ 931 h 1042"/>
                <a:gd name="T82" fmla="*/ 601 w 1104"/>
                <a:gd name="T83" fmla="*/ 486 h 1042"/>
                <a:gd name="T84" fmla="*/ 639 w 1104"/>
                <a:gd name="T85" fmla="*/ 489 h 1042"/>
                <a:gd name="T86" fmla="*/ 601 w 1104"/>
                <a:gd name="T87" fmla="*/ 506 h 1042"/>
                <a:gd name="T88" fmla="*/ 562 w 1104"/>
                <a:gd name="T89" fmla="*/ 664 h 1042"/>
                <a:gd name="T90" fmla="*/ 500 w 1104"/>
                <a:gd name="T91" fmla="*/ 506 h 1042"/>
                <a:gd name="T92" fmla="*/ 462 w 1104"/>
                <a:gd name="T93" fmla="*/ 486 h 1042"/>
                <a:gd name="T94" fmla="*/ 500 w 1104"/>
                <a:gd name="T95" fmla="*/ 483 h 1042"/>
                <a:gd name="T96" fmla="*/ 648 w 1104"/>
                <a:gd name="T97" fmla="*/ 753 h 1042"/>
                <a:gd name="T98" fmla="*/ 656 w 1104"/>
                <a:gd name="T99" fmla="*/ 708 h 1042"/>
                <a:gd name="T100" fmla="*/ 643 w 1104"/>
                <a:gd name="T101" fmla="*/ 793 h 1042"/>
                <a:gd name="T102" fmla="*/ 497 w 1104"/>
                <a:gd name="T103" fmla="*/ 873 h 1042"/>
                <a:gd name="T104" fmla="*/ 497 w 1104"/>
                <a:gd name="T105" fmla="*/ 873 h 1042"/>
                <a:gd name="T106" fmla="*/ 725 w 1104"/>
                <a:gd name="T107" fmla="*/ 521 h 1042"/>
                <a:gd name="T108" fmla="*/ 602 w 1104"/>
                <a:gd name="T109" fmla="*/ 668 h 1042"/>
                <a:gd name="T110" fmla="*/ 679 w 1104"/>
                <a:gd name="T111" fmla="*/ 499 h 1042"/>
                <a:gd name="T112" fmla="*/ 608 w 1104"/>
                <a:gd name="T113" fmla="*/ 440 h 1042"/>
                <a:gd name="T114" fmla="*/ 561 w 1104"/>
                <a:gd name="T115" fmla="*/ 507 h 1042"/>
                <a:gd name="T116" fmla="*/ 497 w 1104"/>
                <a:gd name="T117" fmla="*/ 440 h 1042"/>
                <a:gd name="T118" fmla="*/ 422 w 1104"/>
                <a:gd name="T119" fmla="*/ 503 h 1042"/>
                <a:gd name="T120" fmla="*/ 500 w 1104"/>
                <a:gd name="T121" fmla="*/ 668 h 1042"/>
                <a:gd name="T122" fmla="*/ 379 w 1104"/>
                <a:gd name="T123" fmla="*/ 521 h 1042"/>
                <a:gd name="T124" fmla="*/ 552 w 1104"/>
                <a:gd name="T125" fmla="*/ 66 h 10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04" h="1042">
                  <a:moveTo>
                    <a:pt x="1074" y="494"/>
                  </a:moveTo>
                  <a:cubicBezTo>
                    <a:pt x="1056" y="480"/>
                    <a:pt x="1040" y="460"/>
                    <a:pt x="1027" y="434"/>
                  </a:cubicBezTo>
                  <a:cubicBezTo>
                    <a:pt x="1019" y="418"/>
                    <a:pt x="1021" y="403"/>
                    <a:pt x="1024" y="383"/>
                  </a:cubicBezTo>
                  <a:cubicBezTo>
                    <a:pt x="1025" y="377"/>
                    <a:pt x="1026" y="371"/>
                    <a:pt x="1026" y="364"/>
                  </a:cubicBezTo>
                  <a:cubicBezTo>
                    <a:pt x="1041" y="226"/>
                    <a:pt x="935" y="106"/>
                    <a:pt x="830" y="53"/>
                  </a:cubicBezTo>
                  <a:cubicBezTo>
                    <a:pt x="744" y="9"/>
                    <a:pt x="645" y="0"/>
                    <a:pt x="552" y="25"/>
                  </a:cubicBezTo>
                  <a:cubicBezTo>
                    <a:pt x="459" y="0"/>
                    <a:pt x="360" y="9"/>
                    <a:pt x="274" y="53"/>
                  </a:cubicBezTo>
                  <a:cubicBezTo>
                    <a:pt x="169" y="106"/>
                    <a:pt x="63" y="226"/>
                    <a:pt x="78" y="364"/>
                  </a:cubicBezTo>
                  <a:cubicBezTo>
                    <a:pt x="78" y="371"/>
                    <a:pt x="79" y="377"/>
                    <a:pt x="80" y="383"/>
                  </a:cubicBezTo>
                  <a:cubicBezTo>
                    <a:pt x="83" y="403"/>
                    <a:pt x="85" y="418"/>
                    <a:pt x="77" y="434"/>
                  </a:cubicBezTo>
                  <a:cubicBezTo>
                    <a:pt x="64" y="460"/>
                    <a:pt x="48" y="480"/>
                    <a:pt x="30" y="494"/>
                  </a:cubicBezTo>
                  <a:cubicBezTo>
                    <a:pt x="9" y="511"/>
                    <a:pt x="0" y="537"/>
                    <a:pt x="8" y="561"/>
                  </a:cubicBezTo>
                  <a:cubicBezTo>
                    <a:pt x="13" y="579"/>
                    <a:pt x="28" y="592"/>
                    <a:pt x="46" y="594"/>
                  </a:cubicBezTo>
                  <a:cubicBezTo>
                    <a:pt x="48" y="594"/>
                    <a:pt x="49" y="595"/>
                    <a:pt x="50" y="596"/>
                  </a:cubicBezTo>
                  <a:cubicBezTo>
                    <a:pt x="52" y="598"/>
                    <a:pt x="53" y="602"/>
                    <a:pt x="53" y="604"/>
                  </a:cubicBezTo>
                  <a:cubicBezTo>
                    <a:pt x="49" y="614"/>
                    <a:pt x="33" y="657"/>
                    <a:pt x="55" y="670"/>
                  </a:cubicBezTo>
                  <a:cubicBezTo>
                    <a:pt x="56" y="671"/>
                    <a:pt x="58" y="672"/>
                    <a:pt x="59" y="672"/>
                  </a:cubicBezTo>
                  <a:cubicBezTo>
                    <a:pt x="55" y="682"/>
                    <a:pt x="53" y="693"/>
                    <a:pt x="61" y="704"/>
                  </a:cubicBezTo>
                  <a:cubicBezTo>
                    <a:pt x="62" y="705"/>
                    <a:pt x="63" y="707"/>
                    <a:pt x="64" y="708"/>
                  </a:cubicBezTo>
                  <a:cubicBezTo>
                    <a:pt x="67" y="712"/>
                    <a:pt x="76" y="724"/>
                    <a:pt x="77" y="730"/>
                  </a:cubicBezTo>
                  <a:cubicBezTo>
                    <a:pt x="72" y="751"/>
                    <a:pt x="65" y="791"/>
                    <a:pt x="87" y="817"/>
                  </a:cubicBezTo>
                  <a:cubicBezTo>
                    <a:pt x="107" y="841"/>
                    <a:pt x="138" y="854"/>
                    <a:pt x="174" y="854"/>
                  </a:cubicBezTo>
                  <a:cubicBezTo>
                    <a:pt x="174" y="854"/>
                    <a:pt x="174" y="854"/>
                    <a:pt x="174" y="854"/>
                  </a:cubicBezTo>
                  <a:cubicBezTo>
                    <a:pt x="190" y="854"/>
                    <a:pt x="206" y="855"/>
                    <a:pt x="223" y="856"/>
                  </a:cubicBezTo>
                  <a:cubicBezTo>
                    <a:pt x="239" y="857"/>
                    <a:pt x="255" y="858"/>
                    <a:pt x="271" y="858"/>
                  </a:cubicBezTo>
                  <a:cubicBezTo>
                    <a:pt x="275" y="860"/>
                    <a:pt x="287" y="865"/>
                    <a:pt x="288" y="886"/>
                  </a:cubicBezTo>
                  <a:cubicBezTo>
                    <a:pt x="289" y="893"/>
                    <a:pt x="290" y="899"/>
                    <a:pt x="290" y="904"/>
                  </a:cubicBezTo>
                  <a:cubicBezTo>
                    <a:pt x="292" y="921"/>
                    <a:pt x="293" y="927"/>
                    <a:pt x="280" y="1020"/>
                  </a:cubicBezTo>
                  <a:cubicBezTo>
                    <a:pt x="279" y="1026"/>
                    <a:pt x="281" y="1032"/>
                    <a:pt x="286" y="1037"/>
                  </a:cubicBezTo>
                  <a:cubicBezTo>
                    <a:pt x="289" y="1040"/>
                    <a:pt x="294" y="1042"/>
                    <a:pt x="299" y="1042"/>
                  </a:cubicBezTo>
                  <a:cubicBezTo>
                    <a:pt x="301" y="1042"/>
                    <a:pt x="302" y="1042"/>
                    <a:pt x="303" y="1042"/>
                  </a:cubicBezTo>
                  <a:cubicBezTo>
                    <a:pt x="311" y="1041"/>
                    <a:pt x="438" y="1015"/>
                    <a:pt x="552" y="955"/>
                  </a:cubicBezTo>
                  <a:cubicBezTo>
                    <a:pt x="598" y="979"/>
                    <a:pt x="646" y="997"/>
                    <a:pt x="686" y="1011"/>
                  </a:cubicBezTo>
                  <a:cubicBezTo>
                    <a:pt x="697" y="1014"/>
                    <a:pt x="708" y="1009"/>
                    <a:pt x="712" y="998"/>
                  </a:cubicBezTo>
                  <a:cubicBezTo>
                    <a:pt x="715" y="988"/>
                    <a:pt x="709" y="976"/>
                    <a:pt x="699" y="973"/>
                  </a:cubicBezTo>
                  <a:cubicBezTo>
                    <a:pt x="667" y="962"/>
                    <a:pt x="630" y="948"/>
                    <a:pt x="594" y="931"/>
                  </a:cubicBezTo>
                  <a:cubicBezTo>
                    <a:pt x="623" y="913"/>
                    <a:pt x="649" y="893"/>
                    <a:pt x="671" y="870"/>
                  </a:cubicBezTo>
                  <a:cubicBezTo>
                    <a:pt x="675" y="867"/>
                    <a:pt x="676" y="862"/>
                    <a:pt x="677" y="858"/>
                  </a:cubicBezTo>
                  <a:cubicBezTo>
                    <a:pt x="683" y="786"/>
                    <a:pt x="692" y="710"/>
                    <a:pt x="715" y="638"/>
                  </a:cubicBezTo>
                  <a:cubicBezTo>
                    <a:pt x="727" y="603"/>
                    <a:pt x="741" y="571"/>
                    <a:pt x="759" y="541"/>
                  </a:cubicBezTo>
                  <a:cubicBezTo>
                    <a:pt x="812" y="451"/>
                    <a:pt x="830" y="345"/>
                    <a:pt x="809" y="249"/>
                  </a:cubicBezTo>
                  <a:cubicBezTo>
                    <a:pt x="809" y="249"/>
                    <a:pt x="809" y="249"/>
                    <a:pt x="809" y="249"/>
                  </a:cubicBezTo>
                  <a:cubicBezTo>
                    <a:pt x="787" y="162"/>
                    <a:pt x="710" y="102"/>
                    <a:pt x="666" y="74"/>
                  </a:cubicBezTo>
                  <a:cubicBezTo>
                    <a:pt x="653" y="66"/>
                    <a:pt x="640" y="59"/>
                    <a:pt x="627" y="52"/>
                  </a:cubicBezTo>
                  <a:cubicBezTo>
                    <a:pt x="690" y="48"/>
                    <a:pt x="754" y="60"/>
                    <a:pt x="812" y="89"/>
                  </a:cubicBezTo>
                  <a:cubicBezTo>
                    <a:pt x="908" y="138"/>
                    <a:pt x="999" y="246"/>
                    <a:pt x="987" y="360"/>
                  </a:cubicBezTo>
                  <a:cubicBezTo>
                    <a:pt x="986" y="366"/>
                    <a:pt x="985" y="371"/>
                    <a:pt x="984" y="377"/>
                  </a:cubicBezTo>
                  <a:cubicBezTo>
                    <a:pt x="981" y="401"/>
                    <a:pt x="977" y="425"/>
                    <a:pt x="992" y="453"/>
                  </a:cubicBezTo>
                  <a:cubicBezTo>
                    <a:pt x="1007" y="483"/>
                    <a:pt x="1027" y="508"/>
                    <a:pt x="1049" y="525"/>
                  </a:cubicBezTo>
                  <a:cubicBezTo>
                    <a:pt x="1059" y="533"/>
                    <a:pt x="1060" y="543"/>
                    <a:pt x="1058" y="549"/>
                  </a:cubicBezTo>
                  <a:cubicBezTo>
                    <a:pt x="1057" y="552"/>
                    <a:pt x="1055" y="554"/>
                    <a:pt x="1055" y="554"/>
                  </a:cubicBezTo>
                  <a:cubicBezTo>
                    <a:pt x="1039" y="555"/>
                    <a:pt x="1026" y="564"/>
                    <a:pt x="1018" y="578"/>
                  </a:cubicBezTo>
                  <a:cubicBezTo>
                    <a:pt x="1010" y="591"/>
                    <a:pt x="1009" y="608"/>
                    <a:pt x="1014" y="619"/>
                  </a:cubicBezTo>
                  <a:cubicBezTo>
                    <a:pt x="1016" y="623"/>
                    <a:pt x="1019" y="633"/>
                    <a:pt x="1020" y="640"/>
                  </a:cubicBezTo>
                  <a:cubicBezTo>
                    <a:pt x="1019" y="641"/>
                    <a:pt x="1019" y="641"/>
                    <a:pt x="1018" y="641"/>
                  </a:cubicBezTo>
                  <a:cubicBezTo>
                    <a:pt x="1014" y="643"/>
                    <a:pt x="1010" y="646"/>
                    <a:pt x="1006" y="648"/>
                  </a:cubicBezTo>
                  <a:cubicBezTo>
                    <a:pt x="1001" y="651"/>
                    <a:pt x="998" y="655"/>
                    <a:pt x="997" y="661"/>
                  </a:cubicBezTo>
                  <a:cubicBezTo>
                    <a:pt x="996" y="666"/>
                    <a:pt x="997" y="672"/>
                    <a:pt x="999" y="676"/>
                  </a:cubicBezTo>
                  <a:cubicBezTo>
                    <a:pt x="1000" y="677"/>
                    <a:pt x="1002" y="679"/>
                    <a:pt x="1003" y="681"/>
                  </a:cubicBezTo>
                  <a:cubicBezTo>
                    <a:pt x="1004" y="682"/>
                    <a:pt x="1005" y="684"/>
                    <a:pt x="1007" y="686"/>
                  </a:cubicBezTo>
                  <a:cubicBezTo>
                    <a:pt x="995" y="702"/>
                    <a:pt x="984" y="720"/>
                    <a:pt x="988" y="737"/>
                  </a:cubicBezTo>
                  <a:cubicBezTo>
                    <a:pt x="991" y="751"/>
                    <a:pt x="997" y="779"/>
                    <a:pt x="987" y="791"/>
                  </a:cubicBezTo>
                  <a:cubicBezTo>
                    <a:pt x="971" y="810"/>
                    <a:pt x="947" y="814"/>
                    <a:pt x="930" y="814"/>
                  </a:cubicBezTo>
                  <a:cubicBezTo>
                    <a:pt x="930" y="814"/>
                    <a:pt x="930" y="814"/>
                    <a:pt x="930" y="814"/>
                  </a:cubicBezTo>
                  <a:cubicBezTo>
                    <a:pt x="913" y="814"/>
                    <a:pt x="895" y="815"/>
                    <a:pt x="879" y="816"/>
                  </a:cubicBezTo>
                  <a:cubicBezTo>
                    <a:pt x="863" y="817"/>
                    <a:pt x="846" y="818"/>
                    <a:pt x="830" y="818"/>
                  </a:cubicBezTo>
                  <a:cubicBezTo>
                    <a:pt x="817" y="818"/>
                    <a:pt x="779" y="834"/>
                    <a:pt x="776" y="883"/>
                  </a:cubicBezTo>
                  <a:cubicBezTo>
                    <a:pt x="775" y="890"/>
                    <a:pt x="775" y="895"/>
                    <a:pt x="774" y="899"/>
                  </a:cubicBezTo>
                  <a:cubicBezTo>
                    <a:pt x="772" y="922"/>
                    <a:pt x="772" y="932"/>
                    <a:pt x="785" y="1025"/>
                  </a:cubicBezTo>
                  <a:cubicBezTo>
                    <a:pt x="786" y="1035"/>
                    <a:pt x="795" y="1042"/>
                    <a:pt x="805" y="1042"/>
                  </a:cubicBezTo>
                  <a:cubicBezTo>
                    <a:pt x="805" y="1042"/>
                    <a:pt x="806" y="1042"/>
                    <a:pt x="807" y="1042"/>
                  </a:cubicBezTo>
                  <a:cubicBezTo>
                    <a:pt x="818" y="1041"/>
                    <a:pt x="826" y="1030"/>
                    <a:pt x="824" y="1020"/>
                  </a:cubicBezTo>
                  <a:cubicBezTo>
                    <a:pt x="811" y="927"/>
                    <a:pt x="812" y="921"/>
                    <a:pt x="814" y="904"/>
                  </a:cubicBezTo>
                  <a:cubicBezTo>
                    <a:pt x="814" y="899"/>
                    <a:pt x="815" y="893"/>
                    <a:pt x="816" y="886"/>
                  </a:cubicBezTo>
                  <a:cubicBezTo>
                    <a:pt x="817" y="865"/>
                    <a:pt x="829" y="860"/>
                    <a:pt x="833" y="858"/>
                  </a:cubicBezTo>
                  <a:cubicBezTo>
                    <a:pt x="849" y="858"/>
                    <a:pt x="865" y="857"/>
                    <a:pt x="881" y="856"/>
                  </a:cubicBezTo>
                  <a:cubicBezTo>
                    <a:pt x="898" y="855"/>
                    <a:pt x="913" y="854"/>
                    <a:pt x="929" y="854"/>
                  </a:cubicBezTo>
                  <a:cubicBezTo>
                    <a:pt x="930" y="854"/>
                    <a:pt x="930" y="854"/>
                    <a:pt x="930" y="854"/>
                  </a:cubicBezTo>
                  <a:cubicBezTo>
                    <a:pt x="966" y="854"/>
                    <a:pt x="997" y="841"/>
                    <a:pt x="1017" y="817"/>
                  </a:cubicBezTo>
                  <a:cubicBezTo>
                    <a:pt x="1039" y="791"/>
                    <a:pt x="1032" y="751"/>
                    <a:pt x="1027" y="730"/>
                  </a:cubicBezTo>
                  <a:cubicBezTo>
                    <a:pt x="1028" y="724"/>
                    <a:pt x="1037" y="712"/>
                    <a:pt x="1040" y="708"/>
                  </a:cubicBezTo>
                  <a:cubicBezTo>
                    <a:pt x="1041" y="707"/>
                    <a:pt x="1042" y="705"/>
                    <a:pt x="1043" y="704"/>
                  </a:cubicBezTo>
                  <a:cubicBezTo>
                    <a:pt x="1051" y="693"/>
                    <a:pt x="1049" y="682"/>
                    <a:pt x="1045" y="672"/>
                  </a:cubicBezTo>
                  <a:cubicBezTo>
                    <a:pt x="1046" y="672"/>
                    <a:pt x="1048" y="671"/>
                    <a:pt x="1049" y="670"/>
                  </a:cubicBezTo>
                  <a:cubicBezTo>
                    <a:pt x="1071" y="657"/>
                    <a:pt x="1055" y="614"/>
                    <a:pt x="1051" y="604"/>
                  </a:cubicBezTo>
                  <a:cubicBezTo>
                    <a:pt x="1051" y="602"/>
                    <a:pt x="1052" y="598"/>
                    <a:pt x="1054" y="596"/>
                  </a:cubicBezTo>
                  <a:cubicBezTo>
                    <a:pt x="1055" y="595"/>
                    <a:pt x="1056" y="594"/>
                    <a:pt x="1058" y="594"/>
                  </a:cubicBezTo>
                  <a:cubicBezTo>
                    <a:pt x="1076" y="592"/>
                    <a:pt x="1091" y="579"/>
                    <a:pt x="1096" y="561"/>
                  </a:cubicBezTo>
                  <a:cubicBezTo>
                    <a:pt x="1104" y="537"/>
                    <a:pt x="1095" y="511"/>
                    <a:pt x="1074" y="494"/>
                  </a:cubicBezTo>
                  <a:close/>
                  <a:moveTo>
                    <a:pt x="323" y="996"/>
                  </a:moveTo>
                  <a:cubicBezTo>
                    <a:pt x="332" y="929"/>
                    <a:pt x="332" y="919"/>
                    <a:pt x="330" y="899"/>
                  </a:cubicBezTo>
                  <a:cubicBezTo>
                    <a:pt x="329" y="895"/>
                    <a:pt x="329" y="890"/>
                    <a:pt x="328" y="883"/>
                  </a:cubicBezTo>
                  <a:cubicBezTo>
                    <a:pt x="325" y="834"/>
                    <a:pt x="287" y="818"/>
                    <a:pt x="274" y="818"/>
                  </a:cubicBezTo>
                  <a:cubicBezTo>
                    <a:pt x="258" y="818"/>
                    <a:pt x="241" y="817"/>
                    <a:pt x="225" y="816"/>
                  </a:cubicBezTo>
                  <a:cubicBezTo>
                    <a:pt x="209" y="815"/>
                    <a:pt x="192" y="814"/>
                    <a:pt x="175" y="814"/>
                  </a:cubicBezTo>
                  <a:cubicBezTo>
                    <a:pt x="174" y="814"/>
                    <a:pt x="174" y="814"/>
                    <a:pt x="174" y="814"/>
                  </a:cubicBezTo>
                  <a:cubicBezTo>
                    <a:pt x="157" y="814"/>
                    <a:pt x="133" y="810"/>
                    <a:pt x="117" y="791"/>
                  </a:cubicBezTo>
                  <a:cubicBezTo>
                    <a:pt x="107" y="779"/>
                    <a:pt x="113" y="751"/>
                    <a:pt x="116" y="737"/>
                  </a:cubicBezTo>
                  <a:cubicBezTo>
                    <a:pt x="120" y="720"/>
                    <a:pt x="109" y="702"/>
                    <a:pt x="97" y="686"/>
                  </a:cubicBezTo>
                  <a:cubicBezTo>
                    <a:pt x="99" y="684"/>
                    <a:pt x="100" y="682"/>
                    <a:pt x="101" y="681"/>
                  </a:cubicBezTo>
                  <a:cubicBezTo>
                    <a:pt x="102" y="679"/>
                    <a:pt x="104" y="677"/>
                    <a:pt x="105" y="676"/>
                  </a:cubicBezTo>
                  <a:cubicBezTo>
                    <a:pt x="107" y="672"/>
                    <a:pt x="108" y="666"/>
                    <a:pt x="107" y="661"/>
                  </a:cubicBezTo>
                  <a:cubicBezTo>
                    <a:pt x="106" y="655"/>
                    <a:pt x="103" y="651"/>
                    <a:pt x="98" y="648"/>
                  </a:cubicBezTo>
                  <a:cubicBezTo>
                    <a:pt x="94" y="646"/>
                    <a:pt x="90" y="643"/>
                    <a:pt x="86" y="641"/>
                  </a:cubicBezTo>
                  <a:cubicBezTo>
                    <a:pt x="85" y="641"/>
                    <a:pt x="85" y="641"/>
                    <a:pt x="84" y="640"/>
                  </a:cubicBezTo>
                  <a:cubicBezTo>
                    <a:pt x="85" y="633"/>
                    <a:pt x="88" y="623"/>
                    <a:pt x="90" y="619"/>
                  </a:cubicBezTo>
                  <a:cubicBezTo>
                    <a:pt x="95" y="608"/>
                    <a:pt x="94" y="591"/>
                    <a:pt x="86" y="578"/>
                  </a:cubicBezTo>
                  <a:cubicBezTo>
                    <a:pt x="78" y="564"/>
                    <a:pt x="65" y="555"/>
                    <a:pt x="49" y="554"/>
                  </a:cubicBezTo>
                  <a:cubicBezTo>
                    <a:pt x="49" y="554"/>
                    <a:pt x="47" y="552"/>
                    <a:pt x="46" y="549"/>
                  </a:cubicBezTo>
                  <a:cubicBezTo>
                    <a:pt x="44" y="543"/>
                    <a:pt x="45" y="533"/>
                    <a:pt x="55" y="525"/>
                  </a:cubicBezTo>
                  <a:cubicBezTo>
                    <a:pt x="77" y="508"/>
                    <a:pt x="97" y="483"/>
                    <a:pt x="112" y="453"/>
                  </a:cubicBezTo>
                  <a:cubicBezTo>
                    <a:pt x="127" y="425"/>
                    <a:pt x="123" y="401"/>
                    <a:pt x="120" y="377"/>
                  </a:cubicBezTo>
                  <a:cubicBezTo>
                    <a:pt x="119" y="371"/>
                    <a:pt x="118" y="366"/>
                    <a:pt x="117" y="360"/>
                  </a:cubicBezTo>
                  <a:cubicBezTo>
                    <a:pt x="105" y="246"/>
                    <a:pt x="196" y="138"/>
                    <a:pt x="292" y="89"/>
                  </a:cubicBezTo>
                  <a:cubicBezTo>
                    <a:pt x="349" y="60"/>
                    <a:pt x="414" y="48"/>
                    <a:pt x="477" y="52"/>
                  </a:cubicBezTo>
                  <a:cubicBezTo>
                    <a:pt x="464" y="59"/>
                    <a:pt x="451" y="66"/>
                    <a:pt x="438" y="74"/>
                  </a:cubicBezTo>
                  <a:cubicBezTo>
                    <a:pt x="394" y="102"/>
                    <a:pt x="317" y="162"/>
                    <a:pt x="295" y="249"/>
                  </a:cubicBezTo>
                  <a:cubicBezTo>
                    <a:pt x="295" y="249"/>
                    <a:pt x="295" y="249"/>
                    <a:pt x="295" y="249"/>
                  </a:cubicBezTo>
                  <a:cubicBezTo>
                    <a:pt x="274" y="345"/>
                    <a:pt x="292" y="451"/>
                    <a:pt x="345" y="541"/>
                  </a:cubicBezTo>
                  <a:cubicBezTo>
                    <a:pt x="363" y="571"/>
                    <a:pt x="377" y="603"/>
                    <a:pt x="389" y="638"/>
                  </a:cubicBezTo>
                  <a:cubicBezTo>
                    <a:pt x="412" y="710"/>
                    <a:pt x="421" y="786"/>
                    <a:pt x="427" y="858"/>
                  </a:cubicBezTo>
                  <a:cubicBezTo>
                    <a:pt x="428" y="862"/>
                    <a:pt x="429" y="867"/>
                    <a:pt x="433" y="870"/>
                  </a:cubicBezTo>
                  <a:cubicBezTo>
                    <a:pt x="455" y="893"/>
                    <a:pt x="482" y="913"/>
                    <a:pt x="510" y="931"/>
                  </a:cubicBezTo>
                  <a:cubicBezTo>
                    <a:pt x="438" y="965"/>
                    <a:pt x="362" y="987"/>
                    <a:pt x="323" y="996"/>
                  </a:cubicBezTo>
                  <a:close/>
                  <a:moveTo>
                    <a:pt x="601" y="506"/>
                  </a:moveTo>
                  <a:cubicBezTo>
                    <a:pt x="601" y="486"/>
                    <a:pt x="601" y="486"/>
                    <a:pt x="601" y="486"/>
                  </a:cubicBezTo>
                  <a:cubicBezTo>
                    <a:pt x="601" y="483"/>
                    <a:pt x="604" y="480"/>
                    <a:pt x="608" y="480"/>
                  </a:cubicBezTo>
                  <a:cubicBezTo>
                    <a:pt x="629" y="480"/>
                    <a:pt x="629" y="480"/>
                    <a:pt x="629" y="480"/>
                  </a:cubicBezTo>
                  <a:cubicBezTo>
                    <a:pt x="634" y="480"/>
                    <a:pt x="639" y="484"/>
                    <a:pt x="639" y="489"/>
                  </a:cubicBezTo>
                  <a:cubicBezTo>
                    <a:pt x="639" y="499"/>
                    <a:pt x="639" y="499"/>
                    <a:pt x="639" y="499"/>
                  </a:cubicBezTo>
                  <a:cubicBezTo>
                    <a:pt x="639" y="503"/>
                    <a:pt x="635" y="506"/>
                    <a:pt x="632" y="506"/>
                  </a:cubicBezTo>
                  <a:lnTo>
                    <a:pt x="601" y="506"/>
                  </a:lnTo>
                  <a:close/>
                  <a:moveTo>
                    <a:pt x="540" y="547"/>
                  </a:moveTo>
                  <a:cubicBezTo>
                    <a:pt x="562" y="547"/>
                    <a:pt x="562" y="547"/>
                    <a:pt x="562" y="547"/>
                  </a:cubicBezTo>
                  <a:cubicBezTo>
                    <a:pt x="562" y="664"/>
                    <a:pt x="562" y="664"/>
                    <a:pt x="562" y="664"/>
                  </a:cubicBezTo>
                  <a:cubicBezTo>
                    <a:pt x="540" y="664"/>
                    <a:pt x="540" y="664"/>
                    <a:pt x="540" y="664"/>
                  </a:cubicBezTo>
                  <a:lnTo>
                    <a:pt x="540" y="547"/>
                  </a:lnTo>
                  <a:close/>
                  <a:moveTo>
                    <a:pt x="500" y="506"/>
                  </a:moveTo>
                  <a:cubicBezTo>
                    <a:pt x="465" y="506"/>
                    <a:pt x="465" y="506"/>
                    <a:pt x="465" y="506"/>
                  </a:cubicBezTo>
                  <a:cubicBezTo>
                    <a:pt x="464" y="506"/>
                    <a:pt x="462" y="505"/>
                    <a:pt x="462" y="503"/>
                  </a:cubicBezTo>
                  <a:cubicBezTo>
                    <a:pt x="462" y="486"/>
                    <a:pt x="462" y="486"/>
                    <a:pt x="462" y="486"/>
                  </a:cubicBezTo>
                  <a:cubicBezTo>
                    <a:pt x="462" y="482"/>
                    <a:pt x="465" y="480"/>
                    <a:pt x="468" y="480"/>
                  </a:cubicBezTo>
                  <a:cubicBezTo>
                    <a:pt x="497" y="480"/>
                    <a:pt x="497" y="480"/>
                    <a:pt x="497" y="480"/>
                  </a:cubicBezTo>
                  <a:cubicBezTo>
                    <a:pt x="498" y="480"/>
                    <a:pt x="500" y="481"/>
                    <a:pt x="500" y="483"/>
                  </a:cubicBezTo>
                  <a:lnTo>
                    <a:pt x="500" y="506"/>
                  </a:lnTo>
                  <a:close/>
                  <a:moveTo>
                    <a:pt x="656" y="708"/>
                  </a:moveTo>
                  <a:cubicBezTo>
                    <a:pt x="653" y="723"/>
                    <a:pt x="651" y="738"/>
                    <a:pt x="648" y="753"/>
                  </a:cubicBezTo>
                  <a:cubicBezTo>
                    <a:pt x="456" y="753"/>
                    <a:pt x="456" y="753"/>
                    <a:pt x="456" y="753"/>
                  </a:cubicBezTo>
                  <a:cubicBezTo>
                    <a:pt x="453" y="738"/>
                    <a:pt x="451" y="723"/>
                    <a:pt x="448" y="708"/>
                  </a:cubicBezTo>
                  <a:lnTo>
                    <a:pt x="656" y="708"/>
                  </a:lnTo>
                  <a:close/>
                  <a:moveTo>
                    <a:pt x="465" y="833"/>
                  </a:moveTo>
                  <a:cubicBezTo>
                    <a:pt x="464" y="820"/>
                    <a:pt x="462" y="806"/>
                    <a:pt x="461" y="793"/>
                  </a:cubicBezTo>
                  <a:cubicBezTo>
                    <a:pt x="643" y="793"/>
                    <a:pt x="643" y="793"/>
                    <a:pt x="643" y="793"/>
                  </a:cubicBezTo>
                  <a:cubicBezTo>
                    <a:pt x="642" y="806"/>
                    <a:pt x="640" y="820"/>
                    <a:pt x="639" y="834"/>
                  </a:cubicBezTo>
                  <a:lnTo>
                    <a:pt x="465" y="833"/>
                  </a:lnTo>
                  <a:close/>
                  <a:moveTo>
                    <a:pt x="497" y="873"/>
                  </a:moveTo>
                  <a:cubicBezTo>
                    <a:pt x="607" y="874"/>
                    <a:pt x="607" y="874"/>
                    <a:pt x="607" y="874"/>
                  </a:cubicBezTo>
                  <a:cubicBezTo>
                    <a:pt x="590" y="887"/>
                    <a:pt x="571" y="899"/>
                    <a:pt x="552" y="909"/>
                  </a:cubicBezTo>
                  <a:cubicBezTo>
                    <a:pt x="533" y="898"/>
                    <a:pt x="514" y="886"/>
                    <a:pt x="497" y="873"/>
                  </a:cubicBezTo>
                  <a:close/>
                  <a:moveTo>
                    <a:pt x="644" y="108"/>
                  </a:moveTo>
                  <a:cubicBezTo>
                    <a:pt x="710" y="150"/>
                    <a:pt x="756" y="205"/>
                    <a:pt x="770" y="258"/>
                  </a:cubicBezTo>
                  <a:cubicBezTo>
                    <a:pt x="789" y="344"/>
                    <a:pt x="772" y="439"/>
                    <a:pt x="725" y="521"/>
                  </a:cubicBezTo>
                  <a:cubicBezTo>
                    <a:pt x="705" y="554"/>
                    <a:pt x="690" y="588"/>
                    <a:pt x="677" y="626"/>
                  </a:cubicBezTo>
                  <a:cubicBezTo>
                    <a:pt x="673" y="640"/>
                    <a:pt x="669" y="654"/>
                    <a:pt x="665" y="668"/>
                  </a:cubicBezTo>
                  <a:cubicBezTo>
                    <a:pt x="602" y="668"/>
                    <a:pt x="602" y="668"/>
                    <a:pt x="602" y="668"/>
                  </a:cubicBezTo>
                  <a:cubicBezTo>
                    <a:pt x="602" y="546"/>
                    <a:pt x="602" y="546"/>
                    <a:pt x="602" y="546"/>
                  </a:cubicBezTo>
                  <a:cubicBezTo>
                    <a:pt x="632" y="546"/>
                    <a:pt x="632" y="546"/>
                    <a:pt x="632" y="546"/>
                  </a:cubicBezTo>
                  <a:cubicBezTo>
                    <a:pt x="658" y="546"/>
                    <a:pt x="679" y="525"/>
                    <a:pt x="679" y="499"/>
                  </a:cubicBezTo>
                  <a:cubicBezTo>
                    <a:pt x="679" y="489"/>
                    <a:pt x="679" y="489"/>
                    <a:pt x="679" y="489"/>
                  </a:cubicBezTo>
                  <a:cubicBezTo>
                    <a:pt x="679" y="462"/>
                    <a:pt x="656" y="440"/>
                    <a:pt x="629" y="440"/>
                  </a:cubicBezTo>
                  <a:cubicBezTo>
                    <a:pt x="608" y="440"/>
                    <a:pt x="608" y="440"/>
                    <a:pt x="608" y="440"/>
                  </a:cubicBezTo>
                  <a:cubicBezTo>
                    <a:pt x="582" y="440"/>
                    <a:pt x="561" y="461"/>
                    <a:pt x="561" y="486"/>
                  </a:cubicBezTo>
                  <a:cubicBezTo>
                    <a:pt x="561" y="506"/>
                    <a:pt x="561" y="506"/>
                    <a:pt x="561" y="506"/>
                  </a:cubicBezTo>
                  <a:cubicBezTo>
                    <a:pt x="561" y="506"/>
                    <a:pt x="561" y="507"/>
                    <a:pt x="561" y="507"/>
                  </a:cubicBezTo>
                  <a:cubicBezTo>
                    <a:pt x="540" y="507"/>
                    <a:pt x="540" y="507"/>
                    <a:pt x="540" y="507"/>
                  </a:cubicBezTo>
                  <a:cubicBezTo>
                    <a:pt x="540" y="483"/>
                    <a:pt x="540" y="483"/>
                    <a:pt x="540" y="483"/>
                  </a:cubicBezTo>
                  <a:cubicBezTo>
                    <a:pt x="540" y="459"/>
                    <a:pt x="520" y="440"/>
                    <a:pt x="497" y="440"/>
                  </a:cubicBezTo>
                  <a:cubicBezTo>
                    <a:pt x="468" y="440"/>
                    <a:pt x="468" y="440"/>
                    <a:pt x="468" y="440"/>
                  </a:cubicBezTo>
                  <a:cubicBezTo>
                    <a:pt x="443" y="440"/>
                    <a:pt x="422" y="460"/>
                    <a:pt x="422" y="486"/>
                  </a:cubicBezTo>
                  <a:cubicBezTo>
                    <a:pt x="422" y="503"/>
                    <a:pt x="422" y="503"/>
                    <a:pt x="422" y="503"/>
                  </a:cubicBezTo>
                  <a:cubicBezTo>
                    <a:pt x="422" y="527"/>
                    <a:pt x="442" y="546"/>
                    <a:pt x="465" y="546"/>
                  </a:cubicBezTo>
                  <a:cubicBezTo>
                    <a:pt x="500" y="546"/>
                    <a:pt x="500" y="546"/>
                    <a:pt x="500" y="546"/>
                  </a:cubicBezTo>
                  <a:cubicBezTo>
                    <a:pt x="500" y="668"/>
                    <a:pt x="500" y="668"/>
                    <a:pt x="500" y="668"/>
                  </a:cubicBezTo>
                  <a:cubicBezTo>
                    <a:pt x="439" y="668"/>
                    <a:pt x="439" y="668"/>
                    <a:pt x="439" y="668"/>
                  </a:cubicBezTo>
                  <a:cubicBezTo>
                    <a:pt x="435" y="654"/>
                    <a:pt x="431" y="640"/>
                    <a:pt x="427" y="626"/>
                  </a:cubicBezTo>
                  <a:cubicBezTo>
                    <a:pt x="414" y="588"/>
                    <a:pt x="399" y="554"/>
                    <a:pt x="379" y="521"/>
                  </a:cubicBezTo>
                  <a:cubicBezTo>
                    <a:pt x="332" y="439"/>
                    <a:pt x="315" y="344"/>
                    <a:pt x="334" y="258"/>
                  </a:cubicBezTo>
                  <a:cubicBezTo>
                    <a:pt x="348" y="205"/>
                    <a:pt x="394" y="150"/>
                    <a:pt x="460" y="108"/>
                  </a:cubicBezTo>
                  <a:cubicBezTo>
                    <a:pt x="489" y="89"/>
                    <a:pt x="520" y="76"/>
                    <a:pt x="552" y="66"/>
                  </a:cubicBezTo>
                  <a:cubicBezTo>
                    <a:pt x="584" y="76"/>
                    <a:pt x="615" y="89"/>
                    <a:pt x="644" y="10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effectLst/>
                <a:uLnTx/>
                <a:uFillTx/>
                <a:latin typeface="Montserrat" panose="00000500000000000000"/>
              </a:endParaRPr>
            </a:p>
          </p:txBody>
        </p:sp>
        <p:sp>
          <p:nvSpPr>
            <p:cNvPr id="64" name="Freeform 6">
              <a:extLst>
                <a:ext uri="{FF2B5EF4-FFF2-40B4-BE49-F238E27FC236}">
                  <a16:creationId xmlns:a16="http://schemas.microsoft.com/office/drawing/2014/main" id="{351D676A-4F3D-4F4C-8A6C-CC29B770CDB3}"/>
                </a:ext>
              </a:extLst>
            </p:cNvPr>
            <p:cNvSpPr>
              <a:spLocks/>
            </p:cNvSpPr>
            <p:nvPr/>
          </p:nvSpPr>
          <p:spPr bwMode="auto">
            <a:xfrm>
              <a:off x="9386593" y="1910442"/>
              <a:ext cx="121846" cy="62277"/>
            </a:xfrm>
            <a:custGeom>
              <a:avLst/>
              <a:gdLst>
                <a:gd name="T0" fmla="*/ 51 w 284"/>
                <a:gd name="T1" fmla="*/ 56 h 159"/>
                <a:gd name="T2" fmla="*/ 84 w 284"/>
                <a:gd name="T3" fmla="*/ 123 h 159"/>
                <a:gd name="T4" fmla="*/ 83 w 284"/>
                <a:gd name="T5" fmla="*/ 123 h 159"/>
                <a:gd name="T6" fmla="*/ 34 w 284"/>
                <a:gd name="T7" fmla="*/ 87 h 159"/>
                <a:gd name="T8" fmla="*/ 6 w 284"/>
                <a:gd name="T9" fmla="*/ 91 h 159"/>
                <a:gd name="T10" fmla="*/ 11 w 284"/>
                <a:gd name="T11" fmla="*/ 119 h 159"/>
                <a:gd name="T12" fmla="*/ 59 w 284"/>
                <a:gd name="T13" fmla="*/ 155 h 159"/>
                <a:gd name="T14" fmla="*/ 71 w 284"/>
                <a:gd name="T15" fmla="*/ 159 h 159"/>
                <a:gd name="T16" fmla="*/ 87 w 284"/>
                <a:gd name="T17" fmla="*/ 151 h 159"/>
                <a:gd name="T18" fmla="*/ 90 w 284"/>
                <a:gd name="T19" fmla="*/ 132 h 159"/>
                <a:gd name="T20" fmla="*/ 102 w 284"/>
                <a:gd name="T21" fmla="*/ 136 h 159"/>
                <a:gd name="T22" fmla="*/ 111 w 284"/>
                <a:gd name="T23" fmla="*/ 134 h 159"/>
                <a:gd name="T24" fmla="*/ 121 w 284"/>
                <a:gd name="T25" fmla="*/ 122 h 159"/>
                <a:gd name="T26" fmla="*/ 139 w 284"/>
                <a:gd name="T27" fmla="*/ 133 h 159"/>
                <a:gd name="T28" fmla="*/ 159 w 284"/>
                <a:gd name="T29" fmla="*/ 116 h 159"/>
                <a:gd name="T30" fmla="*/ 170 w 284"/>
                <a:gd name="T31" fmla="*/ 134 h 159"/>
                <a:gd name="T32" fmla="*/ 179 w 284"/>
                <a:gd name="T33" fmla="*/ 136 h 159"/>
                <a:gd name="T34" fmla="*/ 195 w 284"/>
                <a:gd name="T35" fmla="*/ 128 h 159"/>
                <a:gd name="T36" fmla="*/ 197 w 284"/>
                <a:gd name="T37" fmla="*/ 148 h 159"/>
                <a:gd name="T38" fmla="*/ 213 w 284"/>
                <a:gd name="T39" fmla="*/ 156 h 159"/>
                <a:gd name="T40" fmla="*/ 225 w 284"/>
                <a:gd name="T41" fmla="*/ 153 h 159"/>
                <a:gd name="T42" fmla="*/ 273 w 284"/>
                <a:gd name="T43" fmla="*/ 117 h 159"/>
                <a:gd name="T44" fmla="*/ 278 w 284"/>
                <a:gd name="T45" fmla="*/ 89 h 159"/>
                <a:gd name="T46" fmla="*/ 250 w 284"/>
                <a:gd name="T47" fmla="*/ 85 h 159"/>
                <a:gd name="T48" fmla="*/ 201 w 284"/>
                <a:gd name="T49" fmla="*/ 120 h 159"/>
                <a:gd name="T50" fmla="*/ 197 w 284"/>
                <a:gd name="T51" fmla="*/ 124 h 159"/>
                <a:gd name="T52" fmla="*/ 231 w 284"/>
                <a:gd name="T53" fmla="*/ 56 h 159"/>
                <a:gd name="T54" fmla="*/ 222 w 284"/>
                <a:gd name="T55" fmla="*/ 29 h 159"/>
                <a:gd name="T56" fmla="*/ 195 w 284"/>
                <a:gd name="T57" fmla="*/ 38 h 159"/>
                <a:gd name="T58" fmla="*/ 161 w 284"/>
                <a:gd name="T59" fmla="*/ 107 h 159"/>
                <a:gd name="T60" fmla="*/ 159 w 284"/>
                <a:gd name="T61" fmla="*/ 113 h 159"/>
                <a:gd name="T62" fmla="*/ 159 w 284"/>
                <a:gd name="T63" fmla="*/ 20 h 159"/>
                <a:gd name="T64" fmla="*/ 139 w 284"/>
                <a:gd name="T65" fmla="*/ 0 h 159"/>
                <a:gd name="T66" fmla="*/ 119 w 284"/>
                <a:gd name="T67" fmla="*/ 20 h 159"/>
                <a:gd name="T68" fmla="*/ 119 w 284"/>
                <a:gd name="T69" fmla="*/ 105 h 159"/>
                <a:gd name="T70" fmla="*/ 87 w 284"/>
                <a:gd name="T71" fmla="*/ 38 h 159"/>
                <a:gd name="T72" fmla="*/ 60 w 284"/>
                <a:gd name="T73" fmla="*/ 29 h 159"/>
                <a:gd name="T74" fmla="*/ 51 w 284"/>
                <a:gd name="T75" fmla="*/ 56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4" h="159">
                  <a:moveTo>
                    <a:pt x="51" y="56"/>
                  </a:moveTo>
                  <a:cubicBezTo>
                    <a:pt x="84" y="123"/>
                    <a:pt x="84" y="123"/>
                    <a:pt x="84" y="123"/>
                  </a:cubicBezTo>
                  <a:cubicBezTo>
                    <a:pt x="83" y="123"/>
                    <a:pt x="83" y="123"/>
                    <a:pt x="83" y="123"/>
                  </a:cubicBezTo>
                  <a:cubicBezTo>
                    <a:pt x="34" y="87"/>
                    <a:pt x="34" y="87"/>
                    <a:pt x="34" y="87"/>
                  </a:cubicBezTo>
                  <a:cubicBezTo>
                    <a:pt x="25" y="81"/>
                    <a:pt x="13" y="82"/>
                    <a:pt x="6" y="91"/>
                  </a:cubicBezTo>
                  <a:cubicBezTo>
                    <a:pt x="0" y="100"/>
                    <a:pt x="2" y="113"/>
                    <a:pt x="11" y="119"/>
                  </a:cubicBezTo>
                  <a:cubicBezTo>
                    <a:pt x="59" y="155"/>
                    <a:pt x="59" y="155"/>
                    <a:pt x="59" y="155"/>
                  </a:cubicBezTo>
                  <a:cubicBezTo>
                    <a:pt x="63" y="158"/>
                    <a:pt x="67" y="159"/>
                    <a:pt x="71" y="159"/>
                  </a:cubicBezTo>
                  <a:cubicBezTo>
                    <a:pt x="77" y="159"/>
                    <a:pt x="83" y="156"/>
                    <a:pt x="87" y="151"/>
                  </a:cubicBezTo>
                  <a:cubicBezTo>
                    <a:pt x="91" y="145"/>
                    <a:pt x="92" y="138"/>
                    <a:pt x="90" y="132"/>
                  </a:cubicBezTo>
                  <a:cubicBezTo>
                    <a:pt x="93" y="134"/>
                    <a:pt x="98" y="136"/>
                    <a:pt x="102" y="136"/>
                  </a:cubicBezTo>
                  <a:cubicBezTo>
                    <a:pt x="105" y="136"/>
                    <a:pt x="108" y="135"/>
                    <a:pt x="111" y="134"/>
                  </a:cubicBezTo>
                  <a:cubicBezTo>
                    <a:pt x="116" y="132"/>
                    <a:pt x="120" y="127"/>
                    <a:pt x="121" y="122"/>
                  </a:cubicBezTo>
                  <a:cubicBezTo>
                    <a:pt x="124" y="129"/>
                    <a:pt x="131" y="133"/>
                    <a:pt x="139" y="133"/>
                  </a:cubicBezTo>
                  <a:cubicBezTo>
                    <a:pt x="150" y="133"/>
                    <a:pt x="158" y="126"/>
                    <a:pt x="159" y="116"/>
                  </a:cubicBezTo>
                  <a:cubicBezTo>
                    <a:pt x="159" y="123"/>
                    <a:pt x="163" y="130"/>
                    <a:pt x="170" y="134"/>
                  </a:cubicBezTo>
                  <a:cubicBezTo>
                    <a:pt x="173" y="135"/>
                    <a:pt x="176" y="136"/>
                    <a:pt x="179" y="136"/>
                  </a:cubicBezTo>
                  <a:cubicBezTo>
                    <a:pt x="185" y="136"/>
                    <a:pt x="191" y="133"/>
                    <a:pt x="195" y="128"/>
                  </a:cubicBezTo>
                  <a:cubicBezTo>
                    <a:pt x="192" y="134"/>
                    <a:pt x="192" y="142"/>
                    <a:pt x="197" y="148"/>
                  </a:cubicBezTo>
                  <a:cubicBezTo>
                    <a:pt x="201" y="154"/>
                    <a:pt x="207" y="156"/>
                    <a:pt x="213" y="156"/>
                  </a:cubicBezTo>
                  <a:cubicBezTo>
                    <a:pt x="217" y="156"/>
                    <a:pt x="221" y="155"/>
                    <a:pt x="225" y="153"/>
                  </a:cubicBezTo>
                  <a:cubicBezTo>
                    <a:pt x="273" y="117"/>
                    <a:pt x="273" y="117"/>
                    <a:pt x="273" y="117"/>
                  </a:cubicBezTo>
                  <a:cubicBezTo>
                    <a:pt x="282" y="110"/>
                    <a:pt x="284" y="98"/>
                    <a:pt x="278" y="89"/>
                  </a:cubicBezTo>
                  <a:cubicBezTo>
                    <a:pt x="271" y="80"/>
                    <a:pt x="258" y="78"/>
                    <a:pt x="250" y="85"/>
                  </a:cubicBezTo>
                  <a:cubicBezTo>
                    <a:pt x="201" y="120"/>
                    <a:pt x="201" y="120"/>
                    <a:pt x="201" y="120"/>
                  </a:cubicBezTo>
                  <a:cubicBezTo>
                    <a:pt x="199" y="121"/>
                    <a:pt x="198" y="123"/>
                    <a:pt x="197" y="124"/>
                  </a:cubicBezTo>
                  <a:cubicBezTo>
                    <a:pt x="231" y="56"/>
                    <a:pt x="231" y="56"/>
                    <a:pt x="231" y="56"/>
                  </a:cubicBezTo>
                  <a:cubicBezTo>
                    <a:pt x="236" y="46"/>
                    <a:pt x="231" y="34"/>
                    <a:pt x="222" y="29"/>
                  </a:cubicBezTo>
                  <a:cubicBezTo>
                    <a:pt x="212" y="24"/>
                    <a:pt x="200" y="28"/>
                    <a:pt x="195" y="38"/>
                  </a:cubicBezTo>
                  <a:cubicBezTo>
                    <a:pt x="161" y="107"/>
                    <a:pt x="161" y="107"/>
                    <a:pt x="161" y="107"/>
                  </a:cubicBezTo>
                  <a:cubicBezTo>
                    <a:pt x="160" y="109"/>
                    <a:pt x="160" y="111"/>
                    <a:pt x="159" y="113"/>
                  </a:cubicBezTo>
                  <a:cubicBezTo>
                    <a:pt x="159" y="20"/>
                    <a:pt x="159" y="20"/>
                    <a:pt x="159" y="20"/>
                  </a:cubicBezTo>
                  <a:cubicBezTo>
                    <a:pt x="159" y="9"/>
                    <a:pt x="150" y="0"/>
                    <a:pt x="139" y="0"/>
                  </a:cubicBezTo>
                  <a:cubicBezTo>
                    <a:pt x="128" y="0"/>
                    <a:pt x="119" y="9"/>
                    <a:pt x="119" y="20"/>
                  </a:cubicBezTo>
                  <a:cubicBezTo>
                    <a:pt x="119" y="105"/>
                    <a:pt x="119" y="105"/>
                    <a:pt x="119" y="105"/>
                  </a:cubicBezTo>
                  <a:cubicBezTo>
                    <a:pt x="87" y="38"/>
                    <a:pt x="87" y="38"/>
                    <a:pt x="87" y="38"/>
                  </a:cubicBezTo>
                  <a:cubicBezTo>
                    <a:pt x="82" y="28"/>
                    <a:pt x="70" y="24"/>
                    <a:pt x="60" y="29"/>
                  </a:cubicBezTo>
                  <a:cubicBezTo>
                    <a:pt x="50" y="34"/>
                    <a:pt x="46" y="46"/>
                    <a:pt x="51" y="5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effectLst/>
                <a:uLnTx/>
                <a:uFillTx/>
                <a:latin typeface="Montserrat" panose="00000500000000000000"/>
              </a:endParaRPr>
            </a:p>
          </p:txBody>
        </p:sp>
      </p:grpSp>
      <p:sp>
        <p:nvSpPr>
          <p:cNvPr id="65" name="Rectangle 64"/>
          <p:cNvSpPr/>
          <p:nvPr/>
        </p:nvSpPr>
        <p:spPr>
          <a:xfrm>
            <a:off x="9371042" y="962677"/>
            <a:ext cx="2285159" cy="4473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22363" tIns="61181" rIns="122363" bIns="61181" rtlCol="0" anchor="ctr"/>
          <a:lstStyle/>
          <a:p>
            <a:pPr algn="ctr"/>
            <a:r>
              <a:rPr lang="en-GB" sz="1400" b="1" dirty="0">
                <a:solidFill>
                  <a:schemeClr val="tx1"/>
                </a:solidFill>
                <a:latin typeface="Montserrat" panose="00000500000000000000"/>
                <a:cs typeface="Calibri" panose="020F0502020204030204" pitchFamily="34" charset="0"/>
              </a:rPr>
              <a:t>Digital Forms</a:t>
            </a:r>
          </a:p>
          <a:p>
            <a:pPr algn="ctr"/>
            <a:endParaRPr lang="en-GB" sz="1400" b="1" dirty="0">
              <a:solidFill>
                <a:schemeClr val="tx1"/>
              </a:solidFill>
              <a:latin typeface="Montserrat" panose="00000500000000000000"/>
              <a:cs typeface="Calibri" panose="020F0502020204030204" pitchFamily="34" charset="0"/>
            </a:endParaRPr>
          </a:p>
        </p:txBody>
      </p:sp>
      <p:sp>
        <p:nvSpPr>
          <p:cNvPr id="69" name="Rectangle 68"/>
          <p:cNvSpPr/>
          <p:nvPr/>
        </p:nvSpPr>
        <p:spPr>
          <a:xfrm rot="20569515">
            <a:off x="3769934" y="4724181"/>
            <a:ext cx="6877155" cy="5413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22363" tIns="61181" rIns="122363" bIns="61181" rtlCol="0" anchor="ctr">
            <a:prstTxWarp prst="textArchDown">
              <a:avLst>
                <a:gd name="adj" fmla="val 1255003"/>
              </a:avLst>
            </a:prstTxWarp>
          </a:bodyPr>
          <a:lstStyle/>
          <a:p>
            <a:pPr algn="ctr"/>
            <a:r>
              <a:rPr lang="en-GB" sz="1800" b="1">
                <a:solidFill>
                  <a:schemeClr val="tx1"/>
                </a:solidFill>
                <a:latin typeface="Montserrat" panose="00000500000000000000"/>
                <a:cs typeface="Calibri" panose="020F0502020204030204" pitchFamily="34" charset="0"/>
              </a:rPr>
              <a:t>From a single hospital solution to a multi hospital platform solution</a:t>
            </a:r>
          </a:p>
        </p:txBody>
      </p:sp>
      <p:sp>
        <p:nvSpPr>
          <p:cNvPr id="71" name="Rectangle 70"/>
          <p:cNvSpPr/>
          <p:nvPr/>
        </p:nvSpPr>
        <p:spPr>
          <a:xfrm rot="19692978">
            <a:off x="9786308" y="2271850"/>
            <a:ext cx="1691157" cy="5413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22363" tIns="61181" rIns="122363" bIns="61181" rtlCol="0" anchor="ctr">
            <a:prstTxWarp prst="textArchDown">
              <a:avLst/>
            </a:prstTxWarp>
          </a:bodyPr>
          <a:lstStyle/>
          <a:p>
            <a:pPr algn="ctr"/>
            <a:r>
              <a:rPr lang="en-GB" sz="1800" b="1">
                <a:solidFill>
                  <a:schemeClr val="tx1"/>
                </a:solidFill>
                <a:latin typeface="Montserrat" panose="00000500000000000000"/>
                <a:cs typeface="Calibri" panose="020F0502020204030204" pitchFamily="34" charset="0"/>
              </a:rPr>
              <a:t>M&amp;A</a:t>
            </a:r>
          </a:p>
        </p:txBody>
      </p:sp>
      <p:sp>
        <p:nvSpPr>
          <p:cNvPr id="72" name="Rectangle 71"/>
          <p:cNvSpPr/>
          <p:nvPr/>
        </p:nvSpPr>
        <p:spPr>
          <a:xfrm rot="19838289">
            <a:off x="7882427" y="3122661"/>
            <a:ext cx="2723625" cy="5413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22363" tIns="61181" rIns="122363" bIns="61181" rtlCol="0" anchor="ctr">
            <a:prstTxWarp prst="textArchDown">
              <a:avLst/>
            </a:prstTxWarp>
          </a:bodyPr>
          <a:lstStyle/>
          <a:p>
            <a:pPr algn="ctr"/>
            <a:r>
              <a:rPr lang="en-GB" sz="1800" b="1" dirty="0">
                <a:solidFill>
                  <a:schemeClr val="tx1"/>
                </a:solidFill>
                <a:latin typeface="Montserrat" panose="00000500000000000000"/>
                <a:cs typeface="Calibri" panose="020F0502020204030204" pitchFamily="34" charset="0"/>
              </a:rPr>
              <a:t>Open Source</a:t>
            </a:r>
          </a:p>
        </p:txBody>
      </p:sp>
      <p:sp>
        <p:nvSpPr>
          <p:cNvPr id="73" name="Rectangle 72"/>
          <p:cNvSpPr/>
          <p:nvPr/>
        </p:nvSpPr>
        <p:spPr>
          <a:xfrm rot="20520000">
            <a:off x="4675089" y="4375779"/>
            <a:ext cx="3987661" cy="4473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22363" tIns="61181" rIns="122363" bIns="61181" rtlCol="0" anchor="ctr">
            <a:prstTxWarp prst="textArchDown">
              <a:avLst/>
            </a:prstTxWarp>
          </a:bodyPr>
          <a:lstStyle/>
          <a:p>
            <a:pPr algn="ctr"/>
            <a:r>
              <a:rPr lang="en-GB" sz="1800" b="1" dirty="0">
                <a:solidFill>
                  <a:schemeClr val="tx1"/>
                </a:solidFill>
                <a:latin typeface="Montserrat" panose="00000500000000000000"/>
                <a:cs typeface="Calibri" panose="020F0502020204030204" pitchFamily="34" charset="0"/>
              </a:rPr>
              <a:t>Das Internet </a:t>
            </a:r>
            <a:r>
              <a:rPr lang="en-GB" sz="1800" b="1" dirty="0" err="1">
                <a:solidFill>
                  <a:schemeClr val="tx1"/>
                </a:solidFill>
                <a:latin typeface="Montserrat" panose="00000500000000000000"/>
                <a:cs typeface="Calibri" panose="020F0502020204030204" pitchFamily="34" charset="0"/>
              </a:rPr>
              <a:t>wird</a:t>
            </a:r>
            <a:r>
              <a:rPr lang="en-GB" sz="1800" b="1" dirty="0">
                <a:solidFill>
                  <a:schemeClr val="tx1"/>
                </a:solidFill>
                <a:latin typeface="Montserrat" panose="00000500000000000000"/>
                <a:cs typeface="Calibri" panose="020F0502020204030204" pitchFamily="34" charset="0"/>
              </a:rPr>
              <a:t> </a:t>
            </a:r>
            <a:r>
              <a:rPr lang="en-GB" sz="1800" b="1" dirty="0" err="1">
                <a:solidFill>
                  <a:schemeClr val="tx1"/>
                </a:solidFill>
                <a:latin typeface="Montserrat" panose="00000500000000000000"/>
                <a:cs typeface="Calibri" panose="020F0502020204030204" pitchFamily="34" charset="0"/>
              </a:rPr>
              <a:t>immer</a:t>
            </a:r>
            <a:r>
              <a:rPr lang="en-GB" sz="1800" b="1" dirty="0">
                <a:solidFill>
                  <a:schemeClr val="tx1"/>
                </a:solidFill>
                <a:latin typeface="Montserrat" panose="00000500000000000000"/>
                <a:cs typeface="Calibri" panose="020F0502020204030204" pitchFamily="34" charset="0"/>
              </a:rPr>
              <a:t> </a:t>
            </a:r>
            <a:r>
              <a:rPr lang="en-GB" sz="1800" b="1" dirty="0" err="1">
                <a:solidFill>
                  <a:schemeClr val="tx1"/>
                </a:solidFill>
                <a:latin typeface="Montserrat" panose="00000500000000000000"/>
                <a:cs typeface="Calibri" panose="020F0502020204030204" pitchFamily="34" charset="0"/>
              </a:rPr>
              <a:t>schneller</a:t>
            </a:r>
            <a:endParaRPr lang="en-GB" sz="1800" b="1" dirty="0">
              <a:solidFill>
                <a:schemeClr val="tx1"/>
              </a:solidFill>
              <a:latin typeface="Montserrat" panose="00000500000000000000"/>
              <a:cs typeface="Calibri" panose="020F0502020204030204" pitchFamily="34" charset="0"/>
            </a:endParaRPr>
          </a:p>
        </p:txBody>
      </p:sp>
      <p:sp>
        <p:nvSpPr>
          <p:cNvPr id="74" name="Rectangle 73"/>
          <p:cNvSpPr/>
          <p:nvPr/>
        </p:nvSpPr>
        <p:spPr>
          <a:xfrm rot="21240000">
            <a:off x="627403" y="5298582"/>
            <a:ext cx="4386427" cy="4067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22363" tIns="61181" rIns="122363" bIns="61181" rtlCol="0" anchor="ctr">
            <a:prstTxWarp prst="textArchDown">
              <a:avLst/>
            </a:prstTxWarp>
          </a:bodyPr>
          <a:lstStyle/>
          <a:p>
            <a:pPr algn="ctr"/>
            <a:r>
              <a:rPr lang="en-GB" sz="1800" b="1" dirty="0" err="1">
                <a:solidFill>
                  <a:schemeClr val="tx1"/>
                </a:solidFill>
                <a:latin typeface="Montserrat" panose="00000500000000000000"/>
                <a:cs typeface="Calibri" panose="020F0502020204030204" pitchFamily="34" charset="0"/>
              </a:rPr>
              <a:t>Speichertechnologie</a:t>
            </a:r>
            <a:r>
              <a:rPr lang="en-GB" sz="1800" b="1" dirty="0">
                <a:solidFill>
                  <a:schemeClr val="tx1"/>
                </a:solidFill>
                <a:latin typeface="Montserrat" panose="00000500000000000000"/>
                <a:cs typeface="Calibri" panose="020F0502020204030204" pitchFamily="34" charset="0"/>
              </a:rPr>
              <a:t> </a:t>
            </a:r>
            <a:r>
              <a:rPr lang="en-GB" sz="1800" b="1" dirty="0" err="1">
                <a:solidFill>
                  <a:schemeClr val="tx1"/>
                </a:solidFill>
                <a:latin typeface="Montserrat" panose="00000500000000000000"/>
                <a:cs typeface="Calibri" panose="020F0502020204030204" pitchFamily="34" charset="0"/>
              </a:rPr>
              <a:t>sehr</a:t>
            </a:r>
            <a:r>
              <a:rPr lang="en-GB" sz="1800" b="1" dirty="0">
                <a:solidFill>
                  <a:schemeClr val="tx1"/>
                </a:solidFill>
                <a:latin typeface="Montserrat" panose="00000500000000000000"/>
                <a:cs typeface="Calibri" panose="020F0502020204030204" pitchFamily="34" charset="0"/>
              </a:rPr>
              <a:t> </a:t>
            </a:r>
            <a:r>
              <a:rPr lang="en-GB" sz="1800" b="1" dirty="0" err="1">
                <a:solidFill>
                  <a:schemeClr val="tx1"/>
                </a:solidFill>
                <a:latin typeface="Montserrat" panose="00000500000000000000"/>
                <a:cs typeface="Calibri" panose="020F0502020204030204" pitchFamily="34" charset="0"/>
              </a:rPr>
              <a:t>teuer</a:t>
            </a:r>
            <a:endParaRPr lang="en-GB" sz="1800" b="1" dirty="0">
              <a:solidFill>
                <a:schemeClr val="tx1"/>
              </a:solidFill>
              <a:latin typeface="Montserrat" panose="00000500000000000000"/>
              <a:cs typeface="Calibri" panose="020F0502020204030204" pitchFamily="34" charset="0"/>
            </a:endParaRPr>
          </a:p>
        </p:txBody>
      </p:sp>
      <p:pic>
        <p:nvPicPr>
          <p:cNvPr id="77" name="Picture 76"/>
          <p:cNvPicPr>
            <a:picLocks noChangeAspect="1"/>
          </p:cNvPicPr>
          <p:nvPr/>
        </p:nvPicPr>
        <p:blipFill rotWithShape="1">
          <a:blip r:embed="rId9"/>
          <a:srcRect l="78691" t="11474" r="10900" b="-11474"/>
          <a:stretch/>
        </p:blipFill>
        <p:spPr>
          <a:xfrm>
            <a:off x="10138588" y="1542832"/>
            <a:ext cx="1096621" cy="3874008"/>
          </a:xfrm>
          <a:prstGeom prst="rect">
            <a:avLst/>
          </a:prstGeom>
        </p:spPr>
      </p:pic>
      <p:sp>
        <p:nvSpPr>
          <p:cNvPr id="4" name="Titel 3">
            <a:extLst>
              <a:ext uri="{FF2B5EF4-FFF2-40B4-BE49-F238E27FC236}">
                <a16:creationId xmlns:a16="http://schemas.microsoft.com/office/drawing/2014/main" id="{36E24911-CD23-AF6E-22D3-0D45905E2041}"/>
              </a:ext>
            </a:extLst>
          </p:cNvPr>
          <p:cNvSpPr>
            <a:spLocks noGrp="1"/>
          </p:cNvSpPr>
          <p:nvPr>
            <p:ph type="title"/>
          </p:nvPr>
        </p:nvSpPr>
        <p:spPr/>
        <p:txBody>
          <a:bodyPr/>
          <a:lstStyle/>
          <a:p>
            <a:r>
              <a:rPr lang="de-DE" dirty="0"/>
              <a:t>Der Wandel im Gesundheitswesen </a:t>
            </a:r>
          </a:p>
        </p:txBody>
      </p:sp>
      <p:sp>
        <p:nvSpPr>
          <p:cNvPr id="12" name="Freeform 5">
            <a:extLst>
              <a:ext uri="{FF2B5EF4-FFF2-40B4-BE49-F238E27FC236}">
                <a16:creationId xmlns:a16="http://schemas.microsoft.com/office/drawing/2014/main" id="{1C61C1B8-0B17-DC8B-79BB-CFFDA503E7C6}"/>
              </a:ext>
            </a:extLst>
          </p:cNvPr>
          <p:cNvSpPr>
            <a:spLocks/>
          </p:cNvSpPr>
          <p:nvPr/>
        </p:nvSpPr>
        <p:spPr bwMode="auto">
          <a:xfrm>
            <a:off x="808038" y="1730375"/>
            <a:ext cx="10523538" cy="3851275"/>
          </a:xfrm>
          <a:custGeom>
            <a:avLst/>
            <a:gdLst>
              <a:gd name="T0" fmla="*/ 0 w 6629"/>
              <a:gd name="T1" fmla="*/ 2426 h 2426"/>
              <a:gd name="T2" fmla="*/ 3705 w 6629"/>
              <a:gd name="T3" fmla="*/ 1782 h 2426"/>
              <a:gd name="T4" fmla="*/ 6629 w 6629"/>
              <a:gd name="T5" fmla="*/ 0 h 2426"/>
            </a:gdLst>
            <a:ahLst/>
            <a:cxnLst>
              <a:cxn ang="0">
                <a:pos x="T0" y="T1"/>
              </a:cxn>
              <a:cxn ang="0">
                <a:pos x="T2" y="T3"/>
              </a:cxn>
              <a:cxn ang="0">
                <a:pos x="T4" y="T5"/>
              </a:cxn>
            </a:cxnLst>
            <a:rect l="0" t="0" r="r" b="b"/>
            <a:pathLst>
              <a:path w="6629" h="2426">
                <a:moveTo>
                  <a:pt x="0" y="2426"/>
                </a:moveTo>
                <a:cubicBezTo>
                  <a:pt x="1084" y="2378"/>
                  <a:pt x="1939" y="2356"/>
                  <a:pt x="3705" y="1782"/>
                </a:cubicBezTo>
                <a:cubicBezTo>
                  <a:pt x="5470" y="1209"/>
                  <a:pt x="6055" y="501"/>
                  <a:pt x="6629" y="0"/>
                </a:cubicBezTo>
              </a:path>
            </a:pathLst>
          </a:custGeom>
          <a:noFill/>
          <a:ln w="25400" cap="flat">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68" name="Rectangle 58">
            <a:extLst>
              <a:ext uri="{FF2B5EF4-FFF2-40B4-BE49-F238E27FC236}">
                <a16:creationId xmlns:a16="http://schemas.microsoft.com/office/drawing/2014/main" id="{95EF5E54-79EA-09C5-2798-17280C4EF2C4}"/>
              </a:ext>
            </a:extLst>
          </p:cNvPr>
          <p:cNvSpPr/>
          <p:nvPr/>
        </p:nvSpPr>
        <p:spPr>
          <a:xfrm>
            <a:off x="-149186" y="4610850"/>
            <a:ext cx="1543609" cy="4473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22363" tIns="61181" rIns="122363" bIns="61181" rtlCol="0" anchor="ctr"/>
          <a:lstStyle/>
          <a:p>
            <a:pPr algn="ctr"/>
            <a:r>
              <a:rPr lang="en-GB" sz="1400" b="1" dirty="0">
                <a:solidFill>
                  <a:schemeClr val="tx1"/>
                </a:solidFill>
                <a:latin typeface="Montserrat" panose="00000500000000000000"/>
                <a:cs typeface="Calibri" panose="020F0502020204030204" pitchFamily="34" charset="0"/>
              </a:rPr>
              <a:t>1990</a:t>
            </a:r>
          </a:p>
          <a:p>
            <a:pPr algn="ctr"/>
            <a:r>
              <a:rPr lang="en-GB" sz="1400" b="1" dirty="0">
                <a:solidFill>
                  <a:schemeClr val="tx1"/>
                </a:solidFill>
                <a:latin typeface="Montserrat" panose="00000500000000000000"/>
                <a:cs typeface="Calibri" panose="020F0502020204030204" pitchFamily="34" charset="0"/>
              </a:rPr>
              <a:t>Mainframes </a:t>
            </a:r>
            <a:r>
              <a:rPr lang="en-GB" sz="1400" b="1" dirty="0" err="1">
                <a:solidFill>
                  <a:schemeClr val="tx1"/>
                </a:solidFill>
                <a:latin typeface="Montserrat" panose="00000500000000000000"/>
                <a:cs typeface="Calibri" panose="020F0502020204030204" pitchFamily="34" charset="0"/>
              </a:rPr>
              <a:t>zur</a:t>
            </a:r>
            <a:r>
              <a:rPr lang="en-GB" sz="1400" b="1" dirty="0">
                <a:solidFill>
                  <a:schemeClr val="tx1"/>
                </a:solidFill>
                <a:latin typeface="Montserrat" panose="00000500000000000000"/>
                <a:cs typeface="Calibri" panose="020F0502020204030204" pitchFamily="34" charset="0"/>
              </a:rPr>
              <a:t> </a:t>
            </a:r>
            <a:r>
              <a:rPr lang="en-GB" sz="1400" b="1" dirty="0" err="1">
                <a:solidFill>
                  <a:schemeClr val="tx1"/>
                </a:solidFill>
                <a:latin typeface="Montserrat" panose="00000500000000000000"/>
                <a:cs typeface="Calibri" panose="020F0502020204030204" pitchFamily="34" charset="0"/>
              </a:rPr>
              <a:t>Abrechung</a:t>
            </a:r>
            <a:endParaRPr lang="en-GB" sz="1400" b="1" dirty="0">
              <a:solidFill>
                <a:schemeClr val="tx1"/>
              </a:solidFill>
              <a:latin typeface="Montserrat" panose="00000500000000000000"/>
              <a:cs typeface="Calibri" panose="020F0502020204030204" pitchFamily="34" charset="0"/>
            </a:endParaRPr>
          </a:p>
          <a:p>
            <a:pPr algn="ctr"/>
            <a:r>
              <a:rPr lang="en-GB" sz="1400" b="1" dirty="0" err="1">
                <a:solidFill>
                  <a:schemeClr val="tx1"/>
                </a:solidFill>
                <a:latin typeface="Montserrat" panose="00000500000000000000"/>
                <a:cs typeface="Calibri" panose="020F0502020204030204" pitchFamily="34" charset="0"/>
              </a:rPr>
              <a:t>Papierakte</a:t>
            </a:r>
            <a:endParaRPr lang="en-GB" sz="1400" b="1" dirty="0">
              <a:solidFill>
                <a:schemeClr val="tx1"/>
              </a:solidFill>
              <a:latin typeface="Montserrat" panose="00000500000000000000"/>
              <a:cs typeface="Calibri" panose="020F0502020204030204" pitchFamily="34" charset="0"/>
            </a:endParaRPr>
          </a:p>
          <a:p>
            <a:pPr algn="ctr"/>
            <a:r>
              <a:rPr lang="en-GB" sz="1400" b="1" dirty="0" err="1">
                <a:solidFill>
                  <a:schemeClr val="tx1"/>
                </a:solidFill>
                <a:latin typeface="Montserrat" panose="00000500000000000000"/>
                <a:cs typeface="Calibri" panose="020F0502020204030204" pitchFamily="34" charset="0"/>
              </a:rPr>
              <a:t>Mikrofilm</a:t>
            </a:r>
            <a:endParaRPr lang="en-GB" sz="1400" b="1" dirty="0">
              <a:solidFill>
                <a:schemeClr val="tx1"/>
              </a:solidFill>
              <a:latin typeface="Montserrat" panose="00000500000000000000"/>
              <a:cs typeface="Calibri" panose="020F0502020204030204" pitchFamily="34" charset="0"/>
            </a:endParaRPr>
          </a:p>
        </p:txBody>
      </p:sp>
    </p:spTree>
    <p:extLst>
      <p:ext uri="{BB962C8B-B14F-4D97-AF65-F5344CB8AC3E}">
        <p14:creationId xmlns:p14="http://schemas.microsoft.com/office/powerpoint/2010/main" val="3827467131"/>
      </p:ext>
    </p:extLst>
  </p:cSld>
  <p:clrMapOvr>
    <a:masterClrMapping/>
  </p:clrMapOvr>
  <mc:AlternateContent xmlns:mc="http://schemas.openxmlformats.org/markup-compatibility/2006" xmlns:p14="http://schemas.microsoft.com/office/powerpoint/2010/main">
    <mc:Choice Requires="p14">
      <p:transition spd="slow" p14:dur="1250">
        <p14:reveal/>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Inhaltsplatzhalter 6">
            <a:extLst>
              <a:ext uri="{FF2B5EF4-FFF2-40B4-BE49-F238E27FC236}">
                <a16:creationId xmlns:a16="http://schemas.microsoft.com/office/drawing/2014/main" id="{A9E443C0-C315-7CA5-0A3F-704C1D5982C0}"/>
              </a:ext>
            </a:extLst>
          </p:cNvPr>
          <p:cNvGraphicFramePr>
            <a:graphicFrameLocks noGrp="1"/>
          </p:cNvGraphicFramePr>
          <p:nvPr>
            <p:ph sz="quarter" idx="10"/>
            <p:extLst>
              <p:ext uri="{D42A27DB-BD31-4B8C-83A1-F6EECF244321}">
                <p14:modId xmlns:p14="http://schemas.microsoft.com/office/powerpoint/2010/main" val="2454122012"/>
              </p:ext>
            </p:extLst>
          </p:nvPr>
        </p:nvGraphicFramePr>
        <p:xfrm>
          <a:off x="277813" y="352502"/>
          <a:ext cx="11552237" cy="46355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Titel 3">
            <a:extLst>
              <a:ext uri="{FF2B5EF4-FFF2-40B4-BE49-F238E27FC236}">
                <a16:creationId xmlns:a16="http://schemas.microsoft.com/office/drawing/2014/main" id="{96881D05-1978-EE7E-DCDF-CCF73854F337}"/>
              </a:ext>
            </a:extLst>
          </p:cNvPr>
          <p:cNvSpPr>
            <a:spLocks noGrp="1"/>
          </p:cNvSpPr>
          <p:nvPr>
            <p:ph type="ctrTitle"/>
          </p:nvPr>
        </p:nvSpPr>
        <p:spPr/>
        <p:txBody>
          <a:bodyPr/>
          <a:lstStyle/>
          <a:p>
            <a:r>
              <a:rPr lang="de-DE" dirty="0"/>
              <a:t>Die digitalen Zeitabschnitte</a:t>
            </a:r>
          </a:p>
        </p:txBody>
      </p:sp>
      <p:sp>
        <p:nvSpPr>
          <p:cNvPr id="5" name="Untertitel 4">
            <a:extLst>
              <a:ext uri="{FF2B5EF4-FFF2-40B4-BE49-F238E27FC236}">
                <a16:creationId xmlns:a16="http://schemas.microsoft.com/office/drawing/2014/main" id="{B9B09E90-2860-1E54-9EE8-5E020312B20E}"/>
              </a:ext>
            </a:extLst>
          </p:cNvPr>
          <p:cNvSpPr>
            <a:spLocks noGrp="1"/>
          </p:cNvSpPr>
          <p:nvPr>
            <p:ph type="subTitle" idx="1"/>
          </p:nvPr>
        </p:nvSpPr>
        <p:spPr/>
        <p:txBody>
          <a:bodyPr/>
          <a:lstStyle/>
          <a:p>
            <a:r>
              <a:rPr lang="de-DE" dirty="0"/>
              <a:t>1990 bis heute</a:t>
            </a:r>
          </a:p>
        </p:txBody>
      </p:sp>
      <p:graphicFrame>
        <p:nvGraphicFramePr>
          <p:cNvPr id="8" name="Inhaltsplatzhalter 6">
            <a:extLst>
              <a:ext uri="{FF2B5EF4-FFF2-40B4-BE49-F238E27FC236}">
                <a16:creationId xmlns:a16="http://schemas.microsoft.com/office/drawing/2014/main" id="{EDCD2329-9EEE-A447-E57B-22A6DDA1A510}"/>
              </a:ext>
            </a:extLst>
          </p:cNvPr>
          <p:cNvGraphicFramePr>
            <a:graphicFrameLocks/>
          </p:cNvGraphicFramePr>
          <p:nvPr>
            <p:extLst>
              <p:ext uri="{D42A27DB-BD31-4B8C-83A1-F6EECF244321}">
                <p14:modId xmlns:p14="http://schemas.microsoft.com/office/powerpoint/2010/main" val="2333729586"/>
              </p:ext>
            </p:extLst>
          </p:nvPr>
        </p:nvGraphicFramePr>
        <p:xfrm>
          <a:off x="277290" y="2670252"/>
          <a:ext cx="11552237" cy="463550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2776788533"/>
      </p:ext>
    </p:extLst>
  </p:cSld>
  <p:clrMapOvr>
    <a:masterClrMapping/>
  </p:clrMapOvr>
  <mc:AlternateContent xmlns:mc="http://schemas.openxmlformats.org/markup-compatibility/2006" xmlns:p14="http://schemas.microsoft.com/office/powerpoint/2010/main">
    <mc:Choice Requires="p14">
      <p:transition spd="slow" p14:dur="125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 presetClass="entr" presetSubtype="4"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500" fill="hold"/>
                                        <p:tgtEl>
                                          <p:spTgt spid="8"/>
                                        </p:tgtEl>
                                        <p:attrNameLst>
                                          <p:attrName>ppt_x</p:attrName>
                                        </p:attrNameLst>
                                      </p:cBhvr>
                                      <p:tavLst>
                                        <p:tav tm="0">
                                          <p:val>
                                            <p:strVal val="#ppt_x"/>
                                          </p:val>
                                        </p:tav>
                                        <p:tav tm="100000">
                                          <p:val>
                                            <p:strVal val="#ppt_x"/>
                                          </p:val>
                                        </p:tav>
                                      </p:tavLst>
                                    </p:anim>
                                    <p:anim calcmode="lin" valueType="num">
                                      <p:cBhvr additive="base">
                                        <p:cTn id="12" dur="500" fill="hold"/>
                                        <p:tgtEl>
                                          <p:spTgt spid="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7" grpId="0">
        <p:bldAsOne/>
      </p:bldGraphic>
      <p:bldGraphic spid="8" grpId="0">
        <p:bldAsOne/>
      </p:bldGraphic>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tructure">
  <a:themeElements>
    <a:clrScheme name="DADALUS 02">
      <a:dk1>
        <a:srgbClr val="000000"/>
      </a:dk1>
      <a:lt1>
        <a:srgbClr val="FFFFFF"/>
      </a:lt1>
      <a:dk2>
        <a:srgbClr val="626362"/>
      </a:dk2>
      <a:lt2>
        <a:srgbClr val="CBCCCB"/>
      </a:lt2>
      <a:accent1>
        <a:srgbClr val="1D4F91"/>
      </a:accent1>
      <a:accent2>
        <a:srgbClr val="C5E86C"/>
      </a:accent2>
      <a:accent3>
        <a:srgbClr val="4198B5"/>
      </a:accent3>
      <a:accent4>
        <a:srgbClr val="BEC6C3"/>
      </a:accent4>
      <a:accent5>
        <a:srgbClr val="008C95"/>
      </a:accent5>
      <a:accent6>
        <a:srgbClr val="00A3E0"/>
      </a:accent6>
      <a:hlink>
        <a:srgbClr val="2CCCD3"/>
      </a:hlink>
      <a:folHlink>
        <a:srgbClr val="B9D9EB"/>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zione standard4" id="{A657D033-2A19-F641-8662-6428856BD48B}" vid="{C93B0ADC-A743-BC4E-8E7D-790328E9DC5B}"/>
    </a:ext>
  </a:extLst>
</a:theme>
</file>

<file path=ppt/theme/theme2.xml><?xml version="1.0" encoding="utf-8"?>
<a:theme xmlns:a="http://schemas.openxmlformats.org/drawingml/2006/main" name="1_Structure">
  <a:themeElements>
    <a:clrScheme name="DADALUS 02">
      <a:dk1>
        <a:srgbClr val="000000"/>
      </a:dk1>
      <a:lt1>
        <a:srgbClr val="FFFFFF"/>
      </a:lt1>
      <a:dk2>
        <a:srgbClr val="626362"/>
      </a:dk2>
      <a:lt2>
        <a:srgbClr val="CBCCCB"/>
      </a:lt2>
      <a:accent1>
        <a:srgbClr val="1D4F91"/>
      </a:accent1>
      <a:accent2>
        <a:srgbClr val="C5E86C"/>
      </a:accent2>
      <a:accent3>
        <a:srgbClr val="4198B5"/>
      </a:accent3>
      <a:accent4>
        <a:srgbClr val="BEC6C3"/>
      </a:accent4>
      <a:accent5>
        <a:srgbClr val="008C95"/>
      </a:accent5>
      <a:accent6>
        <a:srgbClr val="00A3E0"/>
      </a:accent6>
      <a:hlink>
        <a:srgbClr val="2CCCD3"/>
      </a:hlink>
      <a:folHlink>
        <a:srgbClr val="B9D9EB"/>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ASTER TEMPLATE DEDALUS 3.0.potx" id="{67F7355D-6B83-4410-97F4-BE00C8D666C7}" vid="{EB5D3341-0336-44A5-993B-A26BA1FC22F2}"/>
    </a:ext>
  </a:extLst>
</a:theme>
</file>

<file path=ppt/theme/theme3.xml><?xml version="1.0" encoding="utf-8"?>
<a:theme xmlns:a="http://schemas.openxmlformats.org/drawingml/2006/main" name="Tema di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Tema di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o" ma:contentTypeID="0x010100C5EFCE825A070D44BF9F44A2BEA1B492" ma:contentTypeVersion="10" ma:contentTypeDescription="Creare un nuovo documento." ma:contentTypeScope="" ma:versionID="576b626ce70f50136c944b46f2374e2c">
  <xsd:schema xmlns:xsd="http://www.w3.org/2001/XMLSchema" xmlns:xs="http://www.w3.org/2001/XMLSchema" xmlns:p="http://schemas.microsoft.com/office/2006/metadata/properties" xmlns:ns3="62710fae-ba59-4d85-b571-21f136a42e10" xmlns:ns4="954514e1-89e2-4b1e-9d9a-2c7047e0a2cf" targetNamespace="http://schemas.microsoft.com/office/2006/metadata/properties" ma:root="true" ma:fieldsID="aa9be95570d9dbb259f30cd2da201712" ns3:_="" ns4:_="">
    <xsd:import namespace="62710fae-ba59-4d85-b571-21f136a42e10"/>
    <xsd:import namespace="954514e1-89e2-4b1e-9d9a-2c7047e0a2cf"/>
    <xsd:element name="properties">
      <xsd:complexType>
        <xsd:sequence>
          <xsd:element name="documentManagement">
            <xsd:complexType>
              <xsd:all>
                <xsd:element ref="ns3:MigrationWizId" minOccurs="0"/>
                <xsd:element ref="ns3:MigrationWizIdPermissions" minOccurs="0"/>
                <xsd:element ref="ns3:MigrationWizIdPermissionLevels" minOccurs="0"/>
                <xsd:element ref="ns3:MigrationWizIdDocumentLibraryPermissions" minOccurs="0"/>
                <xsd:element ref="ns3:MigrationWizIdSecurityGroups" minOccurs="0"/>
                <xsd:element ref="ns4:SharedWithUsers" minOccurs="0"/>
                <xsd:element ref="ns4:SharedWithDetails" minOccurs="0"/>
                <xsd:element ref="ns4:SharingHintHash" minOccurs="0"/>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2710fae-ba59-4d85-b571-21f136a42e10" elementFormDefault="qualified">
    <xsd:import namespace="http://schemas.microsoft.com/office/2006/documentManagement/types"/>
    <xsd:import namespace="http://schemas.microsoft.com/office/infopath/2007/PartnerControls"/>
    <xsd:element name="MigrationWizId" ma:index="8" nillable="true" ma:displayName="MigrationWizId" ma:internalName="MigrationWizId">
      <xsd:simpleType>
        <xsd:restriction base="dms:Text"/>
      </xsd:simpleType>
    </xsd:element>
    <xsd:element name="MigrationWizIdPermissions" ma:index="9" nillable="true" ma:displayName="MigrationWizIdPermissions" ma:internalName="MigrationWizIdPermissions">
      <xsd:simpleType>
        <xsd:restriction base="dms:Text"/>
      </xsd:simpleType>
    </xsd:element>
    <xsd:element name="MigrationWizIdPermissionLevels" ma:index="10" nillable="true" ma:displayName="MigrationWizIdPermissionLevels" ma:internalName="MigrationWizIdPermissionLevels">
      <xsd:simpleType>
        <xsd:restriction base="dms:Text"/>
      </xsd:simpleType>
    </xsd:element>
    <xsd:element name="MigrationWizIdDocumentLibraryPermissions" ma:index="11" nillable="true" ma:displayName="MigrationWizIdDocumentLibraryPermissions" ma:internalName="MigrationWizIdDocumentLibraryPermissions">
      <xsd:simpleType>
        <xsd:restriction base="dms:Text"/>
      </xsd:simpleType>
    </xsd:element>
    <xsd:element name="MigrationWizIdSecurityGroups" ma:index="12" nillable="true" ma:displayName="MigrationWizIdSecurityGroups" ma:internalName="MigrationWizIdSecurityGroups">
      <xsd:simpleType>
        <xsd:restriction base="dms:Text"/>
      </xsd:simpleType>
    </xsd:element>
    <xsd:element name="MediaServiceMetadata" ma:index="16" nillable="true" ma:displayName="MediaServiceMetadata" ma:hidden="true" ma:internalName="MediaServiceMetadata" ma:readOnly="true">
      <xsd:simpleType>
        <xsd:restriction base="dms:Note"/>
      </xsd:simpleType>
    </xsd:element>
    <xsd:element name="MediaServiceFastMetadata" ma:index="17"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54514e1-89e2-4b1e-9d9a-2c7047e0a2cf" elementFormDefault="qualified">
    <xsd:import namespace="http://schemas.microsoft.com/office/2006/documentManagement/types"/>
    <xsd:import namespace="http://schemas.microsoft.com/office/infopath/2007/PartnerControls"/>
    <xsd:element name="SharedWithUsers" ma:index="13" nillable="true" ma:displayName="Condiviso c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Condiviso con dettagli" ma:internalName="SharedWithDetails" ma:readOnly="true">
      <xsd:simpleType>
        <xsd:restriction base="dms:Note">
          <xsd:maxLength value="255"/>
        </xsd:restriction>
      </xsd:simpleType>
    </xsd:element>
    <xsd:element name="SharingHintHash" ma:index="15" nillable="true" ma:displayName="Hash suggerimento condivisione"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i contenuto"/>
        <xsd:element ref="dc:title" minOccurs="0" maxOccurs="1" ma:index="4" ma:displayName="Tito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MigrationWizIdPermissionLevels xmlns="62710fae-ba59-4d85-b571-21f136a42e10" xsi:nil="true"/>
    <MigrationWizId xmlns="62710fae-ba59-4d85-b571-21f136a42e10" xsi:nil="true"/>
    <MigrationWizIdDocumentLibraryPermissions xmlns="62710fae-ba59-4d85-b571-21f136a42e10" xsi:nil="true"/>
    <MigrationWizIdPermissions xmlns="62710fae-ba59-4d85-b571-21f136a42e10" xsi:nil="true"/>
    <MigrationWizIdSecurityGroups xmlns="62710fae-ba59-4d85-b571-21f136a42e10" xsi:nil="true"/>
  </documentManagement>
</p:properties>
</file>

<file path=customXml/itemProps1.xml><?xml version="1.0" encoding="utf-8"?>
<ds:datastoreItem xmlns:ds="http://schemas.openxmlformats.org/officeDocument/2006/customXml" ds:itemID="{415D37CA-AA5F-446B-A9C8-173A3CB643BE}">
  <ds:schemaRefs>
    <ds:schemaRef ds:uri="http://schemas.microsoft.com/sharepoint/v3/contenttype/forms"/>
  </ds:schemaRefs>
</ds:datastoreItem>
</file>

<file path=customXml/itemProps2.xml><?xml version="1.0" encoding="utf-8"?>
<ds:datastoreItem xmlns:ds="http://schemas.openxmlformats.org/officeDocument/2006/customXml" ds:itemID="{AB5D3BC2-7447-4FD4-8D2A-1953C8406DEF}">
  <ds:schemaRefs>
    <ds:schemaRef ds:uri="62710fae-ba59-4d85-b571-21f136a42e10"/>
    <ds:schemaRef ds:uri="954514e1-89e2-4b1e-9d9a-2c7047e0a2c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5FFD6199-5384-40A8-8CFA-0CE22AA7F888}">
  <ds:schemaRefs>
    <ds:schemaRef ds:uri="http://schemas.microsoft.com/office/2006/documentManagement/types"/>
    <ds:schemaRef ds:uri="http://schemas.microsoft.com/office/2006/metadata/properties"/>
    <ds:schemaRef ds:uri="http://schemas.openxmlformats.org/package/2006/metadata/core-properties"/>
    <ds:schemaRef ds:uri="http://www.w3.org/XML/1998/namespace"/>
    <ds:schemaRef ds:uri="http://purl.org/dc/terms/"/>
    <ds:schemaRef ds:uri="62710fae-ba59-4d85-b571-21f136a42e10"/>
    <ds:schemaRef ds:uri="http://purl.org/dc/dcmitype/"/>
    <ds:schemaRef ds:uri="954514e1-89e2-4b1e-9d9a-2c7047e0a2cf"/>
    <ds:schemaRef ds:uri="http://schemas.microsoft.com/office/infopath/2007/PartnerControls"/>
    <ds:schemaRef ds:uri="http://purl.org/dc/elements/1.1/"/>
  </ds:schemaRefs>
</ds:datastoreItem>
</file>

<file path=docProps/app.xml><?xml version="1.0" encoding="utf-8"?>
<Properties xmlns="http://schemas.openxmlformats.org/officeDocument/2006/extended-properties" xmlns:vt="http://schemas.openxmlformats.org/officeDocument/2006/docPropsVTypes">
  <TotalTime>0</TotalTime>
  <Words>2563</Words>
  <Application>Microsoft Office PowerPoint</Application>
  <PresentationFormat>Breitbild</PresentationFormat>
  <Paragraphs>533</Paragraphs>
  <Slides>34</Slides>
  <Notes>20</Notes>
  <HiddenSlides>4</HiddenSlides>
  <MMClips>0</MMClips>
  <ScaleCrop>false</ScaleCrop>
  <HeadingPairs>
    <vt:vector size="8" baseType="variant">
      <vt:variant>
        <vt:lpstr>Verwendete Schriftarten</vt:lpstr>
      </vt:variant>
      <vt:variant>
        <vt:i4>10</vt:i4>
      </vt:variant>
      <vt:variant>
        <vt:lpstr>Design</vt:lpstr>
      </vt:variant>
      <vt:variant>
        <vt:i4>2</vt:i4>
      </vt:variant>
      <vt:variant>
        <vt:lpstr>Eingebettete OLE-Server</vt:lpstr>
      </vt:variant>
      <vt:variant>
        <vt:i4>1</vt:i4>
      </vt:variant>
      <vt:variant>
        <vt:lpstr>Folientitel</vt:lpstr>
      </vt:variant>
      <vt:variant>
        <vt:i4>34</vt:i4>
      </vt:variant>
    </vt:vector>
  </HeadingPairs>
  <TitlesOfParts>
    <vt:vector size="47" baseType="lpstr">
      <vt:lpstr>-apple-system</vt:lpstr>
      <vt:lpstr>Arial</vt:lpstr>
      <vt:lpstr>Calibri</vt:lpstr>
      <vt:lpstr>Gill Sans</vt:lpstr>
      <vt:lpstr>Helvetica Neue Light</vt:lpstr>
      <vt:lpstr>Manrope Light</vt:lpstr>
      <vt:lpstr>Montserrat</vt:lpstr>
      <vt:lpstr>Montserrat Light</vt:lpstr>
      <vt:lpstr>Montserrat Medium</vt:lpstr>
      <vt:lpstr>Montserrat SemiBold</vt:lpstr>
      <vt:lpstr>Structure</vt:lpstr>
      <vt:lpstr>1_Structure</vt:lpstr>
      <vt:lpstr>think-cell Slide</vt:lpstr>
      <vt:lpstr>Kölner Symposium 2023 – Die digitale Krankenakte</vt:lpstr>
      <vt:lpstr>Wer bin ich?</vt:lpstr>
      <vt:lpstr>Die Geschichte der digitalen Archivierung im Krankenhaus</vt:lpstr>
      <vt:lpstr>Mehr als 600 HYDMedia Krankenhäuser in D A CH</vt:lpstr>
      <vt:lpstr>We are HYDMedia and we are top – 600+ customers</vt:lpstr>
      <vt:lpstr>University Hospitals using HYDMedia</vt:lpstr>
      <vt:lpstr>Hospital groups using HYDMedia</vt:lpstr>
      <vt:lpstr>Der Wandel im Gesundheitswesen </vt:lpstr>
      <vt:lpstr>Die digitalen Zeitabschnitte</vt:lpstr>
      <vt:lpstr>PowerPoint-Präsentation</vt:lpstr>
      <vt:lpstr>Das Gesundheitswesen im Strukturwandel - Vergangenheit</vt:lpstr>
      <vt:lpstr>Das Gesundheitswesen im Strukturwandel</vt:lpstr>
      <vt:lpstr>Was ist eine digitale Krankenakte heute?</vt:lpstr>
      <vt:lpstr>Die eVNA - Das Herzstück für Ihre Content-Strategie  </vt:lpstr>
      <vt:lpstr>Papierloses Krankenhaus</vt:lpstr>
      <vt:lpstr>Die Scanspezialisten – Die Heydt Gruppe</vt:lpstr>
      <vt:lpstr>BILDARCHIVIERUNGS-VARIANTEN (Radiologie)</vt:lpstr>
      <vt:lpstr>ARCHIVIERUNGS-VARIANTEN (Administrativ)</vt:lpstr>
      <vt:lpstr>PowerPoint-Präsentation</vt:lpstr>
      <vt:lpstr>PowerPoint-Präsentation</vt:lpstr>
      <vt:lpstr>eVNA - Interoperabilität mit angeschlossenen Systemen</vt:lpstr>
      <vt:lpstr>eVNA – Prozessbezogenes Arbeiten an jedem Arbeitsplatz</vt:lpstr>
      <vt:lpstr>Spezialisierter Zugriff auf Bilddaten aus allen Arbeitsfeldern</vt:lpstr>
      <vt:lpstr>Einheitlicher Zugriff – Prozess- und Inhaltsbasiert</vt:lpstr>
      <vt:lpstr>eVNA – Use Cases</vt:lpstr>
      <vt:lpstr>PowerPoint-Präsentation</vt:lpstr>
      <vt:lpstr>PowerPoint-Präsentation</vt:lpstr>
      <vt:lpstr>Langzeitarchivierung</vt:lpstr>
      <vt:lpstr>Rechtliche Komponenten</vt:lpstr>
      <vt:lpstr>Empfohlene (die wichtigesten) Zertifizierungen</vt:lpstr>
      <vt:lpstr>Das Problem der Krankenhäuser</vt:lpstr>
      <vt:lpstr>Advantage HYDMedia</vt:lpstr>
      <vt:lpstr>Fragen?</vt:lpstr>
      <vt:lpstr>PowerPoint-Prä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YDMedia Basics</dc:title>
  <dc:creator>Oliver Paul</dc:creator>
  <cp:lastModifiedBy>Oliver Paul</cp:lastModifiedBy>
  <cp:revision>33</cp:revision>
  <cp:lastPrinted>2022-07-12T13:06:36Z</cp:lastPrinted>
  <dcterms:created xsi:type="dcterms:W3CDTF">2022-01-18T16:12:45Z</dcterms:created>
  <dcterms:modified xsi:type="dcterms:W3CDTF">2023-11-23T12:23:21Z</dcterms:modified>
</cp:coreProperties>
</file>